
<file path=[Content_Types].xml><?xml version="1.0" encoding="utf-8"?>
<Types xmlns="http://schemas.openxmlformats.org/package/2006/content-types">
  <Default ContentType="application/vnd.openxmlformats-officedocument.oleObject" Extension="bin"/>
  <Default ContentType="application/x-fontdata" Extension="fntdata"/>
  <Default ContentType="image/jpeg" Extension="jpg"/>
  <Default ContentType="image/png" Extension="png"/>
  <Default ContentType="application/vnd.openxmlformats-package.relationships+xml" Extension="rels"/>
  <Default ContentType="application/vnd.openxmlformats-officedocument.vmlDrawing" Extension="vml"/>
  <Default ContentType="application/xml" Extension="xml"/>
  <Override ContentType="application/binary" PartName="/ppt/metadata"/>
  <Override ContentType="application/vnd.openxmlformats-officedocument.oleObject" PartName="/ppt/embeddings/oleObject1.bin"/>
  <Override ContentType="application/vnd.openxmlformats-officedocument.presentationml.notesMaster+xml" PartName="/ppt/notesMasters/notesMaster1.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presProps+xml" PartName="/ppt/presProps.xml"/>
  <Override ContentType="application/vnd.openxmlformats-officedocument.presentationml.presentation.main+xml" PartName="/ppt/presentation.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Master+xml" PartName="/ppt/slideMasters/slideMaster1.xml"/>
  <Override ContentType="application/vnd.openxmlformats-officedocument.presentationml.tableStyles+xml" PartName="/ppt/tableStyles.xml"/>
  <Override ContentType="application/vnd.openxmlformats-officedocument.theme+xml" PartName="/ppt/theme/theme1.xml"/>
  <Override ContentType="application/vnd.openxmlformats-officedocument.theme+xml" PartName="/ppt/theme/theme2.xml"/>
  <Override ContentType="application/vnd.openxmlformats-package.core-properties+xml" PartName="/docProps/core.xml"/>
</Types>
</file>

<file path=_rels/.rels><?xml version="1.0" encoding="UTF-8" standalone="yes"?><Relationships xmlns="http://schemas.openxmlformats.org/package/2006/relationships"><Relationship Id="rId1" Type="http://schemas.openxmlformats.org/package/2006/relationships/metadata/core-properties" Target="docProps/core.xml"/><Relationship Id="rId2"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autoCompressPictures="0" embedTrueTypeFonts="1" strictFirstAndLastChars="0" saveSubsetFonts="1">
  <p:sldMasterIdLst>
    <p:sldMasterId id="2147483648" r:id="rId4"/>
  </p:sldMasterIdLst>
  <p:notesMasterIdLst>
    <p:notesMasterId r:id="rId5"/>
  </p:notesMasterIdLst>
  <p:sldIdLst>
    <p:sldId id="256" r:id="rId6"/>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Lst>
  <p:sldSz cy="6858000" cx="12192000"/>
  <p:notesSz cx="6858000" cy="9144000"/>
  <p:embeddedFontLst>
    <p:embeddedFont>
      <p:font typeface="Garamond"/>
      <p:regular r:id="rId28"/>
      <p:bold r:id="rId29"/>
      <p:italic r:id="rId30"/>
      <p:boldItalic r:id="rId31"/>
    </p:embeddedFont>
  </p:embeddedFontLst>
  <p:defaultText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defaultTextStyle>
  <p:extLst>
    <p:ext uri="http://customooxmlschemas.google.com/">
      <go:slidesCustomData xmlns:go="http://customooxmlschemas.google.com/" r:id="rId32" roundtripDataSignature="AMtx7mgBTsIhhMfHu4YpWaZTtKmUOe0rdg=="/>
    </p:ext>
  </p:extLst>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file>

<file path=ppt/tableStyles.xml><?xml version="1.0" encoding="utf-8"?>
<a:tblStyleLst xmlns:a="http://schemas.openxmlformats.org/drawingml/2006/main" xmlns:r="http://schemas.openxmlformats.org/officeDocument/2006/relationships" def="{AC5D65F7-AA4B-48DB-8A8D-4A46BA5F0523}">
  <a:tblStyle styleId="{AC5D65F7-AA4B-48DB-8A8D-4A46BA5F0523}" styleName="Table_0">
    <a:wholeTbl>
      <a:tcTxStyle b="off" i="off">
        <a:font>
          <a:latin typeface="Arial"/>
          <a:ea typeface="Arial"/>
          <a:cs typeface="Arial"/>
        </a:font>
        <a:schemeClr val="dk1"/>
      </a:tcTxStyle>
      <a:tcStyle>
        <a:tcBdr>
          <a:left>
            <a:ln cap="flat" cmpd="sng" w="12700">
              <a:solidFill>
                <a:schemeClr val="lt1"/>
              </a:solidFill>
              <a:prstDash val="solid"/>
              <a:round/>
              <a:headEnd len="sm" w="sm" type="none"/>
              <a:tailEnd len="sm" w="sm" type="none"/>
            </a:ln>
          </a:left>
          <a:right>
            <a:ln cap="flat" cmpd="sng" w="12700">
              <a:solidFill>
                <a:schemeClr val="lt1"/>
              </a:solidFill>
              <a:prstDash val="solid"/>
              <a:round/>
              <a:headEnd len="sm" w="sm" type="none"/>
              <a:tailEnd len="sm" w="sm" type="none"/>
            </a:ln>
          </a:right>
          <a:top>
            <a:ln cap="flat" cmpd="sng" w="12700">
              <a:solidFill>
                <a:schemeClr val="lt1"/>
              </a:solidFill>
              <a:prstDash val="solid"/>
              <a:round/>
              <a:headEnd len="sm" w="sm" type="none"/>
              <a:tailEnd len="sm" w="sm" type="none"/>
            </a:ln>
          </a:top>
          <a:bottom>
            <a:ln cap="flat" cmpd="sng" w="12700">
              <a:solidFill>
                <a:schemeClr val="lt1"/>
              </a:solidFill>
              <a:prstDash val="solid"/>
              <a:round/>
              <a:headEnd len="sm" w="sm" type="none"/>
              <a:tailEnd len="sm" w="sm" type="none"/>
            </a:ln>
          </a:bottom>
          <a:insideH>
            <a:ln cap="flat" cmpd="sng" w="12700">
              <a:solidFill>
                <a:schemeClr val="lt1"/>
              </a:solidFill>
              <a:prstDash val="solid"/>
              <a:round/>
              <a:headEnd len="sm" w="sm" type="none"/>
              <a:tailEnd len="sm" w="sm" type="none"/>
            </a:ln>
          </a:insideH>
          <a:insideV>
            <a:ln cap="flat" cmpd="sng" w="12700">
              <a:solidFill>
                <a:schemeClr val="lt1"/>
              </a:solidFill>
              <a:prstDash val="solid"/>
              <a:round/>
              <a:headEnd len="sm" w="sm" type="none"/>
              <a:tailEnd len="sm" w="sm" type="none"/>
            </a:ln>
          </a:insideV>
        </a:tcBdr>
        <a:fill>
          <a:solidFill>
            <a:srgbClr val="E6E8ED"/>
          </a:solidFill>
        </a:fill>
      </a:tcStyle>
    </a:wholeTbl>
    <a:band1H>
      <a:tcTxStyle/>
      <a:tcStyle>
        <a:fill>
          <a:solidFill>
            <a:srgbClr val="CACED8"/>
          </a:solidFill>
        </a:fill>
      </a:tcStyle>
    </a:band1H>
    <a:band2H>
      <a:tcTxStyle/>
    </a:band2H>
    <a:band1V>
      <a:tcTxStyle/>
      <a:tcStyle>
        <a:fill>
          <a:solidFill>
            <a:srgbClr val="CACED8"/>
          </a:solidFill>
        </a:fill>
      </a:tcStyle>
    </a:band1V>
    <a:band2V>
      <a:tcTxStyle/>
    </a:band2V>
    <a:lastCol>
      <a:tcTxStyle b="on" i="off">
        <a:font>
          <a:latin typeface="Arial"/>
          <a:ea typeface="Arial"/>
          <a:cs typeface="Arial"/>
        </a:font>
        <a:schemeClr val="lt1"/>
      </a:tcTxStyle>
      <a:tcStyle>
        <a:fill>
          <a:solidFill>
            <a:schemeClr val="accent1"/>
          </a:solidFill>
        </a:fill>
      </a:tcStyle>
    </a:lastCol>
    <a:firstCol>
      <a:tcTxStyle b="on" i="off">
        <a:font>
          <a:latin typeface="Arial"/>
          <a:ea typeface="Arial"/>
          <a:cs typeface="Arial"/>
        </a:font>
        <a:schemeClr val="lt1"/>
      </a:tcTxStyle>
      <a:tcStyle>
        <a:fill>
          <a:solidFill>
            <a:schemeClr val="accent1"/>
          </a:solidFill>
        </a:fill>
      </a:tcStyle>
    </a:firstCol>
    <a:lastRow>
      <a:tcTxStyle b="on" i="off">
        <a:font>
          <a:latin typeface="Arial"/>
          <a:ea typeface="Arial"/>
          <a:cs typeface="Arial"/>
        </a:font>
        <a:schemeClr val="lt1"/>
      </a:tcTxStyle>
      <a:tcStyle>
        <a:tcBdr>
          <a:top>
            <a:ln cap="flat" cmpd="sng" w="38100">
              <a:solidFill>
                <a:schemeClr val="lt1"/>
              </a:solidFill>
              <a:prstDash val="solid"/>
              <a:round/>
              <a:headEnd len="sm" w="sm" type="none"/>
              <a:tailEnd len="sm" w="sm" type="none"/>
            </a:ln>
          </a:top>
        </a:tcBdr>
        <a:fill>
          <a:solidFill>
            <a:schemeClr val="accent1"/>
          </a:solidFill>
        </a:fill>
      </a:tcStyle>
    </a:lastRow>
    <a:seCell>
      <a:tcTxStyle/>
    </a:seCell>
    <a:swCell>
      <a:tcTxStyle/>
    </a:swCell>
    <a:firstRow>
      <a:tcTxStyle b="on" i="off">
        <a:font>
          <a:latin typeface="Arial"/>
          <a:ea typeface="Arial"/>
          <a:cs typeface="Arial"/>
        </a:font>
        <a:schemeClr val="lt1"/>
      </a:tcTxStyle>
      <a:tcStyle>
        <a:tcBdr>
          <a:bottom>
            <a:ln cap="flat" cmpd="sng" w="38100">
              <a:solidFill>
                <a:schemeClr val="lt1"/>
              </a:solidFill>
              <a:prstDash val="solid"/>
              <a:round/>
              <a:headEnd len="sm" w="sm" type="none"/>
              <a:tailEnd len="sm" w="sm" type="none"/>
            </a:ln>
          </a:bottom>
        </a:tcBdr>
        <a:fill>
          <a:solidFill>
            <a:schemeClr val="accent1"/>
          </a:solidFill>
        </a:fill>
      </a:tcStyle>
    </a:firstRow>
    <a:neCell>
      <a:tcTxStyle/>
    </a:neCell>
    <a:nwCell>
      <a:tcTxStyle/>
    </a:nwCell>
  </a:tblStyle>
</a:tblStyleLst>
</file>

<file path=ppt/_rels/presentation.xml.rels><?xml version="1.0" encoding="UTF-8" standalone="yes"?><Relationships xmlns="http://schemas.openxmlformats.org/package/2006/relationships"><Relationship Id="rId20" Type="http://schemas.openxmlformats.org/officeDocument/2006/relationships/slide" Target="slides/slide15.xml"/><Relationship Id="rId22" Type="http://schemas.openxmlformats.org/officeDocument/2006/relationships/slide" Target="slides/slide17.xml"/><Relationship Id="rId21" Type="http://schemas.openxmlformats.org/officeDocument/2006/relationships/slide" Target="slides/slide16.xml"/><Relationship Id="rId24" Type="http://schemas.openxmlformats.org/officeDocument/2006/relationships/slide" Target="slides/slide19.xml"/><Relationship Id="rId23" Type="http://schemas.openxmlformats.org/officeDocument/2006/relationships/slide" Target="slides/slide18.xml"/><Relationship Id="rId1" Type="http://schemas.openxmlformats.org/officeDocument/2006/relationships/theme" Target="theme/theme2.xml"/><Relationship Id="rId2" Type="http://schemas.openxmlformats.org/officeDocument/2006/relationships/presProps" Target="presProps.xml"/><Relationship Id="rId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26" Type="http://schemas.openxmlformats.org/officeDocument/2006/relationships/slide" Target="slides/slide21.xml"/><Relationship Id="rId25" Type="http://schemas.openxmlformats.org/officeDocument/2006/relationships/slide" Target="slides/slide20.xml"/><Relationship Id="rId28" Type="http://schemas.openxmlformats.org/officeDocument/2006/relationships/font" Target="fonts/Garamond-regular.fntdata"/><Relationship Id="rId27" Type="http://schemas.openxmlformats.org/officeDocument/2006/relationships/slide" Target="slides/slide22.xml"/><Relationship Id="rId5" Type="http://schemas.openxmlformats.org/officeDocument/2006/relationships/notesMaster" Target="notesMasters/notesMaster1.xml"/><Relationship Id="rId6" Type="http://schemas.openxmlformats.org/officeDocument/2006/relationships/slide" Target="slides/slide1.xml"/><Relationship Id="rId29" Type="http://schemas.openxmlformats.org/officeDocument/2006/relationships/font" Target="fonts/Garamond-bold.fntdata"/><Relationship Id="rId7" Type="http://schemas.openxmlformats.org/officeDocument/2006/relationships/slide" Target="slides/slide2.xml"/><Relationship Id="rId8" Type="http://schemas.openxmlformats.org/officeDocument/2006/relationships/slide" Target="slides/slide3.xml"/><Relationship Id="rId31" Type="http://schemas.openxmlformats.org/officeDocument/2006/relationships/font" Target="fonts/Garamond-boldItalic.fntdata"/><Relationship Id="rId30" Type="http://schemas.openxmlformats.org/officeDocument/2006/relationships/font" Target="fonts/Garamond-italic.fntdata"/><Relationship Id="rId11" Type="http://schemas.openxmlformats.org/officeDocument/2006/relationships/slide" Target="slides/slide6.xml"/><Relationship Id="rId10" Type="http://schemas.openxmlformats.org/officeDocument/2006/relationships/slide" Target="slides/slide5.xml"/><Relationship Id="rId32" Type="http://customschemas.google.com/relationships/presentationmetadata" Target="metadata"/><Relationship Id="rId13" Type="http://schemas.openxmlformats.org/officeDocument/2006/relationships/slide" Target="slides/slide8.xml"/><Relationship Id="rId12" Type="http://schemas.openxmlformats.org/officeDocument/2006/relationships/slide" Target="slides/slide7.xml"/><Relationship Id="rId15" Type="http://schemas.openxmlformats.org/officeDocument/2006/relationships/slide" Target="slides/slide10.xml"/><Relationship Id="rId14" Type="http://schemas.openxmlformats.org/officeDocument/2006/relationships/slide" Target="slides/slide9.xml"/><Relationship Id="rId17" Type="http://schemas.openxmlformats.org/officeDocument/2006/relationships/slide" Target="slides/slide12.xml"/><Relationship Id="rId16" Type="http://schemas.openxmlformats.org/officeDocument/2006/relationships/slide" Target="slides/slide11.xml"/><Relationship Id="rId19" Type="http://schemas.openxmlformats.org/officeDocument/2006/relationships/slide" Target="slides/slide14.xml"/><Relationship Id="rId18"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bg>
      <p:bgPr>
        <a:solidFill>
          <a:schemeClr val="lt1"/>
        </a:solidFill>
      </p:bgPr>
    </p:bg>
    <p:spTree>
      <p:nvGrpSpPr>
        <p:cNvPr id="2" name="Shape 2"/>
        <p:cNvGrpSpPr/>
        <p:nvPr/>
      </p:nvGrpSpPr>
      <p:grpSpPr>
        <a:xfrm>
          <a:off x="0" y="0"/>
          <a:ext cx="0" cy="0"/>
          <a:chOff x="0" y="0"/>
          <a:chExt cx="0" cy="0"/>
        </a:xfrm>
      </p:grpSpPr>
      <p:sp>
        <p:nvSpPr>
          <p:cNvPr id="3" name="Google Shape;3;n"/>
          <p:cNvSpPr txBox="1"/>
          <p:nvPr>
            <p:ph idx="2" type="hdr"/>
          </p:nvPr>
        </p:nvSpPr>
        <p:spPr>
          <a:xfrm>
            <a:off x="0" y="0"/>
            <a:ext cx="2971800" cy="458788"/>
          </a:xfrm>
          <a:prstGeom prst="rect">
            <a:avLst/>
          </a:prstGeom>
          <a:noFill/>
          <a:ln>
            <a:noFill/>
          </a:ln>
        </p:spPr>
        <p:txBody>
          <a:bodyPr anchorCtr="0" anchor="t" bIns="45700" lIns="91425" spcFirstLastPara="1" rIns="91425" wrap="square" tIns="45700">
            <a:noAutofit/>
          </a:bodyPr>
          <a:lstStyle>
            <a:lvl1pPr lvl="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1pPr>
            <a:lvl2pPr lvl="1"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2pPr>
            <a:lvl3pPr lvl="2"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3pPr>
            <a:lvl4pPr lvl="3"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4pPr>
            <a:lvl5pPr lvl="4"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5pPr>
            <a:lvl6pPr lvl="5"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6pPr>
            <a:lvl7pPr lvl="6"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7pPr>
            <a:lvl8pPr lvl="7"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8pPr>
            <a:lvl9pPr lvl="8"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9pPr>
          </a:lstStyle>
          <a:p/>
        </p:txBody>
      </p:sp>
      <p:sp>
        <p:nvSpPr>
          <p:cNvPr id="4" name="Google Shape;4;n"/>
          <p:cNvSpPr txBox="1"/>
          <p:nvPr>
            <p:ph idx="10" type="dt"/>
          </p:nvPr>
        </p:nvSpPr>
        <p:spPr>
          <a:xfrm>
            <a:off x="3884613" y="0"/>
            <a:ext cx="2971800" cy="458788"/>
          </a:xfrm>
          <a:prstGeom prst="rect">
            <a:avLst/>
          </a:prstGeom>
          <a:noFill/>
          <a:ln>
            <a:noFill/>
          </a:ln>
        </p:spPr>
        <p:txBody>
          <a:bodyPr anchorCtr="0" anchor="t" bIns="45700" lIns="91425" spcFirstLastPara="1" rIns="91425" wrap="square" tIns="45700">
            <a:noAutofit/>
          </a:bodyPr>
          <a:lstStyle>
            <a:lvl1pPr lvl="0" marR="0" rtl="0" algn="r">
              <a:spcBef>
                <a:spcPts val="0"/>
              </a:spcBef>
              <a:spcAft>
                <a:spcPts val="0"/>
              </a:spcAft>
              <a:buSzPts val="1400"/>
              <a:buNone/>
              <a:defRPr b="0" i="0" sz="1200" u="none" cap="none" strike="noStrike">
                <a:solidFill>
                  <a:schemeClr val="dk1"/>
                </a:solidFill>
                <a:latin typeface="Calibri"/>
                <a:ea typeface="Calibri"/>
                <a:cs typeface="Calibri"/>
                <a:sym typeface="Calibri"/>
              </a:defRPr>
            </a:lvl1pPr>
            <a:lvl2pPr lvl="1"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2pPr>
            <a:lvl3pPr lvl="2"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3pPr>
            <a:lvl4pPr lvl="3"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4pPr>
            <a:lvl5pPr lvl="4"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5pPr>
            <a:lvl6pPr lvl="5"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6pPr>
            <a:lvl7pPr lvl="6"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7pPr>
            <a:lvl8pPr lvl="7"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8pPr>
            <a:lvl9pPr lvl="8"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9pPr>
          </a:lstStyle>
          <a:p/>
        </p:txBody>
      </p:sp>
      <p:sp>
        <p:nvSpPr>
          <p:cNvPr id="5" name="Google Shape;5;n"/>
          <p:cNvSpPr/>
          <p:nvPr>
            <p:ph idx="3"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6" name="Google Shape;6;n"/>
          <p:cNvSpPr txBox="1"/>
          <p:nvPr>
            <p:ph idx="1" type="body"/>
          </p:nvPr>
        </p:nvSpPr>
        <p:spPr>
          <a:xfrm>
            <a:off x="685800" y="4400550"/>
            <a:ext cx="5486400" cy="3600450"/>
          </a:xfrm>
          <a:prstGeom prst="rect">
            <a:avLst/>
          </a:prstGeom>
          <a:noFill/>
          <a:ln>
            <a:noFill/>
          </a:ln>
        </p:spPr>
        <p:txBody>
          <a:bodyPr anchorCtr="0" anchor="t" bIns="45700" lIns="91425" spcFirstLastPara="1" rIns="91425" wrap="square" tIns="45700">
            <a:noAutofit/>
          </a:bodyPr>
          <a:lstStyle>
            <a:lvl1pPr indent="-228600" lvl="0" marL="45720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1pPr>
            <a:lvl2pPr indent="-228600" lvl="1" marL="91440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2pPr>
            <a:lvl3pPr indent="-228600" lvl="2" marL="137160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3pPr>
            <a:lvl4pPr indent="-228600" lvl="3" marL="182880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4pPr>
            <a:lvl5pPr indent="-228600" lvl="4" marL="228600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5pPr>
            <a:lvl6pPr indent="-228600" lvl="5" marL="274320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6pPr>
            <a:lvl7pPr indent="-228600" lvl="6" marL="320040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7pPr>
            <a:lvl8pPr indent="-228600" lvl="7" marL="365760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8pPr>
            <a:lvl9pPr indent="-228600" lvl="8" marL="411480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9pPr>
          </a:lstStyle>
          <a:p/>
        </p:txBody>
      </p:sp>
      <p:sp>
        <p:nvSpPr>
          <p:cNvPr id="7" name="Google Shape;7;n"/>
          <p:cNvSpPr txBox="1"/>
          <p:nvPr>
            <p:ph idx="11" type="ftr"/>
          </p:nvPr>
        </p:nvSpPr>
        <p:spPr>
          <a:xfrm>
            <a:off x="0" y="8685213"/>
            <a:ext cx="2971800" cy="458787"/>
          </a:xfrm>
          <a:prstGeom prst="rect">
            <a:avLst/>
          </a:prstGeom>
          <a:noFill/>
          <a:ln>
            <a:noFill/>
          </a:ln>
        </p:spPr>
        <p:txBody>
          <a:bodyPr anchorCtr="0" anchor="b" bIns="45700" lIns="91425" spcFirstLastPara="1" rIns="91425" wrap="square" tIns="45700">
            <a:noAutofit/>
          </a:bodyPr>
          <a:lstStyle>
            <a:lvl1pPr lvl="0" marR="0" rtl="0" algn="l">
              <a:spcBef>
                <a:spcPts val="0"/>
              </a:spcBef>
              <a:spcAft>
                <a:spcPts val="0"/>
              </a:spcAft>
              <a:buSzPts val="1400"/>
              <a:buNone/>
              <a:defRPr b="0" i="0" sz="1200" u="none" cap="none" strike="noStrike">
                <a:solidFill>
                  <a:schemeClr val="dk1"/>
                </a:solidFill>
                <a:latin typeface="Calibri"/>
                <a:ea typeface="Calibri"/>
                <a:cs typeface="Calibri"/>
                <a:sym typeface="Calibri"/>
              </a:defRPr>
            </a:lvl1pPr>
            <a:lvl2pPr lvl="1"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2pPr>
            <a:lvl3pPr lvl="2"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3pPr>
            <a:lvl4pPr lvl="3"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4pPr>
            <a:lvl5pPr lvl="4"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5pPr>
            <a:lvl6pPr lvl="5"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6pPr>
            <a:lvl7pPr lvl="6"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7pPr>
            <a:lvl8pPr lvl="7"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8pPr>
            <a:lvl9pPr lvl="8" marR="0" rtl="0" algn="l">
              <a:spcBef>
                <a:spcPts val="0"/>
              </a:spcBef>
              <a:spcAft>
                <a:spcPts val="0"/>
              </a:spcAft>
              <a:buSzPts val="1400"/>
              <a:buNone/>
              <a:defRPr b="0" i="0" sz="1800" u="none" cap="none" strike="noStrike">
                <a:solidFill>
                  <a:schemeClr val="dk1"/>
                </a:solidFill>
                <a:latin typeface="Calibri"/>
                <a:ea typeface="Calibri"/>
                <a:cs typeface="Calibri"/>
                <a:sym typeface="Calibri"/>
              </a:defRPr>
            </a:lvl9pPr>
          </a:lstStyle>
          <a:p/>
        </p:txBody>
      </p:sp>
      <p:sp>
        <p:nvSpPr>
          <p:cNvPr id="8" name="Google Shape;8;n"/>
          <p:cNvSpPr txBox="1"/>
          <p:nvPr>
            <p:ph idx="12" type="sldNum"/>
          </p:nvPr>
        </p:nvSpPr>
        <p:spPr>
          <a:xfrm>
            <a:off x="3884613" y="8685213"/>
            <a:ext cx="2971800" cy="458787"/>
          </a:xfrm>
          <a:prstGeom prst="rect">
            <a:avLst/>
          </a:prstGeom>
          <a:noFill/>
          <a:ln>
            <a:noFill/>
          </a:ln>
        </p:spPr>
        <p:txBody>
          <a:bodyPr anchorCtr="0" anchor="b" bIns="45700" lIns="91425" spcFirstLastPara="1" rIns="91425" wrap="square" tIns="45700">
            <a:noAutofit/>
          </a:bodyPr>
          <a:lstStyle/>
          <a:p>
            <a:pPr indent="0" lvl="0" marL="0" marR="0" rtl="0" algn="r">
              <a:spcBef>
                <a:spcPts val="0"/>
              </a:spcBef>
              <a:spcAft>
                <a:spcPts val="0"/>
              </a:spcAft>
              <a:buNone/>
            </a:pPr>
            <a:fld id="{00000000-1234-1234-1234-123412341234}" type="slidenum">
              <a:rPr b="0" i="0" lang="en-US" sz="1200" u="none" cap="none" strike="noStrike">
                <a:solidFill>
                  <a:schemeClr val="dk1"/>
                </a:solidFill>
                <a:latin typeface="Calibri"/>
                <a:ea typeface="Calibri"/>
                <a:cs typeface="Calibri"/>
                <a:sym typeface="Calibri"/>
              </a:rPr>
              <a:t>‹#›</a:t>
            </a:fld>
            <a:endParaRPr b="0" i="0" sz="1200" u="none" cap="none" strike="noStrike">
              <a:solidFill>
                <a:schemeClr val="dk1"/>
              </a:solidFill>
              <a:latin typeface="Calibri"/>
              <a:ea typeface="Calibri"/>
              <a:cs typeface="Calibri"/>
              <a:sym typeface="Calibri"/>
            </a:endParaRPr>
          </a:p>
        </p:txBody>
      </p:sp>
    </p:spTree>
  </p:cSld>
  <p:clrMap accent1="accent1" accent2="accent2" accent3="accent3" accent4="accent4" accent5="accent5" accent6="accent6" bg1="lt1" bg2="dk2" tx1="dk1" tx2="lt2" folHlink="folHlink" hlink="hlink"/>
  <p:notes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82" name="Shape 82"/>
        <p:cNvGrpSpPr/>
        <p:nvPr/>
      </p:nvGrpSpPr>
      <p:grpSpPr>
        <a:xfrm>
          <a:off x="0" y="0"/>
          <a:ext cx="0" cy="0"/>
          <a:chOff x="0" y="0"/>
          <a:chExt cx="0" cy="0"/>
        </a:xfrm>
      </p:grpSpPr>
      <p:sp>
        <p:nvSpPr>
          <p:cNvPr id="83" name="Google Shape;83;p1: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84" name="Google Shape;84;p1:notes"/>
          <p:cNvSpPr txBox="1"/>
          <p:nvPr>
            <p:ph idx="1" type="body"/>
          </p:nvPr>
        </p:nvSpPr>
        <p:spPr>
          <a:xfrm>
            <a:off x="685800" y="4400550"/>
            <a:ext cx="5486400" cy="3600450"/>
          </a:xfrm>
          <a:prstGeom prst="rect">
            <a:avLst/>
          </a:prstGeom>
          <a:noFill/>
          <a:ln>
            <a:noFill/>
          </a:ln>
        </p:spPr>
        <p:txBody>
          <a:bodyPr anchorCtr="0" anchor="t" bIns="45700" lIns="91425" spcFirstLastPara="1" rIns="91425" wrap="square" tIns="45700">
            <a:noAutofit/>
          </a:bodyPr>
          <a:lstStyle/>
          <a:p>
            <a:pPr indent="0" lvl="0" marL="0" rtl="0" algn="l">
              <a:spcBef>
                <a:spcPts val="0"/>
              </a:spcBef>
              <a:spcAft>
                <a:spcPts val="0"/>
              </a:spcAft>
              <a:buNone/>
            </a:pPr>
            <a:r>
              <a:rPr b="0" i="0" lang="en-US" sz="1200" u="none" strike="noStrike">
                <a:solidFill>
                  <a:schemeClr val="dk1"/>
                </a:solidFill>
                <a:latin typeface="Calibri"/>
                <a:ea typeface="Calibri"/>
                <a:cs typeface="Calibri"/>
                <a:sym typeface="Calibri"/>
              </a:rPr>
              <a:t>Anthony Farias – Engagement Lead, MBA</a:t>
            </a:r>
            <a:endParaRPr b="0" i="0" sz="1200" u="none" strike="noStrike">
              <a:solidFill>
                <a:schemeClr val="dk1"/>
              </a:solidFill>
              <a:latin typeface="Calibri"/>
              <a:ea typeface="Calibri"/>
              <a:cs typeface="Calibri"/>
              <a:sym typeface="Calibri"/>
            </a:endParaRPr>
          </a:p>
          <a:p>
            <a:pPr indent="0" lvl="0" marL="0" rtl="0" algn="l">
              <a:spcBef>
                <a:spcPts val="0"/>
              </a:spcBef>
              <a:spcAft>
                <a:spcPts val="0"/>
              </a:spcAft>
              <a:buNone/>
            </a:pPr>
            <a:r>
              <a:rPr b="0" i="0" lang="en-US" sz="1200" u="none" strike="noStrike">
                <a:solidFill>
                  <a:schemeClr val="dk1"/>
                </a:solidFill>
                <a:latin typeface="Calibri"/>
                <a:ea typeface="Calibri"/>
                <a:cs typeface="Calibri"/>
                <a:sym typeface="Calibri"/>
              </a:rPr>
              <a:t>Matthew Li – Data Engineer, BA</a:t>
            </a:r>
            <a:endParaRPr b="0" i="0" sz="1200" u="none" strike="noStrike">
              <a:solidFill>
                <a:schemeClr val="dk1"/>
              </a:solidFill>
              <a:latin typeface="Calibri"/>
              <a:ea typeface="Calibri"/>
              <a:cs typeface="Calibri"/>
              <a:sym typeface="Calibri"/>
            </a:endParaRPr>
          </a:p>
          <a:p>
            <a:pPr indent="0" lvl="0" marL="0" rtl="0" algn="l">
              <a:spcBef>
                <a:spcPts val="0"/>
              </a:spcBef>
              <a:spcAft>
                <a:spcPts val="0"/>
              </a:spcAft>
              <a:buNone/>
            </a:pPr>
            <a:r>
              <a:rPr b="0" i="0" lang="en-US" sz="1200" u="none" strike="noStrike">
                <a:solidFill>
                  <a:schemeClr val="dk1"/>
                </a:solidFill>
                <a:latin typeface="Calibri"/>
                <a:ea typeface="Calibri"/>
                <a:cs typeface="Calibri"/>
                <a:sym typeface="Calibri"/>
              </a:rPr>
              <a:t>Robin Tan – Data Engineer, BA</a:t>
            </a:r>
            <a:endParaRPr b="0" i="0" sz="1200" u="none" strike="noStrike">
              <a:solidFill>
                <a:schemeClr val="dk1"/>
              </a:solidFill>
              <a:latin typeface="Calibri"/>
              <a:ea typeface="Calibri"/>
              <a:cs typeface="Calibri"/>
              <a:sym typeface="Calibri"/>
            </a:endParaRPr>
          </a:p>
          <a:p>
            <a:pPr indent="0" lvl="0" marL="0" rtl="0" algn="l">
              <a:spcBef>
                <a:spcPts val="0"/>
              </a:spcBef>
              <a:spcAft>
                <a:spcPts val="0"/>
              </a:spcAft>
              <a:buNone/>
            </a:pPr>
            <a:r>
              <a:t/>
            </a:r>
            <a:endParaRPr/>
          </a:p>
        </p:txBody>
      </p:sp>
      <p:sp>
        <p:nvSpPr>
          <p:cNvPr id="85" name="Google Shape;85;p1:notes"/>
          <p:cNvSpPr txBox="1"/>
          <p:nvPr>
            <p:ph idx="12" type="sldNum"/>
          </p:nvPr>
        </p:nvSpPr>
        <p:spPr>
          <a:xfrm>
            <a:off x="3884613" y="8685213"/>
            <a:ext cx="2971800" cy="458787"/>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194" name="Shape 194"/>
        <p:cNvGrpSpPr/>
        <p:nvPr/>
      </p:nvGrpSpPr>
      <p:grpSpPr>
        <a:xfrm>
          <a:off x="0" y="0"/>
          <a:ext cx="0" cy="0"/>
          <a:chOff x="0" y="0"/>
          <a:chExt cx="0" cy="0"/>
        </a:xfrm>
      </p:grpSpPr>
      <p:sp>
        <p:nvSpPr>
          <p:cNvPr id="195" name="Google Shape;195;g7023ddf169_0_54: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196" name="Google Shape;196;g7023ddf169_0_54:notes"/>
          <p:cNvSpPr txBox="1"/>
          <p:nvPr>
            <p:ph idx="1" type="body"/>
          </p:nvPr>
        </p:nvSpPr>
        <p:spPr>
          <a:xfrm>
            <a:off x="685800" y="4400550"/>
            <a:ext cx="5486400" cy="3600600"/>
          </a:xfrm>
          <a:prstGeom prst="rect">
            <a:avLst/>
          </a:prstGeom>
          <a:noFill/>
          <a:ln>
            <a:noFill/>
          </a:ln>
        </p:spPr>
        <p:txBody>
          <a:bodyPr anchorCtr="0" anchor="t" bIns="45700" lIns="91425" spcFirstLastPara="1" rIns="91425" wrap="square" tIns="45700">
            <a:noAutofit/>
          </a:bodyPr>
          <a:lstStyle/>
          <a:p>
            <a:pPr indent="0" lvl="0" marL="0" rtl="0" algn="l">
              <a:spcBef>
                <a:spcPts val="0"/>
              </a:spcBef>
              <a:spcAft>
                <a:spcPts val="0"/>
              </a:spcAft>
              <a:buNone/>
            </a:pPr>
            <a:r>
              <a:t/>
            </a:r>
            <a:endParaRPr/>
          </a:p>
        </p:txBody>
      </p:sp>
      <p:sp>
        <p:nvSpPr>
          <p:cNvPr id="197" name="Google Shape;197;g7023ddf169_0_54:notes"/>
          <p:cNvSpPr txBox="1"/>
          <p:nvPr>
            <p:ph idx="12" type="sldNum"/>
          </p:nvPr>
        </p:nvSpPr>
        <p:spPr>
          <a:xfrm>
            <a:off x="3884613" y="8685213"/>
            <a:ext cx="2971800" cy="458700"/>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216" name="Shape 216"/>
        <p:cNvGrpSpPr/>
        <p:nvPr/>
      </p:nvGrpSpPr>
      <p:grpSpPr>
        <a:xfrm>
          <a:off x="0" y="0"/>
          <a:ext cx="0" cy="0"/>
          <a:chOff x="0" y="0"/>
          <a:chExt cx="0" cy="0"/>
        </a:xfrm>
      </p:grpSpPr>
      <p:sp>
        <p:nvSpPr>
          <p:cNvPr id="217" name="Google Shape;217;g7023ddf169_0_87: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218" name="Google Shape;218;g7023ddf169_0_87:notes"/>
          <p:cNvSpPr txBox="1"/>
          <p:nvPr>
            <p:ph idx="1" type="body"/>
          </p:nvPr>
        </p:nvSpPr>
        <p:spPr>
          <a:xfrm>
            <a:off x="685800" y="4400550"/>
            <a:ext cx="5486400" cy="3600600"/>
          </a:xfrm>
          <a:prstGeom prst="rect">
            <a:avLst/>
          </a:prstGeom>
          <a:noFill/>
          <a:ln>
            <a:noFill/>
          </a:ln>
        </p:spPr>
        <p:txBody>
          <a:bodyPr anchorCtr="0" anchor="t" bIns="45700" lIns="91425" spcFirstLastPara="1" rIns="91425" wrap="square" tIns="45700">
            <a:noAutofit/>
          </a:bodyPr>
          <a:lstStyle/>
          <a:p>
            <a:pPr indent="0" lvl="0" marL="0" rtl="0" algn="l">
              <a:spcBef>
                <a:spcPts val="0"/>
              </a:spcBef>
              <a:spcAft>
                <a:spcPts val="0"/>
              </a:spcAft>
              <a:buNone/>
            </a:pPr>
            <a:r>
              <a:rPr lang="en-US"/>
              <a:t>We want to use these features to calculate the similarity between different games and get list of </a:t>
            </a:r>
            <a:r>
              <a:rPr lang="en-US"/>
              <a:t>candidate</a:t>
            </a:r>
            <a:r>
              <a:rPr lang="en-US"/>
              <a:t> video games for recommendation. </a:t>
            </a:r>
            <a:endParaRPr/>
          </a:p>
        </p:txBody>
      </p:sp>
      <p:sp>
        <p:nvSpPr>
          <p:cNvPr id="219" name="Google Shape;219;g7023ddf169_0_87:notes"/>
          <p:cNvSpPr txBox="1"/>
          <p:nvPr>
            <p:ph idx="12" type="sldNum"/>
          </p:nvPr>
        </p:nvSpPr>
        <p:spPr>
          <a:xfrm>
            <a:off x="3884613" y="8685213"/>
            <a:ext cx="2971800" cy="458700"/>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231" name="Shape 231"/>
        <p:cNvGrpSpPr/>
        <p:nvPr/>
      </p:nvGrpSpPr>
      <p:grpSpPr>
        <a:xfrm>
          <a:off x="0" y="0"/>
          <a:ext cx="0" cy="0"/>
          <a:chOff x="0" y="0"/>
          <a:chExt cx="0" cy="0"/>
        </a:xfrm>
      </p:grpSpPr>
      <p:sp>
        <p:nvSpPr>
          <p:cNvPr id="232" name="Google Shape;232;g7023ddf169_0_116: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233" name="Google Shape;233;g7023ddf169_0_116:notes"/>
          <p:cNvSpPr txBox="1"/>
          <p:nvPr>
            <p:ph idx="1" type="body"/>
          </p:nvPr>
        </p:nvSpPr>
        <p:spPr>
          <a:xfrm>
            <a:off x="685800" y="4400550"/>
            <a:ext cx="5486400" cy="3600600"/>
          </a:xfrm>
          <a:prstGeom prst="rect">
            <a:avLst/>
          </a:prstGeom>
          <a:noFill/>
          <a:ln>
            <a:noFill/>
          </a:ln>
        </p:spPr>
        <p:txBody>
          <a:bodyPr anchorCtr="0" anchor="t" bIns="45700" lIns="91425" spcFirstLastPara="1" rIns="91425" wrap="square" tIns="45700">
            <a:noAutofit/>
          </a:bodyPr>
          <a:lstStyle/>
          <a:p>
            <a:pPr indent="0" lvl="0" marL="0" rtl="0" algn="l">
              <a:spcBef>
                <a:spcPts val="0"/>
              </a:spcBef>
              <a:spcAft>
                <a:spcPts val="0"/>
              </a:spcAft>
              <a:buNone/>
            </a:pPr>
            <a:r>
              <a:t/>
            </a:r>
            <a:endParaRPr/>
          </a:p>
        </p:txBody>
      </p:sp>
      <p:sp>
        <p:nvSpPr>
          <p:cNvPr id="234" name="Google Shape;234;g7023ddf169_0_116:notes"/>
          <p:cNvSpPr txBox="1"/>
          <p:nvPr>
            <p:ph idx="12" type="sldNum"/>
          </p:nvPr>
        </p:nvSpPr>
        <p:spPr>
          <a:xfrm>
            <a:off x="3884613" y="8685213"/>
            <a:ext cx="2971800" cy="458700"/>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242" name="Shape 242"/>
        <p:cNvGrpSpPr/>
        <p:nvPr/>
      </p:nvGrpSpPr>
      <p:grpSpPr>
        <a:xfrm>
          <a:off x="0" y="0"/>
          <a:ext cx="0" cy="0"/>
          <a:chOff x="0" y="0"/>
          <a:chExt cx="0" cy="0"/>
        </a:xfrm>
      </p:grpSpPr>
      <p:sp>
        <p:nvSpPr>
          <p:cNvPr id="243" name="Google Shape;243;g7023ddf169_0_131: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244" name="Google Shape;244;g7023ddf169_0_131:notes"/>
          <p:cNvSpPr txBox="1"/>
          <p:nvPr>
            <p:ph idx="1" type="body"/>
          </p:nvPr>
        </p:nvSpPr>
        <p:spPr>
          <a:xfrm>
            <a:off x="685800" y="4400550"/>
            <a:ext cx="5486400" cy="3600600"/>
          </a:xfrm>
          <a:prstGeom prst="rect">
            <a:avLst/>
          </a:prstGeom>
          <a:noFill/>
          <a:ln>
            <a:noFill/>
          </a:ln>
        </p:spPr>
        <p:txBody>
          <a:bodyPr anchorCtr="0" anchor="t" bIns="45700" lIns="91425" spcFirstLastPara="1" rIns="91425" wrap="square" tIns="45700">
            <a:noAutofit/>
          </a:bodyPr>
          <a:lstStyle/>
          <a:p>
            <a:pPr indent="0" lvl="0" marL="0" rtl="0" algn="l">
              <a:spcBef>
                <a:spcPts val="0"/>
              </a:spcBef>
              <a:spcAft>
                <a:spcPts val="0"/>
              </a:spcAft>
              <a:buNone/>
            </a:pPr>
            <a:r>
              <a:rPr lang="en-US"/>
              <a:t>Mian</a:t>
            </a:r>
            <a:endParaRPr/>
          </a:p>
          <a:p>
            <a:pPr indent="0" lvl="0" marL="0" rtl="0" algn="l">
              <a:lnSpc>
                <a:spcPct val="115000"/>
              </a:lnSpc>
              <a:spcBef>
                <a:spcPts val="0"/>
              </a:spcBef>
              <a:spcAft>
                <a:spcPts val="0"/>
              </a:spcAft>
              <a:buNone/>
            </a:pPr>
            <a:r>
              <a:rPr lang="en-US" sz="1100">
                <a:solidFill>
                  <a:srgbClr val="000000"/>
                </a:solidFill>
                <a:highlight>
                  <a:schemeClr val="lt1"/>
                </a:highlight>
                <a:latin typeface="Georgia"/>
                <a:ea typeface="Georgia"/>
                <a:cs typeface="Georgia"/>
                <a:sym typeface="Georgia"/>
              </a:rPr>
              <a:t>Basically, the idea is to find the most similar users to our target user (aka, nearest neighbors) and weight their ratings of an item as the prediction for our target user. In our case we have used franchise instead of rating, to compute Jaccard similarity, based on which we can find similar users.</a:t>
            </a:r>
            <a:endParaRPr sz="1100">
              <a:solidFill>
                <a:srgbClr val="000000"/>
              </a:solidFill>
              <a:highlight>
                <a:schemeClr val="lt1"/>
              </a:highlight>
              <a:latin typeface="Georgia"/>
              <a:ea typeface="Georgia"/>
              <a:cs typeface="Georgia"/>
              <a:sym typeface="Georgia"/>
            </a:endParaRPr>
          </a:p>
          <a:p>
            <a:pPr indent="0" lvl="0" marL="0" rtl="0" algn="l">
              <a:lnSpc>
                <a:spcPct val="115000"/>
              </a:lnSpc>
              <a:spcBef>
                <a:spcPts val="0"/>
              </a:spcBef>
              <a:spcAft>
                <a:spcPts val="0"/>
              </a:spcAft>
              <a:buNone/>
            </a:pPr>
            <a:r>
              <a:rPr lang="en-US" sz="1100">
                <a:solidFill>
                  <a:srgbClr val="000000"/>
                </a:solidFill>
                <a:highlight>
                  <a:schemeClr val="lt1"/>
                </a:highlight>
                <a:latin typeface="Georgia"/>
                <a:ea typeface="Georgia"/>
                <a:cs typeface="Georgia"/>
                <a:sym typeface="Georgia"/>
              </a:rPr>
              <a:t>Then, what we do is to find union of similar users’ games, and recommend what hasn’t been played by target user.</a:t>
            </a:r>
            <a:endParaRPr/>
          </a:p>
        </p:txBody>
      </p:sp>
      <p:sp>
        <p:nvSpPr>
          <p:cNvPr id="245" name="Google Shape;245;g7023ddf169_0_131:notes"/>
          <p:cNvSpPr txBox="1"/>
          <p:nvPr>
            <p:ph idx="12" type="sldNum"/>
          </p:nvPr>
        </p:nvSpPr>
        <p:spPr>
          <a:xfrm>
            <a:off x="3884613" y="8685213"/>
            <a:ext cx="2971800" cy="458700"/>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270" name="Shape 270"/>
        <p:cNvGrpSpPr/>
        <p:nvPr/>
      </p:nvGrpSpPr>
      <p:grpSpPr>
        <a:xfrm>
          <a:off x="0" y="0"/>
          <a:ext cx="0" cy="0"/>
          <a:chOff x="0" y="0"/>
          <a:chExt cx="0" cy="0"/>
        </a:xfrm>
      </p:grpSpPr>
      <p:sp>
        <p:nvSpPr>
          <p:cNvPr id="271" name="Google Shape;271;g7023ddf169_0_172: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272" name="Google Shape;272;g7023ddf169_0_172:notes"/>
          <p:cNvSpPr txBox="1"/>
          <p:nvPr>
            <p:ph idx="1" type="body"/>
          </p:nvPr>
        </p:nvSpPr>
        <p:spPr>
          <a:xfrm>
            <a:off x="685800" y="4400550"/>
            <a:ext cx="5486400" cy="3600600"/>
          </a:xfrm>
          <a:prstGeom prst="rect">
            <a:avLst/>
          </a:prstGeom>
          <a:noFill/>
          <a:ln>
            <a:noFill/>
          </a:ln>
        </p:spPr>
        <p:txBody>
          <a:bodyPr anchorCtr="0" anchor="t" bIns="45700" lIns="91425" spcFirstLastPara="1" rIns="91425" wrap="square" tIns="45700">
            <a:noAutofit/>
          </a:bodyPr>
          <a:lstStyle/>
          <a:p>
            <a:pPr indent="0" lvl="0" marL="0" rtl="0" algn="l">
              <a:spcBef>
                <a:spcPts val="0"/>
              </a:spcBef>
              <a:spcAft>
                <a:spcPts val="0"/>
              </a:spcAft>
              <a:buNone/>
            </a:pPr>
            <a:r>
              <a:rPr lang="en-US"/>
              <a:t>Mian</a:t>
            </a:r>
            <a:endParaRPr/>
          </a:p>
          <a:p>
            <a:pPr indent="0" lvl="0" marL="0" rtl="0" algn="l">
              <a:spcBef>
                <a:spcPts val="0"/>
              </a:spcBef>
              <a:spcAft>
                <a:spcPts val="0"/>
              </a:spcAft>
              <a:buNone/>
            </a:pPr>
            <a:r>
              <a:rPr lang="en-US"/>
              <a:t>Here are the top 6 similar users based on franchise, e.g., similar pair 0. User A prefers franchise of ‘battlefield, plants vs zombies, the sims’, and User B prefers franchise ‘battlefield, plants vs zombies, EA mobile, the sims’. Their preferences overlap a lot, which makes them similar users, so we can try to recommend User B’s preference of ‘EA mobile’ to User A.</a:t>
            </a:r>
            <a:endParaRPr/>
          </a:p>
        </p:txBody>
      </p:sp>
      <p:sp>
        <p:nvSpPr>
          <p:cNvPr id="273" name="Google Shape;273;g7023ddf169_0_172:notes"/>
          <p:cNvSpPr txBox="1"/>
          <p:nvPr>
            <p:ph idx="12" type="sldNum"/>
          </p:nvPr>
        </p:nvSpPr>
        <p:spPr>
          <a:xfrm>
            <a:off x="3884613" y="8685213"/>
            <a:ext cx="2971800" cy="458700"/>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278" name="Shape 278"/>
        <p:cNvGrpSpPr/>
        <p:nvPr/>
      </p:nvGrpSpPr>
      <p:grpSpPr>
        <a:xfrm>
          <a:off x="0" y="0"/>
          <a:ext cx="0" cy="0"/>
          <a:chOff x="0" y="0"/>
          <a:chExt cx="0" cy="0"/>
        </a:xfrm>
      </p:grpSpPr>
      <p:sp>
        <p:nvSpPr>
          <p:cNvPr id="279" name="Google Shape;279;g7023ddf169_0_209: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280" name="Google Shape;280;g7023ddf169_0_209:notes"/>
          <p:cNvSpPr txBox="1"/>
          <p:nvPr>
            <p:ph idx="1" type="body"/>
          </p:nvPr>
        </p:nvSpPr>
        <p:spPr>
          <a:xfrm>
            <a:off x="685800" y="4400550"/>
            <a:ext cx="5486400" cy="3600600"/>
          </a:xfrm>
          <a:prstGeom prst="rect">
            <a:avLst/>
          </a:prstGeom>
          <a:noFill/>
          <a:ln>
            <a:noFill/>
          </a:ln>
        </p:spPr>
        <p:txBody>
          <a:bodyPr anchorCtr="0" anchor="t" bIns="45700" lIns="91425" spcFirstLastPara="1" rIns="91425" wrap="square" tIns="45700">
            <a:noAutofit/>
          </a:bodyPr>
          <a:lstStyle/>
          <a:p>
            <a:pPr indent="0" lvl="0" marL="0" rtl="0" algn="just">
              <a:lnSpc>
                <a:spcPct val="115000"/>
              </a:lnSpc>
              <a:spcBef>
                <a:spcPts val="0"/>
              </a:spcBef>
              <a:spcAft>
                <a:spcPts val="0"/>
              </a:spcAft>
              <a:buNone/>
            </a:pPr>
            <a:r>
              <a:rPr lang="en-US" sz="1100">
                <a:solidFill>
                  <a:srgbClr val="222222"/>
                </a:solidFill>
                <a:latin typeface="Times New Roman"/>
                <a:ea typeface="Times New Roman"/>
                <a:cs typeface="Times New Roman"/>
                <a:sym typeface="Times New Roman"/>
              </a:rPr>
              <a:t>We also incorporated external sources to further help us gain insights into customers’ experience with EA games.</a:t>
            </a:r>
            <a:endParaRPr sz="1100">
              <a:solidFill>
                <a:srgbClr val="222222"/>
              </a:solidFill>
              <a:latin typeface="Times New Roman"/>
              <a:ea typeface="Times New Roman"/>
              <a:cs typeface="Times New Roman"/>
              <a:sym typeface="Times New Roman"/>
            </a:endParaRPr>
          </a:p>
          <a:p>
            <a:pPr indent="0" lvl="0" marL="0" rtl="0" algn="just">
              <a:lnSpc>
                <a:spcPct val="115000"/>
              </a:lnSpc>
              <a:spcBef>
                <a:spcPts val="0"/>
              </a:spcBef>
              <a:spcAft>
                <a:spcPts val="0"/>
              </a:spcAft>
              <a:buNone/>
            </a:pPr>
            <a:r>
              <a:rPr lang="en-US" sz="1100">
                <a:solidFill>
                  <a:srgbClr val="222222"/>
                </a:solidFill>
                <a:latin typeface="Times New Roman"/>
                <a:ea typeface="Times New Roman"/>
                <a:cs typeface="Times New Roman"/>
                <a:sym typeface="Times New Roman"/>
              </a:rPr>
              <a:t>We scraped Amazon for the most popular 9 games on EA platform, and got 2000 reviews and ratings. </a:t>
            </a:r>
            <a:endParaRPr sz="1100">
              <a:solidFill>
                <a:srgbClr val="222222"/>
              </a:solidFill>
              <a:latin typeface="Times New Roman"/>
              <a:ea typeface="Times New Roman"/>
              <a:cs typeface="Times New Roman"/>
              <a:sym typeface="Times New Roman"/>
            </a:endParaRPr>
          </a:p>
          <a:p>
            <a:pPr indent="0" lvl="0" marL="0" rtl="0" algn="just">
              <a:lnSpc>
                <a:spcPct val="115000"/>
              </a:lnSpc>
              <a:spcBef>
                <a:spcPts val="0"/>
              </a:spcBef>
              <a:spcAft>
                <a:spcPts val="0"/>
              </a:spcAft>
              <a:buNone/>
            </a:pPr>
            <a:r>
              <a:rPr lang="en-US" sz="1100">
                <a:solidFill>
                  <a:srgbClr val="222222"/>
                </a:solidFill>
                <a:latin typeface="Times New Roman"/>
                <a:ea typeface="Times New Roman"/>
                <a:cs typeface="Times New Roman"/>
                <a:sym typeface="Times New Roman"/>
              </a:rPr>
              <a:t>we plotted the ratings with regard to time. to visualize how customers’ opinions changed over time</a:t>
            </a:r>
            <a:endParaRPr sz="1100">
              <a:solidFill>
                <a:srgbClr val="222222"/>
              </a:solidFill>
              <a:latin typeface="Times New Roman"/>
              <a:ea typeface="Times New Roman"/>
              <a:cs typeface="Times New Roman"/>
              <a:sym typeface="Times New Roman"/>
            </a:endParaRPr>
          </a:p>
          <a:p>
            <a:pPr indent="0" lvl="0" marL="0" rtl="0" algn="just">
              <a:lnSpc>
                <a:spcPct val="115000"/>
              </a:lnSpc>
              <a:spcBef>
                <a:spcPts val="0"/>
              </a:spcBef>
              <a:spcAft>
                <a:spcPts val="0"/>
              </a:spcAft>
              <a:buNone/>
            </a:pPr>
            <a:r>
              <a:rPr lang="en-US" sz="1100">
                <a:solidFill>
                  <a:srgbClr val="222222"/>
                </a:solidFill>
                <a:latin typeface="Times New Roman"/>
                <a:ea typeface="Times New Roman"/>
                <a:cs typeface="Times New Roman"/>
                <a:sym typeface="Times New Roman"/>
              </a:rPr>
              <a:t>We then processed the reviews, using keywords extraction, clustering and topic modelling </a:t>
            </a:r>
            <a:endParaRPr sz="1100">
              <a:solidFill>
                <a:srgbClr val="222222"/>
              </a:solidFill>
              <a:latin typeface="Times New Roman"/>
              <a:ea typeface="Times New Roman"/>
              <a:cs typeface="Times New Roman"/>
              <a:sym typeface="Times New Roman"/>
            </a:endParaRPr>
          </a:p>
          <a:p>
            <a:pPr indent="0" lvl="0" marL="0" rtl="0" algn="just">
              <a:lnSpc>
                <a:spcPct val="115000"/>
              </a:lnSpc>
              <a:spcBef>
                <a:spcPts val="0"/>
              </a:spcBef>
              <a:spcAft>
                <a:spcPts val="0"/>
              </a:spcAft>
              <a:buNone/>
            </a:pPr>
            <a:r>
              <a:rPr lang="en-US" sz="1100">
                <a:solidFill>
                  <a:srgbClr val="222222"/>
                </a:solidFill>
                <a:latin typeface="Times New Roman"/>
                <a:ea typeface="Times New Roman"/>
                <a:cs typeface="Times New Roman"/>
                <a:sym typeface="Times New Roman"/>
              </a:rPr>
              <a:t>We also visualized the topics for better interpretability</a:t>
            </a:r>
            <a:endParaRPr sz="1100">
              <a:solidFill>
                <a:srgbClr val="222222"/>
              </a:solidFill>
              <a:latin typeface="Times New Roman"/>
              <a:ea typeface="Times New Roman"/>
              <a:cs typeface="Times New Roman"/>
              <a:sym typeface="Times New Roman"/>
            </a:endParaRPr>
          </a:p>
          <a:p>
            <a:pPr indent="0" lvl="0" marL="0" rtl="0" algn="l">
              <a:spcBef>
                <a:spcPts val="0"/>
              </a:spcBef>
              <a:spcAft>
                <a:spcPts val="0"/>
              </a:spcAft>
              <a:buNone/>
            </a:pPr>
            <a:r>
              <a:t/>
            </a:r>
            <a:endParaRPr/>
          </a:p>
        </p:txBody>
      </p:sp>
      <p:sp>
        <p:nvSpPr>
          <p:cNvPr id="281" name="Google Shape;281;g7023ddf169_0_209:notes"/>
          <p:cNvSpPr txBox="1"/>
          <p:nvPr>
            <p:ph idx="12" type="sldNum"/>
          </p:nvPr>
        </p:nvSpPr>
        <p:spPr>
          <a:xfrm>
            <a:off x="3884613" y="8685213"/>
            <a:ext cx="2971800" cy="458700"/>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286" name="Shape 286"/>
        <p:cNvGrpSpPr/>
        <p:nvPr/>
      </p:nvGrpSpPr>
      <p:grpSpPr>
        <a:xfrm>
          <a:off x="0" y="0"/>
          <a:ext cx="0" cy="0"/>
          <a:chOff x="0" y="0"/>
          <a:chExt cx="0" cy="0"/>
        </a:xfrm>
      </p:grpSpPr>
      <p:sp>
        <p:nvSpPr>
          <p:cNvPr id="287" name="Google Shape;287;g7023ddf169_0_200: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288" name="Google Shape;288;g7023ddf169_0_200:notes"/>
          <p:cNvSpPr txBox="1"/>
          <p:nvPr>
            <p:ph idx="1" type="body"/>
          </p:nvPr>
        </p:nvSpPr>
        <p:spPr>
          <a:xfrm>
            <a:off x="685800" y="4400550"/>
            <a:ext cx="5486400" cy="3600600"/>
          </a:xfrm>
          <a:prstGeom prst="rect">
            <a:avLst/>
          </a:prstGeom>
          <a:noFill/>
          <a:ln>
            <a:noFill/>
          </a:ln>
        </p:spPr>
        <p:txBody>
          <a:bodyPr anchorCtr="0" anchor="t" bIns="45700" lIns="91425" spcFirstLastPara="1" rIns="91425" wrap="square" tIns="45700">
            <a:noAutofit/>
          </a:bodyPr>
          <a:lstStyle/>
          <a:p>
            <a:pPr indent="0" lvl="0" marL="0" rtl="0" algn="just">
              <a:lnSpc>
                <a:spcPct val="115000"/>
              </a:lnSpc>
              <a:spcBef>
                <a:spcPts val="0"/>
              </a:spcBef>
              <a:spcAft>
                <a:spcPts val="0"/>
              </a:spcAft>
              <a:buNone/>
            </a:pPr>
            <a:r>
              <a:rPr lang="en-US" sz="1100">
                <a:solidFill>
                  <a:srgbClr val="222222"/>
                </a:solidFill>
                <a:latin typeface="Times New Roman"/>
                <a:ea typeface="Times New Roman"/>
                <a:cs typeface="Times New Roman"/>
                <a:sym typeface="Times New Roman"/>
              </a:rPr>
              <a:t>We plotted ratings of 6 games with the most ratings on Amazon</a:t>
            </a:r>
            <a:endParaRPr sz="1100">
              <a:solidFill>
                <a:srgbClr val="222222"/>
              </a:solidFill>
              <a:latin typeface="Times New Roman"/>
              <a:ea typeface="Times New Roman"/>
              <a:cs typeface="Times New Roman"/>
              <a:sym typeface="Times New Roman"/>
            </a:endParaRPr>
          </a:p>
          <a:p>
            <a:pPr indent="0" lvl="0" marL="0" rtl="0" algn="just">
              <a:lnSpc>
                <a:spcPct val="115000"/>
              </a:lnSpc>
              <a:spcBef>
                <a:spcPts val="0"/>
              </a:spcBef>
              <a:spcAft>
                <a:spcPts val="0"/>
              </a:spcAft>
              <a:buNone/>
            </a:pPr>
            <a:r>
              <a:rPr lang="en-US" sz="1100">
                <a:solidFill>
                  <a:srgbClr val="222222"/>
                </a:solidFill>
                <a:latin typeface="Times New Roman"/>
                <a:ea typeface="Times New Roman"/>
                <a:cs typeface="Times New Roman"/>
                <a:sym typeface="Times New Roman"/>
              </a:rPr>
              <a:t>they are reflective of users’ perception on games. but we want to point out that</a:t>
            </a:r>
            <a:endParaRPr sz="1100">
              <a:solidFill>
                <a:srgbClr val="222222"/>
              </a:solidFill>
              <a:latin typeface="Times New Roman"/>
              <a:ea typeface="Times New Roman"/>
              <a:cs typeface="Times New Roman"/>
              <a:sym typeface="Times New Roman"/>
            </a:endParaRPr>
          </a:p>
          <a:p>
            <a:pPr indent="0" lvl="0" marL="0" rtl="0" algn="just">
              <a:lnSpc>
                <a:spcPct val="115000"/>
              </a:lnSpc>
              <a:spcBef>
                <a:spcPts val="0"/>
              </a:spcBef>
              <a:spcAft>
                <a:spcPts val="0"/>
              </a:spcAft>
              <a:buNone/>
            </a:pPr>
            <a:r>
              <a:rPr lang="en-US" sz="1100">
                <a:solidFill>
                  <a:srgbClr val="222222"/>
                </a:solidFill>
                <a:latin typeface="Times New Roman"/>
                <a:ea typeface="Times New Roman"/>
                <a:cs typeface="Times New Roman"/>
                <a:sym typeface="Times New Roman"/>
              </a:rPr>
              <a:t>Due to the limited data we have, e.g we only have 50 ratings for Mass Effect over 3 years</a:t>
            </a:r>
            <a:endParaRPr sz="1100">
              <a:solidFill>
                <a:srgbClr val="222222"/>
              </a:solidFill>
              <a:latin typeface="Times New Roman"/>
              <a:ea typeface="Times New Roman"/>
              <a:cs typeface="Times New Roman"/>
              <a:sym typeface="Times New Roman"/>
            </a:endParaRPr>
          </a:p>
          <a:p>
            <a:pPr indent="0" lvl="0" marL="0" rtl="0" algn="just">
              <a:lnSpc>
                <a:spcPct val="115000"/>
              </a:lnSpc>
              <a:spcBef>
                <a:spcPts val="0"/>
              </a:spcBef>
              <a:spcAft>
                <a:spcPts val="0"/>
              </a:spcAft>
              <a:buNone/>
            </a:pPr>
            <a:r>
              <a:rPr lang="en-US" sz="1100">
                <a:solidFill>
                  <a:srgbClr val="222222"/>
                </a:solidFill>
                <a:latin typeface="Times New Roman"/>
                <a:ea typeface="Times New Roman"/>
                <a:cs typeface="Times New Roman"/>
                <a:sym typeface="Times New Roman"/>
              </a:rPr>
              <a:t>these are not truly representative of user views to those games. This is an approach we propose to EA to take into their consideration</a:t>
            </a:r>
            <a:endParaRPr sz="1100">
              <a:solidFill>
                <a:srgbClr val="222222"/>
              </a:solidFill>
              <a:latin typeface="Times New Roman"/>
              <a:ea typeface="Times New Roman"/>
              <a:cs typeface="Times New Roman"/>
              <a:sym typeface="Times New Roman"/>
            </a:endParaRPr>
          </a:p>
          <a:p>
            <a:pPr indent="0" lvl="0" marL="0" rtl="0" algn="l">
              <a:spcBef>
                <a:spcPts val="0"/>
              </a:spcBef>
              <a:spcAft>
                <a:spcPts val="0"/>
              </a:spcAft>
              <a:buNone/>
            </a:pPr>
            <a:r>
              <a:t/>
            </a:r>
            <a:endParaRPr/>
          </a:p>
        </p:txBody>
      </p:sp>
      <p:sp>
        <p:nvSpPr>
          <p:cNvPr id="289" name="Google Shape;289;g7023ddf169_0_200:notes"/>
          <p:cNvSpPr txBox="1"/>
          <p:nvPr>
            <p:ph idx="12" type="sldNum"/>
          </p:nvPr>
        </p:nvSpPr>
        <p:spPr>
          <a:xfrm>
            <a:off x="3884613" y="8685213"/>
            <a:ext cx="2971800" cy="458700"/>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295" name="Shape 295"/>
        <p:cNvGrpSpPr/>
        <p:nvPr/>
      </p:nvGrpSpPr>
      <p:grpSpPr>
        <a:xfrm>
          <a:off x="0" y="0"/>
          <a:ext cx="0" cy="0"/>
          <a:chOff x="0" y="0"/>
          <a:chExt cx="0" cy="0"/>
        </a:xfrm>
      </p:grpSpPr>
      <p:sp>
        <p:nvSpPr>
          <p:cNvPr id="296" name="Google Shape;296;g7023ddf169_0_222: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297" name="Google Shape;297;g7023ddf169_0_222:notes"/>
          <p:cNvSpPr txBox="1"/>
          <p:nvPr>
            <p:ph idx="1" type="body"/>
          </p:nvPr>
        </p:nvSpPr>
        <p:spPr>
          <a:xfrm>
            <a:off x="685800" y="4400550"/>
            <a:ext cx="5486400" cy="3600600"/>
          </a:xfrm>
          <a:prstGeom prst="rect">
            <a:avLst/>
          </a:prstGeom>
          <a:noFill/>
          <a:ln>
            <a:noFill/>
          </a:ln>
        </p:spPr>
        <p:txBody>
          <a:bodyPr anchorCtr="0" anchor="t" bIns="45700" lIns="91425" spcFirstLastPara="1" rIns="91425" wrap="square" tIns="45700">
            <a:noAutofit/>
          </a:bodyPr>
          <a:lstStyle/>
          <a:p>
            <a:pPr indent="0" lvl="0" marL="0" rtl="0" algn="l">
              <a:lnSpc>
                <a:spcPct val="115000"/>
              </a:lnSpc>
              <a:spcBef>
                <a:spcPts val="0"/>
              </a:spcBef>
              <a:spcAft>
                <a:spcPts val="0"/>
              </a:spcAft>
              <a:buNone/>
            </a:pPr>
            <a:r>
              <a:rPr lang="en-US" sz="1100">
                <a:solidFill>
                  <a:srgbClr val="222222"/>
                </a:solidFill>
                <a:latin typeface="Times New Roman"/>
                <a:ea typeface="Times New Roman"/>
                <a:cs typeface="Times New Roman"/>
                <a:sym typeface="Times New Roman"/>
              </a:rPr>
              <a:t>In text preprocessing, we removed all the stop words and performed lemmatization. Lemmatization</a:t>
            </a:r>
            <a:r>
              <a:rPr lang="en-US" sz="1100">
                <a:solidFill>
                  <a:srgbClr val="000000"/>
                </a:solidFill>
                <a:latin typeface="Times New Roman"/>
                <a:ea typeface="Times New Roman"/>
                <a:cs typeface="Times New Roman"/>
                <a:sym typeface="Times New Roman"/>
              </a:rPr>
              <a:t> reduces multiple forms of a word to a single word</a:t>
            </a:r>
            <a:endParaRPr sz="1100">
              <a:solidFill>
                <a:srgbClr val="000000"/>
              </a:solidFill>
              <a:latin typeface="Times New Roman"/>
              <a:ea typeface="Times New Roman"/>
              <a:cs typeface="Times New Roman"/>
              <a:sym typeface="Times New Roman"/>
            </a:endParaRPr>
          </a:p>
          <a:p>
            <a:pPr indent="0" lvl="0" marL="0" rtl="0" algn="just">
              <a:lnSpc>
                <a:spcPct val="115000"/>
              </a:lnSpc>
              <a:spcBef>
                <a:spcPts val="0"/>
              </a:spcBef>
              <a:spcAft>
                <a:spcPts val="0"/>
              </a:spcAft>
              <a:buNone/>
            </a:pPr>
            <a:r>
              <a:rPr lang="en-US" sz="1100">
                <a:solidFill>
                  <a:srgbClr val="222222"/>
                </a:solidFill>
                <a:latin typeface="Times New Roman"/>
                <a:ea typeface="Times New Roman"/>
                <a:cs typeface="Times New Roman"/>
                <a:sym typeface="Times New Roman"/>
              </a:rPr>
              <a:t>On the top level, we summarized users’ opinions on EA games from the reviews we have from Amazon. </a:t>
            </a:r>
            <a:endParaRPr sz="1100">
              <a:solidFill>
                <a:srgbClr val="222222"/>
              </a:solidFill>
              <a:latin typeface="Times New Roman"/>
              <a:ea typeface="Times New Roman"/>
              <a:cs typeface="Times New Roman"/>
              <a:sym typeface="Times New Roman"/>
            </a:endParaRPr>
          </a:p>
          <a:p>
            <a:pPr indent="0" lvl="0" marL="0" rtl="0" algn="just">
              <a:lnSpc>
                <a:spcPct val="115000"/>
              </a:lnSpc>
              <a:spcBef>
                <a:spcPts val="0"/>
              </a:spcBef>
              <a:spcAft>
                <a:spcPts val="0"/>
              </a:spcAft>
              <a:buNone/>
            </a:pPr>
            <a:r>
              <a:rPr lang="en-US" sz="1100">
                <a:solidFill>
                  <a:srgbClr val="222222"/>
                </a:solidFill>
                <a:latin typeface="Times New Roman"/>
                <a:ea typeface="Times New Roman"/>
                <a:cs typeface="Times New Roman"/>
                <a:sym typeface="Times New Roman"/>
              </a:rPr>
              <a:t>some of the most frequent words are: game, multiplayer, good, amazing, graphic, fifa, and battlefield</a:t>
            </a:r>
            <a:endParaRPr sz="1100">
              <a:solidFill>
                <a:srgbClr val="222222"/>
              </a:solidFill>
              <a:latin typeface="Times New Roman"/>
              <a:ea typeface="Times New Roman"/>
              <a:cs typeface="Times New Roman"/>
              <a:sym typeface="Times New Roman"/>
            </a:endParaRPr>
          </a:p>
          <a:p>
            <a:pPr indent="0" lvl="0" marL="0" rtl="0" algn="l">
              <a:lnSpc>
                <a:spcPct val="115000"/>
              </a:lnSpc>
              <a:spcBef>
                <a:spcPts val="0"/>
              </a:spcBef>
              <a:spcAft>
                <a:spcPts val="0"/>
              </a:spcAft>
              <a:buNone/>
            </a:pPr>
            <a:r>
              <a:rPr lang="en-US" sz="1100">
                <a:solidFill>
                  <a:srgbClr val="222222"/>
                </a:solidFill>
                <a:latin typeface="Times New Roman"/>
                <a:ea typeface="Times New Roman"/>
                <a:cs typeface="Times New Roman"/>
                <a:sym typeface="Times New Roman"/>
              </a:rPr>
              <a:t>Many praise the content and graphic quality. Franchise games play a great role in success of EA</a:t>
            </a:r>
            <a:endParaRPr sz="1100">
              <a:solidFill>
                <a:srgbClr val="222222"/>
              </a:solidFill>
              <a:latin typeface="Times New Roman"/>
              <a:ea typeface="Times New Roman"/>
              <a:cs typeface="Times New Roman"/>
              <a:sym typeface="Times New Roman"/>
            </a:endParaRPr>
          </a:p>
          <a:p>
            <a:pPr indent="0" lvl="0" marL="0" rtl="0" algn="l">
              <a:spcBef>
                <a:spcPts val="0"/>
              </a:spcBef>
              <a:spcAft>
                <a:spcPts val="0"/>
              </a:spcAft>
              <a:buNone/>
            </a:pPr>
            <a:r>
              <a:t/>
            </a:r>
            <a:endParaRPr/>
          </a:p>
        </p:txBody>
      </p:sp>
      <p:sp>
        <p:nvSpPr>
          <p:cNvPr id="298" name="Google Shape;298;g7023ddf169_0_222:notes"/>
          <p:cNvSpPr txBox="1"/>
          <p:nvPr>
            <p:ph idx="12" type="sldNum"/>
          </p:nvPr>
        </p:nvSpPr>
        <p:spPr>
          <a:xfrm>
            <a:off x="3884613" y="8685213"/>
            <a:ext cx="2971800" cy="458700"/>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304" name="Shape 304"/>
        <p:cNvGrpSpPr/>
        <p:nvPr/>
      </p:nvGrpSpPr>
      <p:grpSpPr>
        <a:xfrm>
          <a:off x="0" y="0"/>
          <a:ext cx="0" cy="0"/>
          <a:chOff x="0" y="0"/>
          <a:chExt cx="0" cy="0"/>
        </a:xfrm>
      </p:grpSpPr>
      <p:sp>
        <p:nvSpPr>
          <p:cNvPr id="305" name="Google Shape;305;g7023ddf169_0_230: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306" name="Google Shape;306;g7023ddf169_0_230:notes"/>
          <p:cNvSpPr txBox="1"/>
          <p:nvPr>
            <p:ph idx="1" type="body"/>
          </p:nvPr>
        </p:nvSpPr>
        <p:spPr>
          <a:xfrm>
            <a:off x="685800" y="4400550"/>
            <a:ext cx="5486400" cy="3600600"/>
          </a:xfrm>
          <a:prstGeom prst="rect">
            <a:avLst/>
          </a:prstGeom>
          <a:noFill/>
          <a:ln>
            <a:noFill/>
          </a:ln>
        </p:spPr>
        <p:txBody>
          <a:bodyPr anchorCtr="0" anchor="t" bIns="45700" lIns="91425" spcFirstLastPara="1" rIns="91425" wrap="square" tIns="45700">
            <a:noAutofit/>
          </a:bodyPr>
          <a:lstStyle/>
          <a:p>
            <a:pPr indent="0" lvl="0" marL="0" rtl="0" algn="l">
              <a:lnSpc>
                <a:spcPct val="115000"/>
              </a:lnSpc>
              <a:spcBef>
                <a:spcPts val="0"/>
              </a:spcBef>
              <a:spcAft>
                <a:spcPts val="0"/>
              </a:spcAft>
              <a:buNone/>
            </a:pPr>
            <a:r>
              <a:rPr lang="en-US" sz="1100">
                <a:solidFill>
                  <a:srgbClr val="222222"/>
                </a:solidFill>
                <a:latin typeface="Times New Roman"/>
                <a:ea typeface="Times New Roman"/>
                <a:cs typeface="Times New Roman"/>
                <a:sym typeface="Times New Roman"/>
              </a:rPr>
              <a:t>Over 80% of the rewiews are positive. </a:t>
            </a:r>
            <a:endParaRPr sz="1100">
              <a:solidFill>
                <a:srgbClr val="222222"/>
              </a:solidFill>
              <a:latin typeface="Times New Roman"/>
              <a:ea typeface="Times New Roman"/>
              <a:cs typeface="Times New Roman"/>
              <a:sym typeface="Times New Roman"/>
            </a:endParaRPr>
          </a:p>
          <a:p>
            <a:pPr indent="0" lvl="0" marL="0" rtl="0" algn="l">
              <a:lnSpc>
                <a:spcPct val="115000"/>
              </a:lnSpc>
              <a:spcBef>
                <a:spcPts val="0"/>
              </a:spcBef>
              <a:spcAft>
                <a:spcPts val="0"/>
              </a:spcAft>
              <a:buNone/>
            </a:pPr>
            <a:r>
              <a:rPr lang="en-US" sz="1100">
                <a:solidFill>
                  <a:srgbClr val="222222"/>
                </a:solidFill>
                <a:latin typeface="Times New Roman"/>
                <a:ea typeface="Times New Roman"/>
                <a:cs typeface="Times New Roman"/>
                <a:sym typeface="Times New Roman"/>
              </a:rPr>
              <a:t>We segmented reviews into positive and negative groups to get a big picture of why users leave those comments. </a:t>
            </a:r>
            <a:endParaRPr sz="1100">
              <a:solidFill>
                <a:srgbClr val="222222"/>
              </a:solidFill>
              <a:latin typeface="Times New Roman"/>
              <a:ea typeface="Times New Roman"/>
              <a:cs typeface="Times New Roman"/>
              <a:sym typeface="Times New Roman"/>
            </a:endParaRPr>
          </a:p>
          <a:p>
            <a:pPr indent="0" lvl="0" marL="0" rtl="0" algn="l">
              <a:lnSpc>
                <a:spcPct val="115000"/>
              </a:lnSpc>
              <a:spcBef>
                <a:spcPts val="0"/>
              </a:spcBef>
              <a:spcAft>
                <a:spcPts val="0"/>
              </a:spcAft>
              <a:buNone/>
            </a:pPr>
            <a:r>
              <a:rPr lang="en-US" sz="1100">
                <a:solidFill>
                  <a:srgbClr val="222222"/>
                </a:solidFill>
                <a:latin typeface="Times New Roman"/>
                <a:ea typeface="Times New Roman"/>
                <a:cs typeface="Times New Roman"/>
                <a:sym typeface="Times New Roman"/>
              </a:rPr>
              <a:t>we extracted keywords using countvectorizer, which is basically word frequency, and Tf-idf vectorizer </a:t>
            </a:r>
            <a:endParaRPr sz="1100">
              <a:solidFill>
                <a:srgbClr val="222222"/>
              </a:solidFill>
              <a:latin typeface="Times New Roman"/>
              <a:ea typeface="Times New Roman"/>
              <a:cs typeface="Times New Roman"/>
              <a:sym typeface="Times New Roman"/>
            </a:endParaRPr>
          </a:p>
          <a:p>
            <a:pPr indent="0" lvl="0" marL="0" rtl="0" algn="l">
              <a:lnSpc>
                <a:spcPct val="115000"/>
              </a:lnSpc>
              <a:spcBef>
                <a:spcPts val="0"/>
              </a:spcBef>
              <a:spcAft>
                <a:spcPts val="0"/>
              </a:spcAft>
              <a:buNone/>
            </a:pPr>
            <a:r>
              <a:rPr lang="en-US" sz="1100">
                <a:solidFill>
                  <a:srgbClr val="222222"/>
                </a:solidFill>
                <a:latin typeface="Times New Roman"/>
                <a:ea typeface="Times New Roman"/>
                <a:cs typeface="Times New Roman"/>
                <a:sym typeface="Times New Roman"/>
              </a:rPr>
              <a:t>they gave similar results, probably due to the fact we only have a moderate size of texts</a:t>
            </a:r>
            <a:endParaRPr sz="1100">
              <a:solidFill>
                <a:srgbClr val="222222"/>
              </a:solidFill>
              <a:latin typeface="Times New Roman"/>
              <a:ea typeface="Times New Roman"/>
              <a:cs typeface="Times New Roman"/>
              <a:sym typeface="Times New Roman"/>
            </a:endParaRPr>
          </a:p>
          <a:p>
            <a:pPr indent="0" lvl="0" marL="0" rtl="0" algn="l">
              <a:lnSpc>
                <a:spcPct val="115000"/>
              </a:lnSpc>
              <a:spcBef>
                <a:spcPts val="0"/>
              </a:spcBef>
              <a:spcAft>
                <a:spcPts val="0"/>
              </a:spcAft>
              <a:buNone/>
            </a:pPr>
            <a:r>
              <a:rPr lang="en-US" sz="1100">
                <a:solidFill>
                  <a:srgbClr val="222222"/>
                </a:solidFill>
                <a:latin typeface="Times New Roman"/>
                <a:ea typeface="Times New Roman"/>
                <a:cs typeface="Times New Roman"/>
                <a:sym typeface="Times New Roman"/>
              </a:rPr>
              <a:t>Positive reviews comment that they had awesome experience and they love fifa20</a:t>
            </a:r>
            <a:endParaRPr sz="1100">
              <a:solidFill>
                <a:srgbClr val="222222"/>
              </a:solidFill>
              <a:latin typeface="Times New Roman"/>
              <a:ea typeface="Times New Roman"/>
              <a:cs typeface="Times New Roman"/>
              <a:sym typeface="Times New Roman"/>
            </a:endParaRPr>
          </a:p>
          <a:p>
            <a:pPr indent="0" lvl="0" marL="0" rtl="0" algn="l">
              <a:lnSpc>
                <a:spcPct val="115000"/>
              </a:lnSpc>
              <a:spcBef>
                <a:spcPts val="0"/>
              </a:spcBef>
              <a:spcAft>
                <a:spcPts val="0"/>
              </a:spcAft>
              <a:buNone/>
            </a:pPr>
            <a:r>
              <a:rPr lang="en-US" sz="1100">
                <a:solidFill>
                  <a:srgbClr val="222222"/>
                </a:solidFill>
                <a:latin typeface="Times New Roman"/>
                <a:ea typeface="Times New Roman"/>
                <a:cs typeface="Times New Roman"/>
                <a:sym typeface="Times New Roman"/>
              </a:rPr>
              <a:t>Negative reviews comment that they has bad experience and perhaps the games are faulty and there is bugs</a:t>
            </a:r>
            <a:endParaRPr sz="1100">
              <a:solidFill>
                <a:srgbClr val="222222"/>
              </a:solidFill>
              <a:latin typeface="Times New Roman"/>
              <a:ea typeface="Times New Roman"/>
              <a:cs typeface="Times New Roman"/>
              <a:sym typeface="Times New Roman"/>
            </a:endParaRPr>
          </a:p>
          <a:p>
            <a:pPr indent="0" lvl="0" marL="0" rtl="0" algn="l">
              <a:lnSpc>
                <a:spcPct val="115000"/>
              </a:lnSpc>
              <a:spcBef>
                <a:spcPts val="0"/>
              </a:spcBef>
              <a:spcAft>
                <a:spcPts val="0"/>
              </a:spcAft>
              <a:buNone/>
            </a:pPr>
            <a:r>
              <a:rPr lang="en-US" sz="1100">
                <a:solidFill>
                  <a:srgbClr val="222222"/>
                </a:solidFill>
                <a:latin typeface="Times New Roman"/>
                <a:ea typeface="Times New Roman"/>
                <a:cs typeface="Times New Roman"/>
                <a:sym typeface="Times New Roman"/>
              </a:rPr>
              <a:t>They also commented on order, but that may relate to Amazon itself not EA</a:t>
            </a:r>
            <a:endParaRPr sz="1100">
              <a:solidFill>
                <a:srgbClr val="222222"/>
              </a:solidFill>
              <a:latin typeface="Times New Roman"/>
              <a:ea typeface="Times New Roman"/>
              <a:cs typeface="Times New Roman"/>
              <a:sym typeface="Times New Roman"/>
            </a:endParaRPr>
          </a:p>
          <a:p>
            <a:pPr indent="0" lvl="0" marL="0" rtl="0" algn="l">
              <a:lnSpc>
                <a:spcPct val="115000"/>
              </a:lnSpc>
              <a:spcBef>
                <a:spcPts val="0"/>
              </a:spcBef>
              <a:spcAft>
                <a:spcPts val="0"/>
              </a:spcAft>
              <a:buNone/>
            </a:pPr>
            <a:r>
              <a:t/>
            </a:r>
            <a:endParaRPr sz="1100">
              <a:solidFill>
                <a:srgbClr val="222222"/>
              </a:solidFill>
              <a:latin typeface="Times New Roman"/>
              <a:ea typeface="Times New Roman"/>
              <a:cs typeface="Times New Roman"/>
              <a:sym typeface="Times New Roman"/>
            </a:endParaRPr>
          </a:p>
          <a:p>
            <a:pPr indent="0" lvl="0" marL="0" rtl="0" algn="l">
              <a:spcBef>
                <a:spcPts val="0"/>
              </a:spcBef>
              <a:spcAft>
                <a:spcPts val="0"/>
              </a:spcAft>
              <a:buNone/>
            </a:pPr>
            <a:r>
              <a:t/>
            </a:r>
            <a:endParaRPr/>
          </a:p>
        </p:txBody>
      </p:sp>
      <p:sp>
        <p:nvSpPr>
          <p:cNvPr id="307" name="Google Shape;307;g7023ddf169_0_230:notes"/>
          <p:cNvSpPr txBox="1"/>
          <p:nvPr>
            <p:ph idx="12" type="sldNum"/>
          </p:nvPr>
        </p:nvSpPr>
        <p:spPr>
          <a:xfrm>
            <a:off x="3884613" y="8685213"/>
            <a:ext cx="2971800" cy="458700"/>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313" name="Shape 313"/>
        <p:cNvGrpSpPr/>
        <p:nvPr/>
      </p:nvGrpSpPr>
      <p:grpSpPr>
        <a:xfrm>
          <a:off x="0" y="0"/>
          <a:ext cx="0" cy="0"/>
          <a:chOff x="0" y="0"/>
          <a:chExt cx="0" cy="0"/>
        </a:xfrm>
      </p:grpSpPr>
      <p:sp>
        <p:nvSpPr>
          <p:cNvPr id="314" name="Google Shape;314;g7023ddf169_0_239: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315" name="Google Shape;315;g7023ddf169_0_239:notes"/>
          <p:cNvSpPr txBox="1"/>
          <p:nvPr>
            <p:ph idx="1" type="body"/>
          </p:nvPr>
        </p:nvSpPr>
        <p:spPr>
          <a:xfrm>
            <a:off x="685800" y="4400550"/>
            <a:ext cx="5486400" cy="3600600"/>
          </a:xfrm>
          <a:prstGeom prst="rect">
            <a:avLst/>
          </a:prstGeom>
          <a:noFill/>
          <a:ln>
            <a:noFill/>
          </a:ln>
        </p:spPr>
        <p:txBody>
          <a:bodyPr anchorCtr="0" anchor="t" bIns="45700" lIns="91425" spcFirstLastPara="1" rIns="91425" wrap="square" tIns="45700">
            <a:noAutofit/>
          </a:bodyPr>
          <a:lstStyle/>
          <a:p>
            <a:pPr indent="0" lvl="0" marL="0" rtl="0" algn="l">
              <a:spcBef>
                <a:spcPts val="0"/>
              </a:spcBef>
              <a:spcAft>
                <a:spcPts val="0"/>
              </a:spcAft>
              <a:buNone/>
            </a:pPr>
            <a:r>
              <a:rPr lang="en-US"/>
              <a:t>Why minibatch kmeans?</a:t>
            </a:r>
            <a:endParaRPr/>
          </a:p>
          <a:p>
            <a:pPr indent="0" lvl="0" marL="0" rtl="0" algn="l">
              <a:spcBef>
                <a:spcPts val="0"/>
              </a:spcBef>
              <a:spcAft>
                <a:spcPts val="0"/>
              </a:spcAft>
              <a:buNone/>
            </a:pPr>
            <a:r>
              <a:rPr lang="en-US"/>
              <a:t>similar to kmeans</a:t>
            </a:r>
            <a:endParaRPr/>
          </a:p>
          <a:p>
            <a:pPr indent="0" lvl="0" marL="0" rtl="0" algn="l">
              <a:spcBef>
                <a:spcPts val="0"/>
              </a:spcBef>
              <a:spcAft>
                <a:spcPts val="0"/>
              </a:spcAft>
              <a:buNone/>
            </a:pPr>
            <a:r>
              <a:rPr lang="en-US" sz="1300">
                <a:solidFill>
                  <a:srgbClr val="505050"/>
                </a:solidFill>
                <a:highlight>
                  <a:srgbClr val="FFFFFF"/>
                </a:highlight>
                <a:latin typeface="Arial"/>
                <a:ea typeface="Arial"/>
                <a:cs typeface="Arial"/>
                <a:sym typeface="Arial"/>
              </a:rPr>
              <a:t>the most computationally costly step is conducted on only a random sample of observations as opposed to all observations. </a:t>
            </a:r>
            <a:endParaRPr/>
          </a:p>
        </p:txBody>
      </p:sp>
      <p:sp>
        <p:nvSpPr>
          <p:cNvPr id="316" name="Google Shape;316;g7023ddf169_0_239:notes"/>
          <p:cNvSpPr txBox="1"/>
          <p:nvPr>
            <p:ph idx="12" type="sldNum"/>
          </p:nvPr>
        </p:nvSpPr>
        <p:spPr>
          <a:xfrm>
            <a:off x="3884613" y="8685213"/>
            <a:ext cx="2971800" cy="458700"/>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90" name="Shape 90"/>
        <p:cNvGrpSpPr/>
        <p:nvPr/>
      </p:nvGrpSpPr>
      <p:grpSpPr>
        <a:xfrm>
          <a:off x="0" y="0"/>
          <a:ext cx="0" cy="0"/>
          <a:chOff x="0" y="0"/>
          <a:chExt cx="0" cy="0"/>
        </a:xfrm>
      </p:grpSpPr>
      <p:sp>
        <p:nvSpPr>
          <p:cNvPr id="91" name="Google Shape;91;p3: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92" name="Google Shape;92;p3:notes"/>
          <p:cNvSpPr txBox="1"/>
          <p:nvPr>
            <p:ph idx="1" type="body"/>
          </p:nvPr>
        </p:nvSpPr>
        <p:spPr>
          <a:xfrm>
            <a:off x="685800" y="4400550"/>
            <a:ext cx="5486400" cy="3600450"/>
          </a:xfrm>
          <a:prstGeom prst="rect">
            <a:avLst/>
          </a:prstGeom>
          <a:noFill/>
          <a:ln>
            <a:noFill/>
          </a:ln>
        </p:spPr>
        <p:txBody>
          <a:bodyPr anchorCtr="0" anchor="t" bIns="45700" lIns="91425" spcFirstLastPara="1" rIns="91425" wrap="square" tIns="45700">
            <a:noAutofit/>
          </a:bodyPr>
          <a:lstStyle/>
          <a:p>
            <a:pPr indent="0" lvl="0" marL="0" marR="0" rtl="0" algn="l">
              <a:lnSpc>
                <a:spcPct val="100000"/>
              </a:lnSpc>
              <a:spcBef>
                <a:spcPts val="0"/>
              </a:spcBef>
              <a:spcAft>
                <a:spcPts val="0"/>
              </a:spcAft>
              <a:buClr>
                <a:schemeClr val="dk1"/>
              </a:buClr>
              <a:buSzPts val="2000"/>
              <a:buFont typeface="Calibri"/>
              <a:buNone/>
            </a:pPr>
            <a:r>
              <a:rPr lang="en-US" sz="2000"/>
              <a:t>Anthony / Peter</a:t>
            </a:r>
            <a:endParaRPr/>
          </a:p>
        </p:txBody>
      </p:sp>
      <p:sp>
        <p:nvSpPr>
          <p:cNvPr id="93" name="Google Shape;93;p3:notes"/>
          <p:cNvSpPr txBox="1"/>
          <p:nvPr>
            <p:ph idx="12" type="sldNum"/>
          </p:nvPr>
        </p:nvSpPr>
        <p:spPr>
          <a:xfrm>
            <a:off x="3884613" y="8685213"/>
            <a:ext cx="2971800" cy="458787"/>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321" name="Shape 321"/>
        <p:cNvGrpSpPr/>
        <p:nvPr/>
      </p:nvGrpSpPr>
      <p:grpSpPr>
        <a:xfrm>
          <a:off x="0" y="0"/>
          <a:ext cx="0" cy="0"/>
          <a:chOff x="0" y="0"/>
          <a:chExt cx="0" cy="0"/>
        </a:xfrm>
      </p:grpSpPr>
      <p:sp>
        <p:nvSpPr>
          <p:cNvPr id="322" name="Google Shape;322;g7023ddf169_0_248: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323" name="Google Shape;323;g7023ddf169_0_248:notes"/>
          <p:cNvSpPr txBox="1"/>
          <p:nvPr>
            <p:ph idx="1" type="body"/>
          </p:nvPr>
        </p:nvSpPr>
        <p:spPr>
          <a:xfrm>
            <a:off x="685800" y="4400550"/>
            <a:ext cx="5486400" cy="3600600"/>
          </a:xfrm>
          <a:prstGeom prst="rect">
            <a:avLst/>
          </a:prstGeom>
          <a:noFill/>
          <a:ln>
            <a:noFill/>
          </a:ln>
        </p:spPr>
        <p:txBody>
          <a:bodyPr anchorCtr="0" anchor="t" bIns="45700" lIns="91425" spcFirstLastPara="1" rIns="91425" wrap="square" tIns="45700">
            <a:noAutofit/>
          </a:bodyPr>
          <a:lstStyle/>
          <a:p>
            <a:pPr indent="0" lvl="0" marL="0" rtl="0" algn="l">
              <a:spcBef>
                <a:spcPts val="0"/>
              </a:spcBef>
              <a:spcAft>
                <a:spcPts val="0"/>
              </a:spcAft>
              <a:buNone/>
            </a:pPr>
            <a:r>
              <a:rPr lang="en-US"/>
              <a:t>Tien</a:t>
            </a:r>
            <a:endParaRPr/>
          </a:p>
        </p:txBody>
      </p:sp>
      <p:sp>
        <p:nvSpPr>
          <p:cNvPr id="324" name="Google Shape;324;g7023ddf169_0_248:notes"/>
          <p:cNvSpPr txBox="1"/>
          <p:nvPr>
            <p:ph idx="12" type="sldNum"/>
          </p:nvPr>
        </p:nvSpPr>
        <p:spPr>
          <a:xfrm>
            <a:off x="3884613" y="8685213"/>
            <a:ext cx="2971800" cy="458700"/>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330" name="Shape 330"/>
        <p:cNvGrpSpPr/>
        <p:nvPr/>
      </p:nvGrpSpPr>
      <p:grpSpPr>
        <a:xfrm>
          <a:off x="0" y="0"/>
          <a:ext cx="0" cy="0"/>
          <a:chOff x="0" y="0"/>
          <a:chExt cx="0" cy="0"/>
        </a:xfrm>
      </p:grpSpPr>
      <p:sp>
        <p:nvSpPr>
          <p:cNvPr id="331" name="Google Shape;331;g7023ddf169_0_257: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332" name="Google Shape;332;g7023ddf169_0_257:notes"/>
          <p:cNvSpPr txBox="1"/>
          <p:nvPr>
            <p:ph idx="1" type="body"/>
          </p:nvPr>
        </p:nvSpPr>
        <p:spPr>
          <a:xfrm>
            <a:off x="685800" y="4400550"/>
            <a:ext cx="5486400" cy="3600600"/>
          </a:xfrm>
          <a:prstGeom prst="rect">
            <a:avLst/>
          </a:prstGeom>
          <a:noFill/>
          <a:ln>
            <a:noFill/>
          </a:ln>
        </p:spPr>
        <p:txBody>
          <a:bodyPr anchorCtr="0" anchor="t" bIns="45700" lIns="91425" spcFirstLastPara="1" rIns="91425" wrap="square" tIns="45700">
            <a:noAutofit/>
          </a:bodyPr>
          <a:lstStyle/>
          <a:p>
            <a:pPr indent="0" lvl="0" marL="0" rtl="0" algn="l">
              <a:spcBef>
                <a:spcPts val="0"/>
              </a:spcBef>
              <a:spcAft>
                <a:spcPts val="0"/>
              </a:spcAft>
              <a:buNone/>
            </a:pPr>
            <a:r>
              <a:rPr lang="en-US"/>
              <a:t>LDA is an algorithm that estimates:</a:t>
            </a:r>
            <a:endParaRPr/>
          </a:p>
          <a:p>
            <a:pPr indent="-317500" lvl="0" marL="457200" rtl="0" algn="l">
              <a:spcBef>
                <a:spcPts val="0"/>
              </a:spcBef>
              <a:spcAft>
                <a:spcPts val="0"/>
              </a:spcAft>
              <a:buSzPts val="1400"/>
              <a:buChar char="-"/>
            </a:pPr>
            <a:r>
              <a:rPr lang="en-US"/>
              <a:t>the probability of a mixture of words that is associated with each topic</a:t>
            </a:r>
            <a:endParaRPr/>
          </a:p>
          <a:p>
            <a:pPr indent="-317500" lvl="0" marL="457200" rtl="0" algn="l">
              <a:spcBef>
                <a:spcPts val="0"/>
              </a:spcBef>
              <a:spcAft>
                <a:spcPts val="0"/>
              </a:spcAft>
              <a:buSzPts val="1400"/>
              <a:buChar char="-"/>
            </a:pPr>
            <a:r>
              <a:rPr lang="en-US"/>
              <a:t>and a mixture of topics that describes each review</a:t>
            </a:r>
            <a:endParaRPr/>
          </a:p>
        </p:txBody>
      </p:sp>
      <p:sp>
        <p:nvSpPr>
          <p:cNvPr id="333" name="Google Shape;333;g7023ddf169_0_257:notes"/>
          <p:cNvSpPr txBox="1"/>
          <p:nvPr>
            <p:ph idx="12" type="sldNum"/>
          </p:nvPr>
        </p:nvSpPr>
        <p:spPr>
          <a:xfrm>
            <a:off x="3884613" y="8685213"/>
            <a:ext cx="2971800" cy="458700"/>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338" name="Shape 338"/>
        <p:cNvGrpSpPr/>
        <p:nvPr/>
      </p:nvGrpSpPr>
      <p:grpSpPr>
        <a:xfrm>
          <a:off x="0" y="0"/>
          <a:ext cx="0" cy="0"/>
          <a:chOff x="0" y="0"/>
          <a:chExt cx="0" cy="0"/>
        </a:xfrm>
      </p:grpSpPr>
      <p:sp>
        <p:nvSpPr>
          <p:cNvPr id="339" name="Google Shape;339;g7023ddf169_0_266: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340" name="Google Shape;340;g7023ddf169_0_266:notes"/>
          <p:cNvSpPr txBox="1"/>
          <p:nvPr>
            <p:ph idx="1" type="body"/>
          </p:nvPr>
        </p:nvSpPr>
        <p:spPr>
          <a:xfrm>
            <a:off x="685800" y="4400550"/>
            <a:ext cx="5486400" cy="3600600"/>
          </a:xfrm>
          <a:prstGeom prst="rect">
            <a:avLst/>
          </a:prstGeom>
          <a:noFill/>
          <a:ln>
            <a:noFill/>
          </a:ln>
        </p:spPr>
        <p:txBody>
          <a:bodyPr anchorCtr="0" anchor="t" bIns="45700" lIns="91425" spcFirstLastPara="1" rIns="91425" wrap="square" tIns="45700">
            <a:noAutofit/>
          </a:bodyPr>
          <a:lstStyle/>
          <a:p>
            <a:pPr indent="0" lvl="0" marL="0" rtl="0" algn="l">
              <a:spcBef>
                <a:spcPts val="0"/>
              </a:spcBef>
              <a:spcAft>
                <a:spcPts val="0"/>
              </a:spcAft>
              <a:buNone/>
            </a:pPr>
            <a:r>
              <a:t/>
            </a:r>
            <a:endParaRPr/>
          </a:p>
        </p:txBody>
      </p:sp>
      <p:sp>
        <p:nvSpPr>
          <p:cNvPr id="341" name="Google Shape;341;g7023ddf169_0_266:notes"/>
          <p:cNvSpPr txBox="1"/>
          <p:nvPr>
            <p:ph idx="12" type="sldNum"/>
          </p:nvPr>
        </p:nvSpPr>
        <p:spPr>
          <a:xfrm>
            <a:off x="3884613" y="8685213"/>
            <a:ext cx="2971800" cy="458700"/>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99" name="Shape 99"/>
        <p:cNvGrpSpPr/>
        <p:nvPr/>
      </p:nvGrpSpPr>
      <p:grpSpPr>
        <a:xfrm>
          <a:off x="0" y="0"/>
          <a:ext cx="0" cy="0"/>
          <a:chOff x="0" y="0"/>
          <a:chExt cx="0" cy="0"/>
        </a:xfrm>
      </p:grpSpPr>
      <p:sp>
        <p:nvSpPr>
          <p:cNvPr id="100" name="Google Shape;100;p4: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101" name="Google Shape;101;p4:notes"/>
          <p:cNvSpPr txBox="1"/>
          <p:nvPr>
            <p:ph idx="1" type="body"/>
          </p:nvPr>
        </p:nvSpPr>
        <p:spPr>
          <a:xfrm>
            <a:off x="685800" y="4400550"/>
            <a:ext cx="5486400" cy="3600450"/>
          </a:xfrm>
          <a:prstGeom prst="rect">
            <a:avLst/>
          </a:prstGeom>
          <a:noFill/>
          <a:ln>
            <a:noFill/>
          </a:ln>
        </p:spPr>
        <p:txBody>
          <a:bodyPr anchorCtr="0" anchor="t" bIns="45700" lIns="91425" spcFirstLastPara="1" rIns="91425" wrap="square" tIns="45700">
            <a:noAutofit/>
          </a:bodyPr>
          <a:lstStyle/>
          <a:p>
            <a:pPr indent="-285750" lvl="1" marL="742950" rtl="0" algn="l">
              <a:spcBef>
                <a:spcPts val="0"/>
              </a:spcBef>
              <a:spcAft>
                <a:spcPts val="0"/>
              </a:spcAft>
              <a:buClr>
                <a:schemeClr val="dk2"/>
              </a:buClr>
              <a:buSzPts val="1400"/>
              <a:buFont typeface="Noto Sans Symbols"/>
              <a:buChar char="▪"/>
            </a:pPr>
            <a:r>
              <a:t/>
            </a:r>
            <a:endParaRPr sz="1400">
              <a:solidFill>
                <a:schemeClr val="dk2"/>
              </a:solidFill>
            </a:endParaRPr>
          </a:p>
          <a:p>
            <a:pPr indent="-196850" lvl="1" marL="742950" rtl="0" algn="l">
              <a:spcBef>
                <a:spcPts val="0"/>
              </a:spcBef>
              <a:spcAft>
                <a:spcPts val="0"/>
              </a:spcAft>
              <a:buClr>
                <a:schemeClr val="dk1"/>
              </a:buClr>
              <a:buSzPts val="1400"/>
              <a:buFont typeface="Noto Sans Symbols"/>
              <a:buNone/>
            </a:pPr>
            <a:r>
              <a:t/>
            </a:r>
            <a:endParaRPr sz="1400">
              <a:solidFill>
                <a:schemeClr val="dk2"/>
              </a:solidFill>
            </a:endParaRPr>
          </a:p>
          <a:p>
            <a:pPr indent="0" lvl="0" marL="0" rtl="0" algn="l">
              <a:spcBef>
                <a:spcPts val="0"/>
              </a:spcBef>
              <a:spcAft>
                <a:spcPts val="0"/>
              </a:spcAft>
              <a:buNone/>
            </a:pPr>
            <a:r>
              <a:t/>
            </a:r>
            <a:endParaRPr/>
          </a:p>
        </p:txBody>
      </p:sp>
      <p:sp>
        <p:nvSpPr>
          <p:cNvPr id="102" name="Google Shape;102;p4:notes"/>
          <p:cNvSpPr txBox="1"/>
          <p:nvPr>
            <p:ph idx="12" type="sldNum"/>
          </p:nvPr>
        </p:nvSpPr>
        <p:spPr>
          <a:xfrm>
            <a:off x="3884613" y="8685213"/>
            <a:ext cx="2971800" cy="458787"/>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123" name="Shape 123"/>
        <p:cNvGrpSpPr/>
        <p:nvPr/>
      </p:nvGrpSpPr>
      <p:grpSpPr>
        <a:xfrm>
          <a:off x="0" y="0"/>
          <a:ext cx="0" cy="0"/>
          <a:chOff x="0" y="0"/>
          <a:chExt cx="0" cy="0"/>
        </a:xfrm>
      </p:grpSpPr>
      <p:sp>
        <p:nvSpPr>
          <p:cNvPr id="124" name="Google Shape;124;p21:notes"/>
          <p:cNvSpPr txBox="1"/>
          <p:nvPr>
            <p:ph idx="1" type="body"/>
          </p:nvPr>
        </p:nvSpPr>
        <p:spPr>
          <a:xfrm>
            <a:off x="685800" y="4400550"/>
            <a:ext cx="5486400" cy="3600450"/>
          </a:xfrm>
          <a:prstGeom prst="rect">
            <a:avLst/>
          </a:prstGeom>
        </p:spPr>
        <p:txBody>
          <a:bodyPr anchorCtr="0" anchor="t" bIns="45700" lIns="91425" spcFirstLastPara="1" rIns="91425" wrap="square" tIns="45700">
            <a:noAutofit/>
          </a:bodyPr>
          <a:lstStyle/>
          <a:p>
            <a:pPr indent="0" lvl="0" marL="0" rtl="0" algn="l">
              <a:spcBef>
                <a:spcPts val="0"/>
              </a:spcBef>
              <a:spcAft>
                <a:spcPts val="0"/>
              </a:spcAft>
              <a:buNone/>
            </a:pPr>
            <a:r>
              <a:rPr lang="en-US"/>
              <a:t>⅓ are from north america, ⅓ are from Europe, ⅓ are from Asia</a:t>
            </a:r>
            <a:endParaRPr/>
          </a:p>
        </p:txBody>
      </p:sp>
      <p:sp>
        <p:nvSpPr>
          <p:cNvPr id="125" name="Google Shape;125;p21: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139" name="Shape 139"/>
        <p:cNvGrpSpPr/>
        <p:nvPr/>
      </p:nvGrpSpPr>
      <p:grpSpPr>
        <a:xfrm>
          <a:off x="0" y="0"/>
          <a:ext cx="0" cy="0"/>
          <a:chOff x="0" y="0"/>
          <a:chExt cx="0" cy="0"/>
        </a:xfrm>
      </p:grpSpPr>
      <p:sp>
        <p:nvSpPr>
          <p:cNvPr id="140" name="Google Shape;140;g7023ddf169_0_13: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141" name="Google Shape;141;g7023ddf169_0_13:notes"/>
          <p:cNvSpPr txBox="1"/>
          <p:nvPr>
            <p:ph idx="1" type="body"/>
          </p:nvPr>
        </p:nvSpPr>
        <p:spPr>
          <a:xfrm>
            <a:off x="685800" y="4400550"/>
            <a:ext cx="5486400" cy="3600600"/>
          </a:xfrm>
          <a:prstGeom prst="rect">
            <a:avLst/>
          </a:prstGeom>
          <a:noFill/>
          <a:ln>
            <a:noFill/>
          </a:ln>
        </p:spPr>
        <p:txBody>
          <a:bodyPr anchorCtr="0" anchor="t" bIns="45700" lIns="91425" spcFirstLastPara="1" rIns="91425" wrap="square" tIns="45700">
            <a:noAutofit/>
          </a:bodyPr>
          <a:lstStyle/>
          <a:p>
            <a:pPr indent="0" lvl="0" marL="0" rtl="0" algn="l">
              <a:spcBef>
                <a:spcPts val="0"/>
              </a:spcBef>
              <a:spcAft>
                <a:spcPts val="0"/>
              </a:spcAft>
              <a:buNone/>
            </a:pPr>
            <a:r>
              <a:rPr lang="en-US"/>
              <a:t>Tien / Peter</a:t>
            </a:r>
            <a:endParaRPr/>
          </a:p>
        </p:txBody>
      </p:sp>
      <p:sp>
        <p:nvSpPr>
          <p:cNvPr id="142" name="Google Shape;142;g7023ddf169_0_13:notes"/>
          <p:cNvSpPr txBox="1"/>
          <p:nvPr>
            <p:ph idx="12" type="sldNum"/>
          </p:nvPr>
        </p:nvSpPr>
        <p:spPr>
          <a:xfrm>
            <a:off x="3884613" y="8685213"/>
            <a:ext cx="2971800" cy="458700"/>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149" name="Shape 149"/>
        <p:cNvGrpSpPr/>
        <p:nvPr/>
      </p:nvGrpSpPr>
      <p:grpSpPr>
        <a:xfrm>
          <a:off x="0" y="0"/>
          <a:ext cx="0" cy="0"/>
          <a:chOff x="0" y="0"/>
          <a:chExt cx="0" cy="0"/>
        </a:xfrm>
      </p:grpSpPr>
      <p:sp>
        <p:nvSpPr>
          <p:cNvPr id="150" name="Google Shape;150;p7: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151" name="Google Shape;151;p7:notes"/>
          <p:cNvSpPr txBox="1"/>
          <p:nvPr>
            <p:ph idx="1" type="body"/>
          </p:nvPr>
        </p:nvSpPr>
        <p:spPr>
          <a:xfrm>
            <a:off x="685800" y="4400550"/>
            <a:ext cx="5486400" cy="3600450"/>
          </a:xfrm>
          <a:prstGeom prst="rect">
            <a:avLst/>
          </a:prstGeom>
          <a:noFill/>
          <a:ln>
            <a:noFill/>
          </a:ln>
        </p:spPr>
        <p:txBody>
          <a:bodyPr anchorCtr="0" anchor="t" bIns="45700" lIns="91425" spcFirstLastPara="1" rIns="91425" wrap="square" tIns="45700">
            <a:noAutofit/>
          </a:bodyPr>
          <a:lstStyle/>
          <a:p>
            <a:pPr indent="0" lvl="0" marL="0" rtl="0" algn="l">
              <a:spcBef>
                <a:spcPts val="0"/>
              </a:spcBef>
              <a:spcAft>
                <a:spcPts val="0"/>
              </a:spcAft>
              <a:buNone/>
            </a:pPr>
            <a:r>
              <a:rPr lang="en-US"/>
              <a:t>Tien / Peter</a:t>
            </a:r>
            <a:endParaRPr/>
          </a:p>
        </p:txBody>
      </p:sp>
      <p:sp>
        <p:nvSpPr>
          <p:cNvPr id="152" name="Google Shape;152;p7:notes"/>
          <p:cNvSpPr txBox="1"/>
          <p:nvPr>
            <p:ph idx="12" type="sldNum"/>
          </p:nvPr>
        </p:nvSpPr>
        <p:spPr>
          <a:xfrm>
            <a:off x="3884613" y="8685213"/>
            <a:ext cx="2971800" cy="458787"/>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160" name="Shape 160"/>
        <p:cNvGrpSpPr/>
        <p:nvPr/>
      </p:nvGrpSpPr>
      <p:grpSpPr>
        <a:xfrm>
          <a:off x="0" y="0"/>
          <a:ext cx="0" cy="0"/>
          <a:chOff x="0" y="0"/>
          <a:chExt cx="0" cy="0"/>
        </a:xfrm>
      </p:grpSpPr>
      <p:sp>
        <p:nvSpPr>
          <p:cNvPr id="161" name="Google Shape;161;g7023ddf169_0_23: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162" name="Google Shape;162;g7023ddf169_0_23:notes"/>
          <p:cNvSpPr txBox="1"/>
          <p:nvPr>
            <p:ph idx="1" type="body"/>
          </p:nvPr>
        </p:nvSpPr>
        <p:spPr>
          <a:xfrm>
            <a:off x="685800" y="4400550"/>
            <a:ext cx="5486400" cy="3600600"/>
          </a:xfrm>
          <a:prstGeom prst="rect">
            <a:avLst/>
          </a:prstGeom>
          <a:noFill/>
          <a:ln>
            <a:noFill/>
          </a:ln>
        </p:spPr>
        <p:txBody>
          <a:bodyPr anchorCtr="0" anchor="t" bIns="45700" lIns="91425" spcFirstLastPara="1" rIns="91425" wrap="square" tIns="45700">
            <a:noAutofit/>
          </a:bodyPr>
          <a:lstStyle/>
          <a:p>
            <a:pPr indent="0" lvl="0" marL="0" rtl="0" algn="l">
              <a:spcBef>
                <a:spcPts val="0"/>
              </a:spcBef>
              <a:spcAft>
                <a:spcPts val="0"/>
              </a:spcAft>
              <a:buNone/>
            </a:pPr>
            <a:r>
              <a:rPr lang="en-US"/>
              <a:t>Tien / Peter</a:t>
            </a:r>
            <a:endParaRPr/>
          </a:p>
        </p:txBody>
      </p:sp>
      <p:sp>
        <p:nvSpPr>
          <p:cNvPr id="163" name="Google Shape;163;g7023ddf169_0_23:notes"/>
          <p:cNvSpPr txBox="1"/>
          <p:nvPr>
            <p:ph idx="12" type="sldNum"/>
          </p:nvPr>
        </p:nvSpPr>
        <p:spPr>
          <a:xfrm>
            <a:off x="3884613" y="8685213"/>
            <a:ext cx="2971800" cy="458700"/>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170" name="Shape 170"/>
        <p:cNvGrpSpPr/>
        <p:nvPr/>
      </p:nvGrpSpPr>
      <p:grpSpPr>
        <a:xfrm>
          <a:off x="0" y="0"/>
          <a:ext cx="0" cy="0"/>
          <a:chOff x="0" y="0"/>
          <a:chExt cx="0" cy="0"/>
        </a:xfrm>
      </p:grpSpPr>
      <p:sp>
        <p:nvSpPr>
          <p:cNvPr id="171" name="Google Shape;171;p9: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172" name="Google Shape;172;p9:notes"/>
          <p:cNvSpPr txBox="1"/>
          <p:nvPr>
            <p:ph idx="1" type="body"/>
          </p:nvPr>
        </p:nvSpPr>
        <p:spPr>
          <a:xfrm>
            <a:off x="685800" y="4400550"/>
            <a:ext cx="5486400" cy="3600450"/>
          </a:xfrm>
          <a:prstGeom prst="rect">
            <a:avLst/>
          </a:prstGeom>
          <a:noFill/>
          <a:ln>
            <a:noFill/>
          </a:ln>
        </p:spPr>
        <p:txBody>
          <a:bodyPr anchorCtr="0" anchor="t" bIns="45700" lIns="91425" spcFirstLastPara="1" rIns="91425" wrap="square" tIns="45700">
            <a:noAutofit/>
          </a:bodyPr>
          <a:lstStyle/>
          <a:p>
            <a:pPr indent="0" lvl="0" marL="0" rtl="0" algn="l">
              <a:spcBef>
                <a:spcPts val="0"/>
              </a:spcBef>
              <a:spcAft>
                <a:spcPts val="0"/>
              </a:spcAft>
              <a:buNone/>
            </a:pPr>
            <a:r>
              <a:rPr lang="en-US"/>
              <a:t>6.25% continued </a:t>
            </a:r>
            <a:r>
              <a:rPr lang="en-US"/>
              <a:t>subscribers</a:t>
            </a:r>
            <a:r>
              <a:rPr lang="en-US"/>
              <a:t> have played Battlefield 4</a:t>
            </a:r>
            <a:endParaRPr/>
          </a:p>
          <a:p>
            <a:pPr indent="0" lvl="0" marL="0" rtl="0" algn="l">
              <a:spcBef>
                <a:spcPts val="0"/>
              </a:spcBef>
              <a:spcAft>
                <a:spcPts val="0"/>
              </a:spcAft>
              <a:buNone/>
            </a:pPr>
            <a:r>
              <a:rPr lang="en-US"/>
              <a:t>0.89% users stop </a:t>
            </a:r>
            <a:r>
              <a:rPr lang="en-US"/>
              <a:t>subscription</a:t>
            </a:r>
            <a:r>
              <a:rPr lang="en-US"/>
              <a:t> after free </a:t>
            </a:r>
            <a:r>
              <a:rPr lang="en-US"/>
              <a:t>trial </a:t>
            </a:r>
            <a:r>
              <a:rPr lang="en-US"/>
              <a:t> </a:t>
            </a:r>
            <a:r>
              <a:rPr lang="en-US"/>
              <a:t>have played Battlefield 4</a:t>
            </a:r>
            <a:endParaRPr/>
          </a:p>
          <a:p>
            <a:pPr indent="0" lvl="0" marL="0" rtl="0" algn="l">
              <a:spcBef>
                <a:spcPts val="0"/>
              </a:spcBef>
              <a:spcAft>
                <a:spcPts val="0"/>
              </a:spcAft>
              <a:buNone/>
            </a:pPr>
            <a:r>
              <a:t/>
            </a:r>
            <a:endParaRPr/>
          </a:p>
        </p:txBody>
      </p:sp>
      <p:sp>
        <p:nvSpPr>
          <p:cNvPr id="173" name="Google Shape;173;p9:notes"/>
          <p:cNvSpPr txBox="1"/>
          <p:nvPr>
            <p:ph idx="12" type="sldNum"/>
          </p:nvPr>
        </p:nvSpPr>
        <p:spPr>
          <a:xfrm>
            <a:off x="3884613" y="8685213"/>
            <a:ext cx="2971800" cy="458787"/>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MasterPhAnim="0" showMasterSp="0">
  <p:cSld>
    <p:spTree>
      <p:nvGrpSpPr>
        <p:cNvPr id="181" name="Shape 181"/>
        <p:cNvGrpSpPr/>
        <p:nvPr/>
      </p:nvGrpSpPr>
      <p:grpSpPr>
        <a:xfrm>
          <a:off x="0" y="0"/>
          <a:ext cx="0" cy="0"/>
          <a:chOff x="0" y="0"/>
          <a:chExt cx="0" cy="0"/>
        </a:xfrm>
      </p:grpSpPr>
      <p:sp>
        <p:nvSpPr>
          <p:cNvPr id="182" name="Google Shape;182;g7023ddf169_0_41:notes"/>
          <p:cNvSpPr/>
          <p:nvPr>
            <p:ph idx="2" type="sldImg"/>
          </p:nvPr>
        </p:nvSpPr>
        <p:spPr>
          <a:xfrm>
            <a:off x="685800" y="1143000"/>
            <a:ext cx="5486400" cy="3086100"/>
          </a:xfrm>
          <a:custGeom>
            <a:rect b="b" l="l" r="r" t="t"/>
            <a:pathLst>
              <a:path extrusionOk="0" h="120000" w="120000">
                <a:moveTo>
                  <a:pt x="0" y="0"/>
                </a:moveTo>
                <a:lnTo>
                  <a:pt x="120000" y="0"/>
                </a:lnTo>
                <a:lnTo>
                  <a:pt x="120000" y="120000"/>
                </a:lnTo>
                <a:lnTo>
                  <a:pt x="0" y="120000"/>
                </a:lnTo>
                <a:close/>
              </a:path>
            </a:pathLst>
          </a:custGeom>
          <a:noFill/>
          <a:ln cap="flat" cmpd="sng" w="12700">
            <a:solidFill>
              <a:srgbClr val="000000"/>
            </a:solidFill>
            <a:prstDash val="solid"/>
            <a:round/>
            <a:headEnd len="sm" w="sm" type="none"/>
            <a:tailEnd len="sm" w="sm" type="none"/>
          </a:ln>
        </p:spPr>
      </p:sp>
      <p:sp>
        <p:nvSpPr>
          <p:cNvPr id="183" name="Google Shape;183;g7023ddf169_0_41:notes"/>
          <p:cNvSpPr txBox="1"/>
          <p:nvPr>
            <p:ph idx="1" type="body"/>
          </p:nvPr>
        </p:nvSpPr>
        <p:spPr>
          <a:xfrm>
            <a:off x="685800" y="4400550"/>
            <a:ext cx="5486400" cy="3600600"/>
          </a:xfrm>
          <a:prstGeom prst="rect">
            <a:avLst/>
          </a:prstGeom>
          <a:noFill/>
          <a:ln>
            <a:noFill/>
          </a:ln>
        </p:spPr>
        <p:txBody>
          <a:bodyPr anchorCtr="0" anchor="t" bIns="45700" lIns="91425" spcFirstLastPara="1" rIns="91425" wrap="square" tIns="45700">
            <a:noAutofit/>
          </a:bodyPr>
          <a:lstStyle/>
          <a:p>
            <a:pPr indent="0" lvl="0" marL="0" rtl="0" algn="l">
              <a:spcBef>
                <a:spcPts val="0"/>
              </a:spcBef>
              <a:spcAft>
                <a:spcPts val="0"/>
              </a:spcAft>
              <a:buNone/>
            </a:pPr>
            <a:r>
              <a:rPr lang="en-US" sz="1100">
                <a:solidFill>
                  <a:srgbClr val="000000"/>
                </a:solidFill>
                <a:latin typeface="Arial"/>
                <a:ea typeface="Arial"/>
                <a:cs typeface="Arial"/>
                <a:sym typeface="Arial"/>
              </a:rPr>
              <a:t>Mian</a:t>
            </a:r>
            <a:endParaRPr sz="1100">
              <a:solidFill>
                <a:srgbClr val="000000"/>
              </a:solidFill>
              <a:latin typeface="Arial"/>
              <a:ea typeface="Arial"/>
              <a:cs typeface="Arial"/>
              <a:sym typeface="Arial"/>
            </a:endParaRPr>
          </a:p>
          <a:p>
            <a:pPr indent="0" lvl="0" marL="0" rtl="0" algn="l">
              <a:spcBef>
                <a:spcPts val="0"/>
              </a:spcBef>
              <a:spcAft>
                <a:spcPts val="0"/>
              </a:spcAft>
              <a:buNone/>
            </a:pPr>
            <a:r>
              <a:rPr lang="en-US" sz="1100">
                <a:solidFill>
                  <a:srgbClr val="000000"/>
                </a:solidFill>
                <a:latin typeface="Arial"/>
                <a:ea typeface="Arial"/>
                <a:cs typeface="Arial"/>
                <a:sym typeface="Arial"/>
              </a:rPr>
              <a:t>Here I plot the game duration distribution versus game, x-axis represent the index of all games, and y-axis represent the hours users have spent on playing those games, from which we can have a glimpse of the popularity of the games. </a:t>
            </a:r>
            <a:endParaRPr sz="1100">
              <a:solidFill>
                <a:srgbClr val="000000"/>
              </a:solidFill>
              <a:latin typeface="Arial"/>
              <a:ea typeface="Arial"/>
              <a:cs typeface="Arial"/>
              <a:sym typeface="Arial"/>
            </a:endParaRPr>
          </a:p>
          <a:p>
            <a:pPr indent="0" lvl="0" marL="0" rtl="0" algn="l">
              <a:spcBef>
                <a:spcPts val="0"/>
              </a:spcBef>
              <a:spcAft>
                <a:spcPts val="0"/>
              </a:spcAft>
              <a:buNone/>
            </a:pPr>
            <a:r>
              <a:rPr lang="en-US" sz="1100">
                <a:solidFill>
                  <a:srgbClr val="000000"/>
                </a:solidFill>
                <a:latin typeface="Arial"/>
                <a:ea typeface="Arial"/>
                <a:cs typeface="Arial"/>
                <a:sym typeface="Arial"/>
              </a:rPr>
              <a:t>E.g., the top popular games based on</a:t>
            </a:r>
            <a:r>
              <a:rPr lang="en-US" sz="1100">
                <a:solidFill>
                  <a:srgbClr val="000000"/>
                </a:solidFill>
                <a:latin typeface="Arial"/>
                <a:ea typeface="Arial"/>
                <a:cs typeface="Arial"/>
                <a:sym typeface="Arial"/>
              </a:rPr>
              <a:t> game duration hours </a:t>
            </a:r>
            <a:r>
              <a:rPr lang="en-US" sz="1100">
                <a:solidFill>
                  <a:srgbClr val="000000"/>
                </a:solidFill>
                <a:latin typeface="Arial"/>
                <a:ea typeface="Arial"/>
                <a:cs typeface="Arial"/>
                <a:sym typeface="Arial"/>
              </a:rPr>
              <a:t>are FIFA 18, PILLARS OF ETERNITY II DEADFIRE, FIFA 14, FIFA MANAGER 14, SIMS 4, etc.</a:t>
            </a:r>
            <a:endParaRPr/>
          </a:p>
        </p:txBody>
      </p:sp>
      <p:sp>
        <p:nvSpPr>
          <p:cNvPr id="184" name="Google Shape;184;g7023ddf169_0_41:notes"/>
          <p:cNvSpPr txBox="1"/>
          <p:nvPr>
            <p:ph idx="12" type="sldNum"/>
          </p:nvPr>
        </p:nvSpPr>
        <p:spPr>
          <a:xfrm>
            <a:off x="3884613" y="8685213"/>
            <a:ext cx="2971800" cy="458700"/>
          </a:xfrm>
          <a:prstGeom prst="rect">
            <a:avLst/>
          </a:prstGeom>
          <a:noFill/>
          <a:ln>
            <a:noFill/>
          </a:ln>
        </p:spPr>
        <p:txBody>
          <a:bodyPr anchorCtr="0" anchor="b"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matchingName="Title Slide" showMasterSp="0">
  <p:cSld name="Title Slide">
    <p:bg>
      <p:bgPr>
        <a:solidFill>
          <a:schemeClr val="accent1"/>
        </a:solidFill>
      </p:bgPr>
    </p:bg>
    <p:spTree>
      <p:nvGrpSpPr>
        <p:cNvPr id="17" name="Shape 17"/>
        <p:cNvGrpSpPr/>
        <p:nvPr/>
      </p:nvGrpSpPr>
      <p:grpSpPr>
        <a:xfrm>
          <a:off x="0" y="0"/>
          <a:ext cx="0" cy="0"/>
          <a:chOff x="0" y="0"/>
          <a:chExt cx="0" cy="0"/>
        </a:xfrm>
      </p:grpSpPr>
      <p:sp>
        <p:nvSpPr>
          <p:cNvPr id="18" name="Google Shape;18;p27"/>
          <p:cNvSpPr txBox="1"/>
          <p:nvPr>
            <p:ph type="ctrTitle"/>
          </p:nvPr>
        </p:nvSpPr>
        <p:spPr>
          <a:xfrm>
            <a:off x="575672" y="3896000"/>
            <a:ext cx="9144000" cy="646331"/>
          </a:xfrm>
          <a:prstGeom prst="rect">
            <a:avLst/>
          </a:prstGeom>
          <a:noFill/>
          <a:ln>
            <a:noFill/>
          </a:ln>
        </p:spPr>
        <p:txBody>
          <a:bodyPr anchorCtr="0" anchor="b" bIns="45700" lIns="0" spcFirstLastPara="1" rIns="0" wrap="square" tIns="45700">
            <a:spAutoFit/>
          </a:bodyPr>
          <a:lstStyle>
            <a:lvl1pPr lvl="0" algn="l">
              <a:lnSpc>
                <a:spcPct val="90000"/>
              </a:lnSpc>
              <a:spcBef>
                <a:spcPts val="0"/>
              </a:spcBef>
              <a:spcAft>
                <a:spcPts val="0"/>
              </a:spcAft>
              <a:buClr>
                <a:schemeClr val="lt1"/>
              </a:buClr>
              <a:buSzPts val="4000"/>
              <a:buFont typeface="Arial"/>
              <a:buNone/>
              <a:defRPr sz="4000">
                <a:solidFill>
                  <a:schemeClr val="lt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p:txBody>
      </p:sp>
      <p:sp>
        <p:nvSpPr>
          <p:cNvPr id="19" name="Google Shape;19;p27"/>
          <p:cNvSpPr txBox="1"/>
          <p:nvPr>
            <p:ph idx="1" type="subTitle"/>
          </p:nvPr>
        </p:nvSpPr>
        <p:spPr>
          <a:xfrm>
            <a:off x="575672" y="4550000"/>
            <a:ext cx="9144000" cy="544444"/>
          </a:xfrm>
          <a:prstGeom prst="rect">
            <a:avLst/>
          </a:prstGeom>
          <a:noFill/>
          <a:ln>
            <a:noFill/>
          </a:ln>
        </p:spPr>
        <p:txBody>
          <a:bodyPr anchorCtr="0" anchor="t" bIns="45700" lIns="0" spcFirstLastPara="1" rIns="0" wrap="square" tIns="45700">
            <a:spAutoFit/>
          </a:bodyPr>
          <a:lstStyle>
            <a:lvl1pPr lvl="0" algn="l">
              <a:lnSpc>
                <a:spcPct val="113000"/>
              </a:lnSpc>
              <a:spcBef>
                <a:spcPts val="800"/>
              </a:spcBef>
              <a:spcAft>
                <a:spcPts val="0"/>
              </a:spcAft>
              <a:buClr>
                <a:schemeClr val="lt1"/>
              </a:buClr>
              <a:buSzPts val="2600"/>
              <a:buNone/>
              <a:defRPr sz="2600">
                <a:solidFill>
                  <a:schemeClr val="lt1"/>
                </a:solidFill>
                <a:latin typeface="Arial"/>
                <a:ea typeface="Arial"/>
                <a:cs typeface="Arial"/>
                <a:sym typeface="Arial"/>
              </a:defRPr>
            </a:lvl1pPr>
            <a:lvl2pPr lvl="1" algn="ctr">
              <a:lnSpc>
                <a:spcPct val="113000"/>
              </a:lnSpc>
              <a:spcBef>
                <a:spcPts val="800"/>
              </a:spcBef>
              <a:spcAft>
                <a:spcPts val="0"/>
              </a:spcAft>
              <a:buClr>
                <a:schemeClr val="dk2"/>
              </a:buClr>
              <a:buSzPts val="2000"/>
              <a:buNone/>
              <a:defRPr sz="2000"/>
            </a:lvl2pPr>
            <a:lvl3pPr lvl="2" algn="ctr">
              <a:lnSpc>
                <a:spcPct val="113000"/>
              </a:lnSpc>
              <a:spcBef>
                <a:spcPts val="800"/>
              </a:spcBef>
              <a:spcAft>
                <a:spcPts val="0"/>
              </a:spcAft>
              <a:buClr>
                <a:schemeClr val="dk2"/>
              </a:buClr>
              <a:buSzPts val="1800"/>
              <a:buNone/>
              <a:defRPr sz="1800"/>
            </a:lvl3pPr>
            <a:lvl4pPr lvl="3" algn="ctr">
              <a:lnSpc>
                <a:spcPct val="113000"/>
              </a:lnSpc>
              <a:spcBef>
                <a:spcPts val="800"/>
              </a:spcBef>
              <a:spcAft>
                <a:spcPts val="0"/>
              </a:spcAft>
              <a:buClr>
                <a:schemeClr val="dk2"/>
              </a:buClr>
              <a:buSzPts val="1600"/>
              <a:buNone/>
              <a:defRPr sz="1600"/>
            </a:lvl4pPr>
            <a:lvl5pPr lvl="4" algn="ctr">
              <a:lnSpc>
                <a:spcPct val="113000"/>
              </a:lnSpc>
              <a:spcBef>
                <a:spcPts val="8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p:txBody>
      </p:sp>
      <p:sp>
        <p:nvSpPr>
          <p:cNvPr id="20" name="Google Shape;20;p27"/>
          <p:cNvSpPr/>
          <p:nvPr/>
        </p:nvSpPr>
        <p:spPr>
          <a:xfrm flipH="1" rot="-5400000">
            <a:off x="5669239" y="334235"/>
            <a:ext cx="3262179" cy="9783338"/>
          </a:xfrm>
          <a:custGeom>
            <a:rect b="b" l="l" r="r" t="t"/>
            <a:pathLst>
              <a:path extrusionOk="0" h="7337504" w="2446634">
                <a:moveTo>
                  <a:pt x="2446634" y="7304054"/>
                </a:moveTo>
                <a:cubicBezTo>
                  <a:pt x="2446633" y="4869369"/>
                  <a:pt x="2446632" y="2434685"/>
                  <a:pt x="2446631" y="0"/>
                </a:cubicBezTo>
                <a:lnTo>
                  <a:pt x="2142302" y="903249"/>
                </a:lnTo>
                <a:lnTo>
                  <a:pt x="0" y="7337504"/>
                </a:lnTo>
                <a:lnTo>
                  <a:pt x="2446634" y="7304054"/>
                </a:lnTo>
                <a:close/>
              </a:path>
            </a:pathLst>
          </a:custGeom>
          <a:solidFill>
            <a:srgbClr val="000000">
              <a:alpha val="9803"/>
            </a:srgbClr>
          </a:solidFill>
          <a:ln>
            <a:noFill/>
          </a:ln>
        </p:spPr>
        <p:txBody>
          <a:bodyPr anchorCtr="0" anchor="ctr" bIns="45700" lIns="91425" spcFirstLastPara="1" rIns="91425" wrap="square" tIns="45700">
            <a:noAutofit/>
          </a:bodyPr>
          <a:lstStyle/>
          <a:p>
            <a:pPr indent="0" lvl="0" marL="0" marR="0" rtl="0" algn="ctr">
              <a:spcBef>
                <a:spcPts val="0"/>
              </a:spcBef>
              <a:spcAft>
                <a:spcPts val="0"/>
              </a:spcAft>
              <a:buNone/>
            </a:pPr>
            <a:r>
              <a:t/>
            </a:r>
            <a:endParaRPr b="0" i="0" sz="1800" u="none" cap="none" strike="noStrike">
              <a:solidFill>
                <a:schemeClr val="lt1"/>
              </a:solidFill>
              <a:latin typeface="Arial"/>
              <a:ea typeface="Arial"/>
              <a:cs typeface="Arial"/>
              <a:sym typeface="Arial"/>
            </a:endParaRPr>
          </a:p>
        </p:txBody>
      </p:sp>
      <p:sp>
        <p:nvSpPr>
          <p:cNvPr id="21" name="Google Shape;21;p27"/>
          <p:cNvSpPr txBox="1"/>
          <p:nvPr>
            <p:ph idx="2" type="body"/>
          </p:nvPr>
        </p:nvSpPr>
        <p:spPr>
          <a:xfrm>
            <a:off x="575672" y="5337129"/>
            <a:ext cx="9144000" cy="509691"/>
          </a:xfrm>
          <a:prstGeom prst="rect">
            <a:avLst/>
          </a:prstGeom>
          <a:noFill/>
          <a:ln>
            <a:noFill/>
          </a:ln>
        </p:spPr>
        <p:txBody>
          <a:bodyPr anchorCtr="0" anchor="t" bIns="45700" lIns="0" spcFirstLastPara="1" rIns="0" wrap="square" tIns="45700">
            <a:spAutoFit/>
          </a:bodyPr>
          <a:lstStyle>
            <a:lvl1pPr indent="-228600" lvl="0" marL="457200" algn="l">
              <a:lnSpc>
                <a:spcPct val="113000"/>
              </a:lnSpc>
              <a:spcBef>
                <a:spcPts val="800"/>
              </a:spcBef>
              <a:spcAft>
                <a:spcPts val="0"/>
              </a:spcAft>
              <a:buClr>
                <a:schemeClr val="accent4"/>
              </a:buClr>
              <a:buSzPts val="2200"/>
              <a:buNone/>
              <a:defRPr>
                <a:solidFill>
                  <a:schemeClr val="accent4"/>
                </a:solidFill>
                <a:latin typeface="Garamond"/>
                <a:ea typeface="Garamond"/>
                <a:cs typeface="Garamond"/>
                <a:sym typeface="Garamond"/>
              </a:defRPr>
            </a:lvl1pPr>
            <a:lvl2pPr indent="-228600" lvl="1" marL="914400" algn="l">
              <a:lnSpc>
                <a:spcPct val="113000"/>
              </a:lnSpc>
              <a:spcBef>
                <a:spcPts val="800"/>
              </a:spcBef>
              <a:spcAft>
                <a:spcPts val="0"/>
              </a:spcAft>
              <a:buClr>
                <a:schemeClr val="accent4"/>
              </a:buClr>
              <a:buSzPts val="1600"/>
              <a:buNone/>
              <a:defRPr>
                <a:solidFill>
                  <a:schemeClr val="accent4"/>
                </a:solidFill>
                <a:latin typeface="Garamond"/>
                <a:ea typeface="Garamond"/>
                <a:cs typeface="Garamond"/>
                <a:sym typeface="Garamond"/>
              </a:defRPr>
            </a:lvl2pPr>
            <a:lvl3pPr indent="-228600" lvl="2" marL="1371600" algn="l">
              <a:lnSpc>
                <a:spcPct val="113000"/>
              </a:lnSpc>
              <a:spcBef>
                <a:spcPts val="800"/>
              </a:spcBef>
              <a:spcAft>
                <a:spcPts val="0"/>
              </a:spcAft>
              <a:buClr>
                <a:schemeClr val="accent4"/>
              </a:buClr>
              <a:buSzPts val="1600"/>
              <a:buNone/>
              <a:defRPr>
                <a:solidFill>
                  <a:schemeClr val="accent4"/>
                </a:solidFill>
                <a:latin typeface="Garamond"/>
                <a:ea typeface="Garamond"/>
                <a:cs typeface="Garamond"/>
                <a:sym typeface="Garamond"/>
              </a:defRPr>
            </a:lvl3pPr>
            <a:lvl4pPr indent="-228600" lvl="3" marL="1828800" algn="l">
              <a:lnSpc>
                <a:spcPct val="113000"/>
              </a:lnSpc>
              <a:spcBef>
                <a:spcPts val="800"/>
              </a:spcBef>
              <a:spcAft>
                <a:spcPts val="0"/>
              </a:spcAft>
              <a:buClr>
                <a:schemeClr val="accent4"/>
              </a:buClr>
              <a:buSzPts val="1600"/>
              <a:buNone/>
              <a:defRPr>
                <a:solidFill>
                  <a:schemeClr val="accent4"/>
                </a:solidFill>
                <a:latin typeface="Garamond"/>
                <a:ea typeface="Garamond"/>
                <a:cs typeface="Garamond"/>
                <a:sym typeface="Garamond"/>
              </a:defRPr>
            </a:lvl4pPr>
            <a:lvl5pPr indent="-228600" lvl="4" marL="2286000" algn="l">
              <a:lnSpc>
                <a:spcPct val="113000"/>
              </a:lnSpc>
              <a:spcBef>
                <a:spcPts val="800"/>
              </a:spcBef>
              <a:spcAft>
                <a:spcPts val="0"/>
              </a:spcAft>
              <a:buClr>
                <a:schemeClr val="accent4"/>
              </a:buClr>
              <a:buSzPts val="1600"/>
              <a:buNone/>
              <a:defRPr>
                <a:solidFill>
                  <a:schemeClr val="accent4"/>
                </a:solidFill>
                <a:latin typeface="Garamond"/>
                <a:ea typeface="Garamond"/>
                <a:cs typeface="Garamond"/>
                <a:sym typeface="Garamond"/>
              </a:defRPr>
            </a:lvl5pPr>
            <a:lvl6pPr indent="-342900" lvl="5" marL="2743200" algn="l">
              <a:lnSpc>
                <a:spcPct val="90000"/>
              </a:lnSpc>
              <a:spcBef>
                <a:spcPts val="500"/>
              </a:spcBef>
              <a:spcAft>
                <a:spcPts val="0"/>
              </a:spcAft>
              <a:buClr>
                <a:schemeClr val="dk1"/>
              </a:buClr>
              <a:buSzPts val="1800"/>
              <a:buChar char="•"/>
              <a:defRPr/>
            </a:lvl6pPr>
            <a:lvl7pPr indent="-342900" lvl="6" marL="3200400" algn="l">
              <a:lnSpc>
                <a:spcPct val="90000"/>
              </a:lnSpc>
              <a:spcBef>
                <a:spcPts val="500"/>
              </a:spcBef>
              <a:spcAft>
                <a:spcPts val="0"/>
              </a:spcAft>
              <a:buClr>
                <a:schemeClr val="dk1"/>
              </a:buClr>
              <a:buSzPts val="1800"/>
              <a:buChar char="•"/>
              <a:defRPr/>
            </a:lvl7pPr>
            <a:lvl8pPr indent="-342900" lvl="7" marL="3657600" algn="l">
              <a:lnSpc>
                <a:spcPct val="90000"/>
              </a:lnSpc>
              <a:spcBef>
                <a:spcPts val="500"/>
              </a:spcBef>
              <a:spcAft>
                <a:spcPts val="0"/>
              </a:spcAft>
              <a:buClr>
                <a:schemeClr val="dk1"/>
              </a:buClr>
              <a:buSzPts val="1800"/>
              <a:buChar char="•"/>
              <a:defRPr/>
            </a:lvl8pPr>
            <a:lvl9pPr indent="-342900" lvl="8" marL="4114800" algn="l">
              <a:lnSpc>
                <a:spcPct val="90000"/>
              </a:lnSpc>
              <a:spcBef>
                <a:spcPts val="500"/>
              </a:spcBef>
              <a:spcAft>
                <a:spcPts val="0"/>
              </a:spcAft>
              <a:buClr>
                <a:schemeClr val="dk1"/>
              </a:buClr>
              <a:buSzPts val="1800"/>
              <a:buChar char="•"/>
              <a:defRPr/>
            </a:lvl9pPr>
          </a:lstStyle>
          <a:p/>
        </p:txBody>
      </p:sp>
      <p:sp>
        <p:nvSpPr>
          <p:cNvPr id="22" name="Google Shape;22;p27"/>
          <p:cNvSpPr/>
          <p:nvPr/>
        </p:nvSpPr>
        <p:spPr>
          <a:xfrm flipH="1" rot="10800000">
            <a:off x="10409503" y="-1"/>
            <a:ext cx="1782495" cy="5337130"/>
          </a:xfrm>
          <a:custGeom>
            <a:rect b="b" l="l" r="r" t="t"/>
            <a:pathLst>
              <a:path extrusionOk="0" h="4709905" w="1573014">
                <a:moveTo>
                  <a:pt x="0" y="4709905"/>
                </a:moveTo>
                <a:lnTo>
                  <a:pt x="1573014" y="4709905"/>
                </a:lnTo>
                <a:lnTo>
                  <a:pt x="1573014" y="0"/>
                </a:lnTo>
                <a:close/>
              </a:path>
            </a:pathLst>
          </a:custGeom>
          <a:solidFill>
            <a:schemeClr val="accent2">
              <a:alpha val="89803"/>
            </a:schemeClr>
          </a:solidFill>
          <a:ln>
            <a:noFill/>
          </a:ln>
        </p:spPr>
        <p:txBody>
          <a:bodyPr anchorCtr="0" anchor="ctr" bIns="45700" lIns="91425" spcFirstLastPara="1" rIns="91425" wrap="square" tIns="45700">
            <a:noAutofit/>
          </a:bodyPr>
          <a:lstStyle/>
          <a:p>
            <a:pPr indent="0" lvl="0" marL="0" marR="0" rtl="0" algn="ctr">
              <a:spcBef>
                <a:spcPts val="0"/>
              </a:spcBef>
              <a:spcAft>
                <a:spcPts val="0"/>
              </a:spcAft>
              <a:buNone/>
            </a:pPr>
            <a:r>
              <a:t/>
            </a:r>
            <a:endParaRPr b="0" i="0" sz="1800" u="none" cap="none" strike="noStrike">
              <a:solidFill>
                <a:schemeClr val="lt1"/>
              </a:solidFill>
              <a:latin typeface="Arial"/>
              <a:ea typeface="Arial"/>
              <a:cs typeface="Arial"/>
              <a:sym typeface="Arial"/>
            </a:endParaRPr>
          </a:p>
        </p:txBody>
      </p:sp>
      <p:pic>
        <p:nvPicPr>
          <p:cNvPr id="23" name="Google Shape;23;p27"/>
          <p:cNvPicPr preferRelativeResize="0"/>
          <p:nvPr/>
        </p:nvPicPr>
        <p:blipFill rotWithShape="1">
          <a:blip r:embed="rId2">
            <a:alphaModFix/>
          </a:blip>
          <a:srcRect b="0" l="0" r="0" t="0"/>
          <a:stretch/>
        </p:blipFill>
        <p:spPr>
          <a:xfrm>
            <a:off x="571312" y="554100"/>
            <a:ext cx="2641600" cy="649323"/>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matchingName="No Title">
  <p:cSld name="No Title">
    <p:spTree>
      <p:nvGrpSpPr>
        <p:cNvPr id="67" name="Shape 67"/>
        <p:cNvGrpSpPr/>
        <p:nvPr/>
      </p:nvGrpSpPr>
      <p:grpSpPr>
        <a:xfrm>
          <a:off x="0" y="0"/>
          <a:ext cx="0" cy="0"/>
          <a:chOff x="0" y="0"/>
          <a:chExt cx="0" cy="0"/>
        </a:xfrm>
      </p:grpSpPr>
      <p:sp>
        <p:nvSpPr>
          <p:cNvPr id="68" name="Google Shape;68;p36"/>
          <p:cNvSpPr txBox="1"/>
          <p:nvPr>
            <p:ph idx="1" type="body"/>
          </p:nvPr>
        </p:nvSpPr>
        <p:spPr>
          <a:xfrm>
            <a:off x="838200" y="365125"/>
            <a:ext cx="10515600" cy="4351338"/>
          </a:xfrm>
          <a:prstGeom prst="rect">
            <a:avLst/>
          </a:prstGeom>
          <a:noFill/>
          <a:ln>
            <a:noFill/>
          </a:ln>
        </p:spPr>
        <p:txBody>
          <a:bodyPr anchorCtr="0" anchor="t" bIns="45700" lIns="0" spcFirstLastPara="1" rIns="0" wrap="square" tIns="45700">
            <a:normAutofit/>
          </a:bodyPr>
          <a:lstStyle>
            <a:lvl1pPr indent="-228600" lvl="0" marL="457200" algn="l">
              <a:lnSpc>
                <a:spcPct val="113000"/>
              </a:lnSpc>
              <a:spcBef>
                <a:spcPts val="800"/>
              </a:spcBef>
              <a:spcAft>
                <a:spcPts val="0"/>
              </a:spcAft>
              <a:buClr>
                <a:schemeClr val="dk2"/>
              </a:buClr>
              <a:buSzPts val="1800"/>
              <a:buNone/>
              <a:defRPr/>
            </a:lvl1pPr>
            <a:lvl2pPr indent="-228600" lvl="1" marL="914400" algn="l">
              <a:lnSpc>
                <a:spcPct val="113000"/>
              </a:lnSpc>
              <a:spcBef>
                <a:spcPts val="800"/>
              </a:spcBef>
              <a:spcAft>
                <a:spcPts val="0"/>
              </a:spcAft>
              <a:buClr>
                <a:schemeClr val="dk2"/>
              </a:buClr>
              <a:buSzPts val="1800"/>
              <a:buNone/>
              <a:defRPr/>
            </a:lvl2pPr>
            <a:lvl3pPr indent="-228600" lvl="2" marL="1371600" algn="l">
              <a:lnSpc>
                <a:spcPct val="113000"/>
              </a:lnSpc>
              <a:spcBef>
                <a:spcPts val="800"/>
              </a:spcBef>
              <a:spcAft>
                <a:spcPts val="0"/>
              </a:spcAft>
              <a:buClr>
                <a:schemeClr val="dk2"/>
              </a:buClr>
              <a:buSzPts val="1800"/>
              <a:buNone/>
              <a:defRPr/>
            </a:lvl3pPr>
            <a:lvl4pPr indent="-228600" lvl="3" marL="1828800" algn="l">
              <a:lnSpc>
                <a:spcPct val="113000"/>
              </a:lnSpc>
              <a:spcBef>
                <a:spcPts val="800"/>
              </a:spcBef>
              <a:spcAft>
                <a:spcPts val="0"/>
              </a:spcAft>
              <a:buClr>
                <a:schemeClr val="dk2"/>
              </a:buClr>
              <a:buSzPts val="1800"/>
              <a:buNone/>
              <a:defRPr/>
            </a:lvl4pPr>
            <a:lvl5pPr indent="-228600" lvl="4" marL="2286000" algn="l">
              <a:lnSpc>
                <a:spcPct val="113000"/>
              </a:lnSpc>
              <a:spcBef>
                <a:spcPts val="800"/>
              </a:spcBef>
              <a:spcAft>
                <a:spcPts val="0"/>
              </a:spcAft>
              <a:buClr>
                <a:schemeClr val="dk2"/>
              </a:buClr>
              <a:buSzPts val="1800"/>
              <a:buNone/>
              <a:defRPr/>
            </a:lvl5pPr>
            <a:lvl6pPr indent="-342900" lvl="5" marL="2743200" algn="l">
              <a:lnSpc>
                <a:spcPct val="90000"/>
              </a:lnSpc>
              <a:spcBef>
                <a:spcPts val="500"/>
              </a:spcBef>
              <a:spcAft>
                <a:spcPts val="0"/>
              </a:spcAft>
              <a:buClr>
                <a:schemeClr val="dk1"/>
              </a:buClr>
              <a:buSzPts val="1800"/>
              <a:buChar char="•"/>
              <a:defRPr/>
            </a:lvl6pPr>
            <a:lvl7pPr indent="-342900" lvl="6" marL="3200400" algn="l">
              <a:lnSpc>
                <a:spcPct val="90000"/>
              </a:lnSpc>
              <a:spcBef>
                <a:spcPts val="500"/>
              </a:spcBef>
              <a:spcAft>
                <a:spcPts val="0"/>
              </a:spcAft>
              <a:buClr>
                <a:schemeClr val="dk1"/>
              </a:buClr>
              <a:buSzPts val="1800"/>
              <a:buChar char="•"/>
              <a:defRPr/>
            </a:lvl7pPr>
            <a:lvl8pPr indent="-342900" lvl="7" marL="3657600" algn="l">
              <a:lnSpc>
                <a:spcPct val="90000"/>
              </a:lnSpc>
              <a:spcBef>
                <a:spcPts val="500"/>
              </a:spcBef>
              <a:spcAft>
                <a:spcPts val="0"/>
              </a:spcAft>
              <a:buClr>
                <a:schemeClr val="dk1"/>
              </a:buClr>
              <a:buSzPts val="1800"/>
              <a:buChar char="•"/>
              <a:defRPr/>
            </a:lvl8pPr>
            <a:lvl9pPr indent="-342900" lvl="8" marL="4114800" algn="l">
              <a:lnSpc>
                <a:spcPct val="90000"/>
              </a:lnSpc>
              <a:spcBef>
                <a:spcPts val="500"/>
              </a:spcBef>
              <a:spcAft>
                <a:spcPts val="0"/>
              </a:spcAft>
              <a:buClr>
                <a:schemeClr val="dk1"/>
              </a:buClr>
              <a:buSzPts val="1800"/>
              <a:buChar char="•"/>
              <a:defRPr/>
            </a:lvl9pPr>
          </a:lstStyle>
          <a:p/>
        </p:txBody>
      </p:sp>
      <p:sp>
        <p:nvSpPr>
          <p:cNvPr id="69" name="Google Shape;69;p36"/>
          <p:cNvSpPr txBox="1"/>
          <p:nvPr>
            <p:ph idx="11" type="ftr"/>
          </p:nvPr>
        </p:nvSpPr>
        <p:spPr>
          <a:xfrm>
            <a:off x="7928904" y="6513308"/>
            <a:ext cx="4114800" cy="365125"/>
          </a:xfrm>
          <a:prstGeom prst="rect">
            <a:avLst/>
          </a:prstGeom>
          <a:noFill/>
          <a:ln>
            <a:noFill/>
          </a:ln>
        </p:spPr>
        <p:txBody>
          <a:bodyPr anchorCtr="0" anchor="ctr" bIns="45700" lIns="91425" spcFirstLastPara="1" rIns="91425" wrap="square" tIns="4570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p:txBody>
      </p:sp>
      <p:sp>
        <p:nvSpPr>
          <p:cNvPr id="70" name="Google Shape;70;p36"/>
          <p:cNvSpPr txBox="1"/>
          <p:nvPr>
            <p:ph idx="12" type="sldNum"/>
          </p:nvPr>
        </p:nvSpPr>
        <p:spPr>
          <a:xfrm>
            <a:off x="9300504" y="6126298"/>
            <a:ext cx="2743200" cy="365125"/>
          </a:xfrm>
          <a:prstGeom prst="rect">
            <a:avLst/>
          </a:prstGeom>
          <a:noFill/>
          <a:ln>
            <a:noFill/>
          </a:ln>
        </p:spPr>
        <p:txBody>
          <a:bodyPr anchorCtr="0" anchor="ctr" bIns="45700" lIns="91425" spcFirstLastPara="1" rIns="91425" wrap="square" tIns="45700">
            <a:noAutofit/>
          </a:bodyPr>
          <a:lstStyle>
            <a:lvl1pPr indent="0" lvl="0" marL="0" algn="r">
              <a:spcBef>
                <a:spcPts val="0"/>
              </a:spcBef>
              <a:buNone/>
              <a:defRPr/>
            </a:lvl1pPr>
            <a:lvl2pPr indent="0" lvl="1" marL="0" algn="r">
              <a:spcBef>
                <a:spcPts val="0"/>
              </a:spcBef>
              <a:buNone/>
              <a:defRPr/>
            </a:lvl2pPr>
            <a:lvl3pPr indent="0" lvl="2" marL="0" algn="r">
              <a:spcBef>
                <a:spcPts val="0"/>
              </a:spcBef>
              <a:buNone/>
              <a:defRPr/>
            </a:lvl3pPr>
            <a:lvl4pPr indent="0" lvl="3" marL="0" algn="r">
              <a:spcBef>
                <a:spcPts val="0"/>
              </a:spcBef>
              <a:buNone/>
              <a:defRPr/>
            </a:lvl4pPr>
            <a:lvl5pPr indent="0" lvl="4" marL="0" algn="r">
              <a:spcBef>
                <a:spcPts val="0"/>
              </a:spcBef>
              <a:buNone/>
              <a:defRPr/>
            </a:lvl5pPr>
            <a:lvl6pPr indent="0" lvl="5" marL="0" algn="r">
              <a:spcBef>
                <a:spcPts val="0"/>
              </a:spcBef>
              <a:buNone/>
              <a:defRPr/>
            </a:lvl6pPr>
            <a:lvl7pPr indent="0" lvl="6" marL="0" algn="r">
              <a:spcBef>
                <a:spcPts val="0"/>
              </a:spcBef>
              <a:buNone/>
              <a:defRPr/>
            </a:lvl7pPr>
            <a:lvl8pPr indent="0" lvl="7" marL="0" algn="r">
              <a:spcBef>
                <a:spcPts val="0"/>
              </a:spcBef>
              <a:buNone/>
              <a:defRPr/>
            </a:lvl8pPr>
            <a:lvl9pPr indent="0" lvl="8" marL="0" algn="r">
              <a:spcBef>
                <a:spcPts val="0"/>
              </a:spcBef>
              <a:buNone/>
              <a:defRPr/>
            </a:lvl9p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matchingName="Full Image with Text">
  <p:cSld name="Full Image with Text">
    <p:spTree>
      <p:nvGrpSpPr>
        <p:cNvPr id="71" name="Shape 71"/>
        <p:cNvGrpSpPr/>
        <p:nvPr/>
      </p:nvGrpSpPr>
      <p:grpSpPr>
        <a:xfrm>
          <a:off x="0" y="0"/>
          <a:ext cx="0" cy="0"/>
          <a:chOff x="0" y="0"/>
          <a:chExt cx="0" cy="0"/>
        </a:xfrm>
      </p:grpSpPr>
      <p:sp>
        <p:nvSpPr>
          <p:cNvPr id="72" name="Google Shape;72;p37"/>
          <p:cNvSpPr txBox="1"/>
          <p:nvPr>
            <p:ph idx="11" type="ftr"/>
          </p:nvPr>
        </p:nvSpPr>
        <p:spPr>
          <a:xfrm>
            <a:off x="7928904" y="6513308"/>
            <a:ext cx="4114800" cy="365125"/>
          </a:xfrm>
          <a:prstGeom prst="rect">
            <a:avLst/>
          </a:prstGeom>
          <a:noFill/>
          <a:ln>
            <a:noFill/>
          </a:ln>
        </p:spPr>
        <p:txBody>
          <a:bodyPr anchorCtr="0" anchor="ctr" bIns="45700" lIns="91425" spcFirstLastPara="1" rIns="91425" wrap="square" tIns="4570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p:txBody>
      </p:sp>
      <p:sp>
        <p:nvSpPr>
          <p:cNvPr id="73" name="Google Shape;73;p37"/>
          <p:cNvSpPr txBox="1"/>
          <p:nvPr>
            <p:ph idx="12" type="sldNum"/>
          </p:nvPr>
        </p:nvSpPr>
        <p:spPr>
          <a:xfrm>
            <a:off x="9300504" y="6126298"/>
            <a:ext cx="2743200" cy="365125"/>
          </a:xfrm>
          <a:prstGeom prst="rect">
            <a:avLst/>
          </a:prstGeom>
          <a:noFill/>
          <a:ln>
            <a:noFill/>
          </a:ln>
        </p:spPr>
        <p:txBody>
          <a:bodyPr anchorCtr="0" anchor="ctr" bIns="45700" lIns="91425" spcFirstLastPara="1" rIns="91425" wrap="square" tIns="45700">
            <a:noAutofit/>
          </a:bodyPr>
          <a:lstStyle>
            <a:lvl1pPr indent="0" lvl="0" marL="0" algn="r">
              <a:spcBef>
                <a:spcPts val="0"/>
              </a:spcBef>
              <a:buNone/>
              <a:defRPr/>
            </a:lvl1pPr>
            <a:lvl2pPr indent="0" lvl="1" marL="0" algn="r">
              <a:spcBef>
                <a:spcPts val="0"/>
              </a:spcBef>
              <a:buNone/>
              <a:defRPr/>
            </a:lvl2pPr>
            <a:lvl3pPr indent="0" lvl="2" marL="0" algn="r">
              <a:spcBef>
                <a:spcPts val="0"/>
              </a:spcBef>
              <a:buNone/>
              <a:defRPr/>
            </a:lvl3pPr>
            <a:lvl4pPr indent="0" lvl="3" marL="0" algn="r">
              <a:spcBef>
                <a:spcPts val="0"/>
              </a:spcBef>
              <a:buNone/>
              <a:defRPr/>
            </a:lvl4pPr>
            <a:lvl5pPr indent="0" lvl="4" marL="0" algn="r">
              <a:spcBef>
                <a:spcPts val="0"/>
              </a:spcBef>
              <a:buNone/>
              <a:defRPr/>
            </a:lvl5pPr>
            <a:lvl6pPr indent="0" lvl="5" marL="0" algn="r">
              <a:spcBef>
                <a:spcPts val="0"/>
              </a:spcBef>
              <a:buNone/>
              <a:defRPr/>
            </a:lvl6pPr>
            <a:lvl7pPr indent="0" lvl="6" marL="0" algn="r">
              <a:spcBef>
                <a:spcPts val="0"/>
              </a:spcBef>
              <a:buNone/>
              <a:defRPr/>
            </a:lvl7pPr>
            <a:lvl8pPr indent="0" lvl="7" marL="0" algn="r">
              <a:spcBef>
                <a:spcPts val="0"/>
              </a:spcBef>
              <a:buNone/>
              <a:defRPr/>
            </a:lvl8pPr>
            <a:lvl9pPr indent="0" lvl="8" marL="0" algn="r">
              <a:spcBef>
                <a:spcPts val="0"/>
              </a:spcBef>
              <a:buNone/>
              <a:defRPr/>
            </a:lvl9pPr>
          </a:lstStyle>
          <a:p>
            <a:pPr indent="0" lvl="0" marL="0" rtl="0" algn="r">
              <a:spcBef>
                <a:spcPts val="0"/>
              </a:spcBef>
              <a:spcAft>
                <a:spcPts val="0"/>
              </a:spcAft>
              <a:buNone/>
            </a:pPr>
            <a:fld id="{00000000-1234-1234-1234-123412341234}" type="slidenum">
              <a:rPr lang="en-US"/>
              <a:t>‹#›</a:t>
            </a:fld>
            <a:endParaRPr/>
          </a:p>
        </p:txBody>
      </p:sp>
      <p:sp>
        <p:nvSpPr>
          <p:cNvPr id="74" name="Google Shape;74;p37"/>
          <p:cNvSpPr/>
          <p:nvPr>
            <p:ph idx="2" type="pic"/>
          </p:nvPr>
        </p:nvSpPr>
        <p:spPr>
          <a:xfrm>
            <a:off x="0" y="0"/>
            <a:ext cx="12192000" cy="6858000"/>
          </a:xfrm>
          <a:prstGeom prst="rect">
            <a:avLst/>
          </a:prstGeom>
          <a:noFill/>
          <a:ln>
            <a:noFill/>
          </a:ln>
        </p:spPr>
        <p:txBody>
          <a:bodyPr anchorCtr="0" anchor="t" bIns="45700" lIns="0" spcFirstLastPara="1" rIns="0" wrap="square" tIns="45700">
            <a:normAutofit/>
          </a:bodyPr>
          <a:lstStyle>
            <a:lvl1pPr lvl="0" marR="0" rtl="0" algn="l">
              <a:lnSpc>
                <a:spcPct val="113000"/>
              </a:lnSpc>
              <a:spcBef>
                <a:spcPts val="800"/>
              </a:spcBef>
              <a:spcAft>
                <a:spcPts val="0"/>
              </a:spcAft>
              <a:buClr>
                <a:schemeClr val="dk2"/>
              </a:buClr>
              <a:buSzPts val="2200"/>
              <a:buFont typeface="Arial"/>
              <a:buNone/>
              <a:defRPr b="0" i="0" sz="2200" u="none" cap="none" strike="noStrike">
                <a:solidFill>
                  <a:schemeClr val="dk2"/>
                </a:solidFill>
                <a:latin typeface="Arial"/>
                <a:ea typeface="Arial"/>
                <a:cs typeface="Arial"/>
                <a:sym typeface="Arial"/>
              </a:defRPr>
            </a:lvl1pPr>
            <a:lvl2pPr lvl="1" marR="0" rtl="0" algn="l">
              <a:lnSpc>
                <a:spcPct val="113000"/>
              </a:lnSpc>
              <a:spcBef>
                <a:spcPts val="800"/>
              </a:spcBef>
              <a:spcAft>
                <a:spcPts val="0"/>
              </a:spcAft>
              <a:buClr>
                <a:schemeClr val="dk2"/>
              </a:buClr>
              <a:buSzPts val="1600"/>
              <a:buFont typeface="Arial"/>
              <a:buNone/>
              <a:defRPr b="0" i="0" sz="1600" u="none" cap="none" strike="noStrike">
                <a:solidFill>
                  <a:schemeClr val="dk2"/>
                </a:solidFill>
                <a:latin typeface="Arial"/>
                <a:ea typeface="Arial"/>
                <a:cs typeface="Arial"/>
                <a:sym typeface="Arial"/>
              </a:defRPr>
            </a:lvl2pPr>
            <a:lvl3pPr lvl="2" marR="0" rtl="0" algn="l">
              <a:lnSpc>
                <a:spcPct val="113000"/>
              </a:lnSpc>
              <a:spcBef>
                <a:spcPts val="800"/>
              </a:spcBef>
              <a:spcAft>
                <a:spcPts val="0"/>
              </a:spcAft>
              <a:buClr>
                <a:schemeClr val="dk2"/>
              </a:buClr>
              <a:buSzPts val="1600"/>
              <a:buFont typeface="Arial"/>
              <a:buNone/>
              <a:defRPr b="0" i="0" sz="1600" u="none" cap="none" strike="noStrike">
                <a:solidFill>
                  <a:schemeClr val="dk2"/>
                </a:solidFill>
                <a:latin typeface="Arial"/>
                <a:ea typeface="Arial"/>
                <a:cs typeface="Arial"/>
                <a:sym typeface="Arial"/>
              </a:defRPr>
            </a:lvl3pPr>
            <a:lvl4pPr lvl="3" marR="0" rtl="0" algn="l">
              <a:lnSpc>
                <a:spcPct val="113000"/>
              </a:lnSpc>
              <a:spcBef>
                <a:spcPts val="800"/>
              </a:spcBef>
              <a:spcAft>
                <a:spcPts val="0"/>
              </a:spcAft>
              <a:buClr>
                <a:schemeClr val="dk2"/>
              </a:buClr>
              <a:buSzPts val="1600"/>
              <a:buFont typeface="Arial"/>
              <a:buNone/>
              <a:defRPr b="0" i="0" sz="1600" u="none" cap="none" strike="noStrike">
                <a:solidFill>
                  <a:schemeClr val="dk2"/>
                </a:solidFill>
                <a:latin typeface="Arial"/>
                <a:ea typeface="Arial"/>
                <a:cs typeface="Arial"/>
                <a:sym typeface="Arial"/>
              </a:defRPr>
            </a:lvl4pPr>
            <a:lvl5pPr lvl="4" marR="0" rtl="0" algn="l">
              <a:lnSpc>
                <a:spcPct val="113000"/>
              </a:lnSpc>
              <a:spcBef>
                <a:spcPts val="800"/>
              </a:spcBef>
              <a:spcAft>
                <a:spcPts val="0"/>
              </a:spcAft>
              <a:buClr>
                <a:schemeClr val="dk2"/>
              </a:buClr>
              <a:buSzPts val="1600"/>
              <a:buFont typeface="Arial"/>
              <a:buNone/>
              <a:defRPr b="0" i="0" sz="1600" u="none" cap="none" strike="noStrike">
                <a:solidFill>
                  <a:schemeClr val="dk2"/>
                </a:solidFill>
                <a:latin typeface="Arial"/>
                <a:ea typeface="Arial"/>
                <a:cs typeface="Arial"/>
                <a:sym typeface="Arial"/>
              </a:defRPr>
            </a:lvl5pPr>
            <a:lvl6pPr lvl="5" marR="0" rtl="0" algn="l">
              <a:lnSpc>
                <a:spcPct val="90000"/>
              </a:lnSpc>
              <a:spcBef>
                <a:spcPts val="500"/>
              </a:spcBef>
              <a:spcAft>
                <a:spcPts val="0"/>
              </a:spcAft>
              <a:buClr>
                <a:schemeClr val="dk1"/>
              </a:buClr>
              <a:buSzPts val="1800"/>
              <a:buFont typeface="Arial"/>
              <a:buChar char="•"/>
              <a:defRPr b="0" i="0" sz="1800" u="none" cap="none" strike="noStrike">
                <a:solidFill>
                  <a:schemeClr val="dk1"/>
                </a:solidFill>
                <a:latin typeface="Arial"/>
                <a:ea typeface="Arial"/>
                <a:cs typeface="Arial"/>
                <a:sym typeface="Arial"/>
              </a:defRPr>
            </a:lvl6pPr>
            <a:lvl7pPr lvl="6" marR="0" rtl="0" algn="l">
              <a:lnSpc>
                <a:spcPct val="90000"/>
              </a:lnSpc>
              <a:spcBef>
                <a:spcPts val="500"/>
              </a:spcBef>
              <a:spcAft>
                <a:spcPts val="0"/>
              </a:spcAft>
              <a:buClr>
                <a:schemeClr val="dk1"/>
              </a:buClr>
              <a:buSzPts val="1800"/>
              <a:buFont typeface="Arial"/>
              <a:buChar char="•"/>
              <a:defRPr b="0" i="0" sz="1800" u="none" cap="none" strike="noStrike">
                <a:solidFill>
                  <a:schemeClr val="dk1"/>
                </a:solidFill>
                <a:latin typeface="Arial"/>
                <a:ea typeface="Arial"/>
                <a:cs typeface="Arial"/>
                <a:sym typeface="Arial"/>
              </a:defRPr>
            </a:lvl7pPr>
            <a:lvl8pPr lvl="7" marR="0" rtl="0" algn="l">
              <a:lnSpc>
                <a:spcPct val="90000"/>
              </a:lnSpc>
              <a:spcBef>
                <a:spcPts val="500"/>
              </a:spcBef>
              <a:spcAft>
                <a:spcPts val="0"/>
              </a:spcAft>
              <a:buClr>
                <a:schemeClr val="dk1"/>
              </a:buClr>
              <a:buSzPts val="1800"/>
              <a:buFont typeface="Arial"/>
              <a:buChar char="•"/>
              <a:defRPr b="0" i="0" sz="1800" u="none" cap="none" strike="noStrike">
                <a:solidFill>
                  <a:schemeClr val="dk1"/>
                </a:solidFill>
                <a:latin typeface="Arial"/>
                <a:ea typeface="Arial"/>
                <a:cs typeface="Arial"/>
                <a:sym typeface="Arial"/>
              </a:defRPr>
            </a:lvl8pPr>
            <a:lvl9pPr lvl="8" marR="0" rtl="0" algn="l">
              <a:lnSpc>
                <a:spcPct val="90000"/>
              </a:lnSpc>
              <a:spcBef>
                <a:spcPts val="500"/>
              </a:spcBef>
              <a:spcAft>
                <a:spcPts val="0"/>
              </a:spcAft>
              <a:buClr>
                <a:schemeClr val="dk1"/>
              </a:buClr>
              <a:buSzPts val="1800"/>
              <a:buFont typeface="Arial"/>
              <a:buChar char="•"/>
              <a:defRPr b="0" i="0" sz="1800" u="none" cap="none" strike="noStrike">
                <a:solidFill>
                  <a:schemeClr val="dk1"/>
                </a:solidFill>
                <a:latin typeface="Arial"/>
                <a:ea typeface="Arial"/>
                <a:cs typeface="Arial"/>
                <a:sym typeface="Arial"/>
              </a:defRPr>
            </a:lvl9pPr>
          </a:lstStyle>
          <a:p/>
        </p:txBody>
      </p:sp>
      <p:sp>
        <p:nvSpPr>
          <p:cNvPr id="75" name="Google Shape;75;p37"/>
          <p:cNvSpPr txBox="1"/>
          <p:nvPr>
            <p:ph idx="1" type="body"/>
          </p:nvPr>
        </p:nvSpPr>
        <p:spPr>
          <a:xfrm>
            <a:off x="629841" y="2057400"/>
            <a:ext cx="2949178" cy="3811588"/>
          </a:xfrm>
          <a:prstGeom prst="rect">
            <a:avLst/>
          </a:prstGeom>
          <a:solidFill>
            <a:schemeClr val="accent1">
              <a:alpha val="84705"/>
            </a:schemeClr>
          </a:solidFill>
          <a:ln>
            <a:noFill/>
          </a:ln>
        </p:spPr>
        <p:txBody>
          <a:bodyPr anchorCtr="0" anchor="t" bIns="274300" lIns="274300" spcFirstLastPara="1" rIns="274300" wrap="square" tIns="274300">
            <a:normAutofit/>
          </a:bodyPr>
          <a:lstStyle>
            <a:lvl1pPr indent="-228600" lvl="0" marL="457200" algn="l">
              <a:lnSpc>
                <a:spcPct val="113000"/>
              </a:lnSpc>
              <a:spcBef>
                <a:spcPts val="800"/>
              </a:spcBef>
              <a:spcAft>
                <a:spcPts val="0"/>
              </a:spcAft>
              <a:buClr>
                <a:schemeClr val="lt1"/>
              </a:buClr>
              <a:buSzPts val="1400"/>
              <a:buNone/>
              <a:defRPr b="0" sz="1400">
                <a:solidFill>
                  <a:schemeClr val="lt1"/>
                </a:solidFill>
              </a:defRPr>
            </a:lvl1pPr>
            <a:lvl2pPr indent="-228600" lvl="1" marL="914400" algn="l">
              <a:lnSpc>
                <a:spcPct val="113000"/>
              </a:lnSpc>
              <a:spcBef>
                <a:spcPts val="800"/>
              </a:spcBef>
              <a:spcAft>
                <a:spcPts val="0"/>
              </a:spcAft>
              <a:buClr>
                <a:schemeClr val="dk2"/>
              </a:buClr>
              <a:buSzPts val="1400"/>
              <a:buNone/>
              <a:defRPr sz="1400"/>
            </a:lvl2pPr>
            <a:lvl3pPr indent="-228600" lvl="2" marL="1371600" algn="l">
              <a:lnSpc>
                <a:spcPct val="113000"/>
              </a:lnSpc>
              <a:spcBef>
                <a:spcPts val="800"/>
              </a:spcBef>
              <a:spcAft>
                <a:spcPts val="0"/>
              </a:spcAft>
              <a:buClr>
                <a:schemeClr val="dk2"/>
              </a:buClr>
              <a:buSzPts val="1200"/>
              <a:buNone/>
              <a:defRPr sz="1200"/>
            </a:lvl3pPr>
            <a:lvl4pPr indent="-228600" lvl="3" marL="1828800" algn="l">
              <a:lnSpc>
                <a:spcPct val="113000"/>
              </a:lnSpc>
              <a:spcBef>
                <a:spcPts val="800"/>
              </a:spcBef>
              <a:spcAft>
                <a:spcPts val="0"/>
              </a:spcAft>
              <a:buClr>
                <a:schemeClr val="dk2"/>
              </a:buClr>
              <a:buSzPts val="1000"/>
              <a:buNone/>
              <a:defRPr sz="1000"/>
            </a:lvl4pPr>
            <a:lvl5pPr indent="-228600" lvl="4" marL="2286000" algn="l">
              <a:lnSpc>
                <a:spcPct val="113000"/>
              </a:lnSpc>
              <a:spcBef>
                <a:spcPts val="800"/>
              </a:spcBef>
              <a:spcAft>
                <a:spcPts val="0"/>
              </a:spcAft>
              <a:buClr>
                <a:schemeClr val="dk2"/>
              </a:buClr>
              <a:buSzPts val="1000"/>
              <a:buNone/>
              <a:defRPr sz="1000"/>
            </a:lvl5pPr>
            <a:lvl6pPr indent="-228600" lvl="5" marL="2743200" algn="l">
              <a:lnSpc>
                <a:spcPct val="90000"/>
              </a:lnSpc>
              <a:spcBef>
                <a:spcPts val="500"/>
              </a:spcBef>
              <a:spcAft>
                <a:spcPts val="0"/>
              </a:spcAft>
              <a:buClr>
                <a:schemeClr val="dk1"/>
              </a:buClr>
              <a:buSzPts val="1000"/>
              <a:buNone/>
              <a:defRPr sz="1000"/>
            </a:lvl6pPr>
            <a:lvl7pPr indent="-228600" lvl="6" marL="3200400" algn="l">
              <a:lnSpc>
                <a:spcPct val="90000"/>
              </a:lnSpc>
              <a:spcBef>
                <a:spcPts val="500"/>
              </a:spcBef>
              <a:spcAft>
                <a:spcPts val="0"/>
              </a:spcAft>
              <a:buClr>
                <a:schemeClr val="dk1"/>
              </a:buClr>
              <a:buSzPts val="1000"/>
              <a:buNone/>
              <a:defRPr sz="1000"/>
            </a:lvl7pPr>
            <a:lvl8pPr indent="-228600" lvl="7" marL="3657600" algn="l">
              <a:lnSpc>
                <a:spcPct val="90000"/>
              </a:lnSpc>
              <a:spcBef>
                <a:spcPts val="500"/>
              </a:spcBef>
              <a:spcAft>
                <a:spcPts val="0"/>
              </a:spcAft>
              <a:buClr>
                <a:schemeClr val="dk1"/>
              </a:buClr>
              <a:buSzPts val="1000"/>
              <a:buNone/>
              <a:defRPr sz="1000"/>
            </a:lvl8pPr>
            <a:lvl9pPr indent="-228600" lvl="8" marL="4114800" algn="l">
              <a:lnSpc>
                <a:spcPct val="90000"/>
              </a:lnSpc>
              <a:spcBef>
                <a:spcPts val="500"/>
              </a:spcBef>
              <a:spcAft>
                <a:spcPts val="0"/>
              </a:spcAft>
              <a:buClr>
                <a:schemeClr val="dk1"/>
              </a:buClr>
              <a:buSzPts val="1000"/>
              <a:buNone/>
              <a:defRPr sz="1000"/>
            </a:lvl9pPr>
          </a:lstStyle>
          <a:p/>
        </p:txBody>
      </p:sp>
    </p:spTree>
  </p:cSld>
  <p:clrMapOvr>
    <a:masterClrMapping/>
  </p:clrMapOvr>
  <p:timing>
    <p:tnLst>
      <p:par>
        <p:cTn dur="indefinite" nodeType="tmRoot" restart="never">
          <p:childTnLst>
            <p:seq concurrent="1" nextAc="seek">
              <p:cTn dur="indefinite" id="2" nodeType="mainSeq">
                <p:childTnLst>
                  <p:par>
                    <p:cTn fill="hold">
                      <p:stCondLst>
                        <p:cond delay="indefinite"/>
                        <p:cond evt="onBegin" delay="0">
                          <p:tn val="2"/>
                        </p:cond>
                      </p:stCondLst>
                      <p:childTnLst>
                        <p:par>
                          <p:cTn fill="hold">
                            <p:stCondLst>
                              <p:cond delay="0"/>
                            </p:stCondLst>
                            <p:childTnLst>
                              <p:par>
                                <p:cTn fill="hold" nodeType="withEffect" presetClass="entr" presetID="10" presetSubtype="0">
                                  <p:stCondLst>
                                    <p:cond delay="0"/>
                                  </p:stCondLst>
                                  <p:childTnLst>
                                    <p:set>
                                      <p:cBhvr>
                                        <p:cTn dur="1" fill="hold">
                                          <p:stCondLst>
                                            <p:cond delay="0"/>
                                          </p:stCondLst>
                                        </p:cTn>
                                        <p:tgtEl>
                                          <p:spTgt spid="75">
                                            <p:txEl>
                                              <p:pRg end="0" st="0"/>
                                            </p:txEl>
                                          </p:spTgt>
                                        </p:tgtEl>
                                        <p:attrNameLst>
                                          <p:attrName>style.visibility</p:attrName>
                                        </p:attrNameLst>
                                      </p:cBhvr>
                                      <p:to>
                                        <p:strVal val="visible"/>
                                      </p:to>
                                    </p:set>
                                    <p:animEffect filter="fade" transition="in">
                                      <p:cBhvr>
                                        <p:cTn dur="500"/>
                                        <p:tgtEl>
                                          <p:spTgt spid="75">
                                            <p:txEl>
                                              <p:pRg end="0" st="0"/>
                                            </p:txEl>
                                          </p:spTgt>
                                        </p:tgtEl>
                                      </p:cBhvr>
                                    </p:animEffect>
                                  </p:childTnLst>
                                </p:cTn>
                              </p:par>
                              <p:par>
                                <p:cTn fill="hold" nodeType="withEffect" presetClass="entr" presetID="10" presetSubtype="0">
                                  <p:stCondLst>
                                    <p:cond delay="0"/>
                                  </p:stCondLst>
                                  <p:childTnLst>
                                    <p:set>
                                      <p:cBhvr>
                                        <p:cTn dur="1" fill="hold">
                                          <p:stCondLst>
                                            <p:cond delay="0"/>
                                          </p:stCondLst>
                                        </p:cTn>
                                        <p:tgtEl>
                                          <p:spTgt spid="75">
                                            <p:txEl>
                                              <p:pRg end="1" st="1"/>
                                            </p:txEl>
                                          </p:spTgt>
                                        </p:tgtEl>
                                        <p:attrNameLst>
                                          <p:attrName>style.visibility</p:attrName>
                                        </p:attrNameLst>
                                      </p:cBhvr>
                                      <p:to>
                                        <p:strVal val="visible"/>
                                      </p:to>
                                    </p:set>
                                    <p:animEffect filter="fade" transition="in">
                                      <p:cBhvr>
                                        <p:cTn dur="500"/>
                                        <p:tgtEl>
                                          <p:spTgt spid="75">
                                            <p:txEl>
                                              <p:pRg end="1" st="1"/>
                                            </p:txEl>
                                          </p:spTgt>
                                        </p:tgtEl>
                                      </p:cBhvr>
                                    </p:animEffect>
                                  </p:childTnLst>
                                </p:cTn>
                              </p:par>
                              <p:par>
                                <p:cTn fill="hold" nodeType="withEffect" presetClass="entr" presetID="10" presetSubtype="0">
                                  <p:stCondLst>
                                    <p:cond delay="0"/>
                                  </p:stCondLst>
                                  <p:childTnLst>
                                    <p:set>
                                      <p:cBhvr>
                                        <p:cTn dur="1" fill="hold">
                                          <p:stCondLst>
                                            <p:cond delay="0"/>
                                          </p:stCondLst>
                                        </p:cTn>
                                        <p:tgtEl>
                                          <p:spTgt spid="75">
                                            <p:txEl>
                                              <p:pRg end="2" st="2"/>
                                            </p:txEl>
                                          </p:spTgt>
                                        </p:tgtEl>
                                        <p:attrNameLst>
                                          <p:attrName>style.visibility</p:attrName>
                                        </p:attrNameLst>
                                      </p:cBhvr>
                                      <p:to>
                                        <p:strVal val="visible"/>
                                      </p:to>
                                    </p:set>
                                    <p:animEffect filter="fade" transition="in">
                                      <p:cBhvr>
                                        <p:cTn dur="500"/>
                                        <p:tgtEl>
                                          <p:spTgt spid="75">
                                            <p:txEl>
                                              <p:pRg end="2" st="2"/>
                                            </p:txEl>
                                          </p:spTgt>
                                        </p:tgtEl>
                                      </p:cBhvr>
                                    </p:animEffect>
                                  </p:childTnLst>
                                </p:cTn>
                              </p:par>
                              <p:par>
                                <p:cTn fill="hold" nodeType="withEffect" presetClass="entr" presetID="10" presetSubtype="0">
                                  <p:stCondLst>
                                    <p:cond delay="0"/>
                                  </p:stCondLst>
                                  <p:childTnLst>
                                    <p:set>
                                      <p:cBhvr>
                                        <p:cTn dur="1" fill="hold">
                                          <p:stCondLst>
                                            <p:cond delay="0"/>
                                          </p:stCondLst>
                                        </p:cTn>
                                        <p:tgtEl>
                                          <p:spTgt spid="75">
                                            <p:txEl>
                                              <p:pRg end="3" st="3"/>
                                            </p:txEl>
                                          </p:spTgt>
                                        </p:tgtEl>
                                        <p:attrNameLst>
                                          <p:attrName>style.visibility</p:attrName>
                                        </p:attrNameLst>
                                      </p:cBhvr>
                                      <p:to>
                                        <p:strVal val="visible"/>
                                      </p:to>
                                    </p:set>
                                    <p:animEffect filter="fade" transition="in">
                                      <p:cBhvr>
                                        <p:cTn dur="500"/>
                                        <p:tgtEl>
                                          <p:spTgt spid="75">
                                            <p:txEl>
                                              <p:pRg end="3" st="3"/>
                                            </p:txEl>
                                          </p:spTgt>
                                        </p:tgtEl>
                                      </p:cBhvr>
                                    </p:animEffect>
                                  </p:childTnLst>
                                </p:cTn>
                              </p:par>
                              <p:par>
                                <p:cTn fill="hold" nodeType="withEffect" presetClass="entr" presetID="10" presetSubtype="0">
                                  <p:stCondLst>
                                    <p:cond delay="0"/>
                                  </p:stCondLst>
                                  <p:childTnLst>
                                    <p:set>
                                      <p:cBhvr>
                                        <p:cTn dur="1" fill="hold">
                                          <p:stCondLst>
                                            <p:cond delay="0"/>
                                          </p:stCondLst>
                                        </p:cTn>
                                        <p:tgtEl>
                                          <p:spTgt spid="75">
                                            <p:txEl>
                                              <p:pRg end="4" st="4"/>
                                            </p:txEl>
                                          </p:spTgt>
                                        </p:tgtEl>
                                        <p:attrNameLst>
                                          <p:attrName>style.visibility</p:attrName>
                                        </p:attrNameLst>
                                      </p:cBhvr>
                                      <p:to>
                                        <p:strVal val="visible"/>
                                      </p:to>
                                    </p:set>
                                    <p:animEffect filter="fade" transition="in">
                                      <p:cBhvr>
                                        <p:cTn dur="500"/>
                                        <p:tgtEl>
                                          <p:spTgt spid="75">
                                            <p:txEl>
                                              <p:pRg end="4" st="4"/>
                                            </p:txEl>
                                          </p:spTgt>
                                        </p:tgtEl>
                                      </p:cBhvr>
                                    </p:animEffect>
                                  </p:childTnLst>
                                </p:cTn>
                              </p:par>
                              <p:par>
                                <p:cTn fill="hold" nodeType="withEffect" presetClass="entr" presetID="10" presetSubtype="0">
                                  <p:stCondLst>
                                    <p:cond delay="0"/>
                                  </p:stCondLst>
                                  <p:childTnLst>
                                    <p:set>
                                      <p:cBhvr>
                                        <p:cTn dur="1" fill="hold">
                                          <p:stCondLst>
                                            <p:cond delay="0"/>
                                          </p:stCondLst>
                                        </p:cTn>
                                        <p:tgtEl>
                                          <p:spTgt spid="75">
                                            <p:txEl>
                                              <p:pRg end="5" st="5"/>
                                            </p:txEl>
                                          </p:spTgt>
                                        </p:tgtEl>
                                        <p:attrNameLst>
                                          <p:attrName>style.visibility</p:attrName>
                                        </p:attrNameLst>
                                      </p:cBhvr>
                                      <p:to>
                                        <p:strVal val="visible"/>
                                      </p:to>
                                    </p:set>
                                    <p:animEffect filter="fade" transition="in">
                                      <p:cBhvr>
                                        <p:cTn dur="500"/>
                                        <p:tgtEl>
                                          <p:spTgt spid="75">
                                            <p:txEl>
                                              <p:pRg end="5" st="5"/>
                                            </p:txEl>
                                          </p:spTgt>
                                        </p:tgtEl>
                                      </p:cBhvr>
                                    </p:animEffect>
                                  </p:childTnLst>
                                </p:cTn>
                              </p:par>
                              <p:par>
                                <p:cTn fill="hold" nodeType="withEffect" presetClass="entr" presetID="10" presetSubtype="0">
                                  <p:stCondLst>
                                    <p:cond delay="0"/>
                                  </p:stCondLst>
                                  <p:childTnLst>
                                    <p:set>
                                      <p:cBhvr>
                                        <p:cTn dur="1" fill="hold">
                                          <p:stCondLst>
                                            <p:cond delay="0"/>
                                          </p:stCondLst>
                                        </p:cTn>
                                        <p:tgtEl>
                                          <p:spTgt spid="75">
                                            <p:txEl>
                                              <p:pRg end="6" st="6"/>
                                            </p:txEl>
                                          </p:spTgt>
                                        </p:tgtEl>
                                        <p:attrNameLst>
                                          <p:attrName>style.visibility</p:attrName>
                                        </p:attrNameLst>
                                      </p:cBhvr>
                                      <p:to>
                                        <p:strVal val="visible"/>
                                      </p:to>
                                    </p:set>
                                    <p:animEffect filter="fade" transition="in">
                                      <p:cBhvr>
                                        <p:cTn dur="500"/>
                                        <p:tgtEl>
                                          <p:spTgt spid="75">
                                            <p:txEl>
                                              <p:pRg end="6" st="6"/>
                                            </p:txEl>
                                          </p:spTgt>
                                        </p:tgtEl>
                                      </p:cBhvr>
                                    </p:animEffect>
                                  </p:childTnLst>
                                </p:cTn>
                              </p:par>
                              <p:par>
                                <p:cTn fill="hold" nodeType="withEffect" presetClass="entr" presetID="10" presetSubtype="0">
                                  <p:stCondLst>
                                    <p:cond delay="0"/>
                                  </p:stCondLst>
                                  <p:childTnLst>
                                    <p:set>
                                      <p:cBhvr>
                                        <p:cTn dur="1" fill="hold">
                                          <p:stCondLst>
                                            <p:cond delay="0"/>
                                          </p:stCondLst>
                                        </p:cTn>
                                        <p:tgtEl>
                                          <p:spTgt spid="75">
                                            <p:txEl>
                                              <p:pRg end="7" st="7"/>
                                            </p:txEl>
                                          </p:spTgt>
                                        </p:tgtEl>
                                        <p:attrNameLst>
                                          <p:attrName>style.visibility</p:attrName>
                                        </p:attrNameLst>
                                      </p:cBhvr>
                                      <p:to>
                                        <p:strVal val="visible"/>
                                      </p:to>
                                    </p:set>
                                    <p:animEffect filter="fade" transition="in">
                                      <p:cBhvr>
                                        <p:cTn dur="500"/>
                                        <p:tgtEl>
                                          <p:spTgt spid="75">
                                            <p:txEl>
                                              <p:pRg end="7" st="7"/>
                                            </p:txEl>
                                          </p:spTgt>
                                        </p:tgtEl>
                                      </p:cBhvr>
                                    </p:animEffect>
                                  </p:childTnLst>
                                </p:cTn>
                              </p:par>
                              <p:par>
                                <p:cTn fill="hold" nodeType="withEffect" presetClass="entr" presetID="10" presetSubtype="0">
                                  <p:stCondLst>
                                    <p:cond delay="0"/>
                                  </p:stCondLst>
                                  <p:childTnLst>
                                    <p:set>
                                      <p:cBhvr>
                                        <p:cTn dur="1" fill="hold">
                                          <p:stCondLst>
                                            <p:cond delay="0"/>
                                          </p:stCondLst>
                                        </p:cTn>
                                        <p:tgtEl>
                                          <p:spTgt spid="75">
                                            <p:txEl>
                                              <p:pRg end="8" st="8"/>
                                            </p:txEl>
                                          </p:spTgt>
                                        </p:tgtEl>
                                        <p:attrNameLst>
                                          <p:attrName>style.visibility</p:attrName>
                                        </p:attrNameLst>
                                      </p:cBhvr>
                                      <p:to>
                                        <p:strVal val="visible"/>
                                      </p:to>
                                    </p:set>
                                    <p:animEffect filter="fade" transition="in">
                                      <p:cBhvr>
                                        <p:cTn dur="500"/>
                                        <p:tgtEl>
                                          <p:spTgt spid="75">
                                            <p:txEl>
                                              <p:pRg end="8" st="8"/>
                                            </p:txEl>
                                          </p:spTgt>
                                        </p:tgtEl>
                                      </p:cBhvr>
                                    </p:animEffect>
                                  </p:childTnLst>
                                </p:cTn>
                              </p:par>
                            </p:childTnLst>
                          </p:cTn>
                        </p:par>
                      </p:childTnLst>
                    </p:cTn>
                  </p:par>
                </p:childTnLst>
              </p:cTn>
              <p:prevCondLst>
                <p:cond evt="onPrev">
                  <p:tgtEl>
                    <p:sldTgt/>
                  </p:tgtEl>
                </p:cond>
              </p:prevCondLst>
              <p:nextCondLst>
                <p:cond evt="onNext">
                  <p:tgtEl>
                    <p:sldTgt/>
                  </p:tgtEl>
                </p:cond>
              </p:nextCondLst>
            </p:seq>
          </p:childTnLst>
        </p:cTn>
      </p:par>
    </p:tnLst>
  </p:timing>
</p:sldLayout>
</file>

<file path=ppt/slideLayouts/slideLayout1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matchingName="Footer Only">
  <p:cSld name="Footer Only">
    <p:spTree>
      <p:nvGrpSpPr>
        <p:cNvPr id="76" name="Shape 76"/>
        <p:cNvGrpSpPr/>
        <p:nvPr/>
      </p:nvGrpSpPr>
      <p:grpSpPr>
        <a:xfrm>
          <a:off x="0" y="0"/>
          <a:ext cx="0" cy="0"/>
          <a:chOff x="0" y="0"/>
          <a:chExt cx="0" cy="0"/>
        </a:xfrm>
      </p:grpSpPr>
      <p:sp>
        <p:nvSpPr>
          <p:cNvPr id="77" name="Google Shape;77;p38"/>
          <p:cNvSpPr txBox="1"/>
          <p:nvPr>
            <p:ph idx="11" type="ftr"/>
          </p:nvPr>
        </p:nvSpPr>
        <p:spPr>
          <a:xfrm>
            <a:off x="7928904" y="6513308"/>
            <a:ext cx="4114800" cy="365125"/>
          </a:xfrm>
          <a:prstGeom prst="rect">
            <a:avLst/>
          </a:prstGeom>
          <a:noFill/>
          <a:ln>
            <a:noFill/>
          </a:ln>
        </p:spPr>
        <p:txBody>
          <a:bodyPr anchorCtr="0" anchor="ctr" bIns="45700" lIns="91425" spcFirstLastPara="1" rIns="91425" wrap="square" tIns="4570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p:txBody>
      </p:sp>
      <p:sp>
        <p:nvSpPr>
          <p:cNvPr id="78" name="Google Shape;78;p38"/>
          <p:cNvSpPr txBox="1"/>
          <p:nvPr>
            <p:ph idx="12" type="sldNum"/>
          </p:nvPr>
        </p:nvSpPr>
        <p:spPr>
          <a:xfrm>
            <a:off x="9300504" y="6126298"/>
            <a:ext cx="2743200" cy="365125"/>
          </a:xfrm>
          <a:prstGeom prst="rect">
            <a:avLst/>
          </a:prstGeom>
          <a:noFill/>
          <a:ln>
            <a:noFill/>
          </a:ln>
        </p:spPr>
        <p:txBody>
          <a:bodyPr anchorCtr="0" anchor="ctr" bIns="45700" lIns="91425" spcFirstLastPara="1" rIns="91425" wrap="square" tIns="45700">
            <a:noAutofit/>
          </a:bodyPr>
          <a:lstStyle>
            <a:lvl1pPr indent="0" lvl="0" marL="0" algn="r">
              <a:spcBef>
                <a:spcPts val="0"/>
              </a:spcBef>
              <a:buNone/>
              <a:defRPr/>
            </a:lvl1pPr>
            <a:lvl2pPr indent="0" lvl="1" marL="0" algn="r">
              <a:spcBef>
                <a:spcPts val="0"/>
              </a:spcBef>
              <a:buNone/>
              <a:defRPr/>
            </a:lvl2pPr>
            <a:lvl3pPr indent="0" lvl="2" marL="0" algn="r">
              <a:spcBef>
                <a:spcPts val="0"/>
              </a:spcBef>
              <a:buNone/>
              <a:defRPr/>
            </a:lvl3pPr>
            <a:lvl4pPr indent="0" lvl="3" marL="0" algn="r">
              <a:spcBef>
                <a:spcPts val="0"/>
              </a:spcBef>
              <a:buNone/>
              <a:defRPr/>
            </a:lvl4pPr>
            <a:lvl5pPr indent="0" lvl="4" marL="0" algn="r">
              <a:spcBef>
                <a:spcPts val="0"/>
              </a:spcBef>
              <a:buNone/>
              <a:defRPr/>
            </a:lvl5pPr>
            <a:lvl6pPr indent="0" lvl="5" marL="0" algn="r">
              <a:spcBef>
                <a:spcPts val="0"/>
              </a:spcBef>
              <a:buNone/>
              <a:defRPr/>
            </a:lvl6pPr>
            <a:lvl7pPr indent="0" lvl="6" marL="0" algn="r">
              <a:spcBef>
                <a:spcPts val="0"/>
              </a:spcBef>
              <a:buNone/>
              <a:defRPr/>
            </a:lvl7pPr>
            <a:lvl8pPr indent="0" lvl="7" marL="0" algn="r">
              <a:spcBef>
                <a:spcPts val="0"/>
              </a:spcBef>
              <a:buNone/>
              <a:defRPr/>
            </a:lvl8pPr>
            <a:lvl9pPr indent="0" lvl="8" marL="0" algn="r">
              <a:spcBef>
                <a:spcPts val="0"/>
              </a:spcBef>
              <a:buNone/>
              <a:defRPr/>
            </a:lvl9p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matchingName="Background Only: Blue" showMasterSp="0">
  <p:cSld name="Background Only: Blue">
    <p:bg>
      <p:bgPr>
        <a:solidFill>
          <a:schemeClr val="accent1"/>
        </a:solidFill>
      </p:bgPr>
    </p:bg>
    <p:spTree>
      <p:nvGrpSpPr>
        <p:cNvPr id="79" name="Shape 79"/>
        <p:cNvGrpSpPr/>
        <p:nvPr/>
      </p:nvGrpSpPr>
      <p:grpSpPr>
        <a:xfrm>
          <a:off x="0" y="0"/>
          <a:ext cx="0" cy="0"/>
          <a:chOff x="0" y="0"/>
          <a:chExt cx="0" cy="0"/>
        </a:xfrm>
      </p:grpSpPr>
      <p:sp>
        <p:nvSpPr>
          <p:cNvPr id="80" name="Google Shape;80;p39"/>
          <p:cNvSpPr/>
          <p:nvPr/>
        </p:nvSpPr>
        <p:spPr>
          <a:xfrm flipH="1" rot="5400000">
            <a:off x="3766429" y="-3766429"/>
            <a:ext cx="4659141" cy="12191999"/>
          </a:xfrm>
          <a:custGeom>
            <a:rect b="b" l="l" r="r" t="t"/>
            <a:pathLst>
              <a:path extrusionOk="0" h="12191999" w="4659141">
                <a:moveTo>
                  <a:pt x="0" y="12191999"/>
                </a:moveTo>
                <a:lnTo>
                  <a:pt x="4659141" y="12191999"/>
                </a:lnTo>
                <a:lnTo>
                  <a:pt x="4659141" y="0"/>
                </a:lnTo>
                <a:lnTo>
                  <a:pt x="4071885" y="0"/>
                </a:lnTo>
                <a:close/>
              </a:path>
            </a:pathLst>
          </a:custGeom>
          <a:solidFill>
            <a:srgbClr val="000000">
              <a:alpha val="9803"/>
            </a:srgbClr>
          </a:solidFill>
          <a:ln>
            <a:noFill/>
          </a:ln>
        </p:spPr>
        <p:txBody>
          <a:bodyPr anchorCtr="0" anchor="ctr" bIns="45700" lIns="91425" spcFirstLastPara="1" rIns="91425" wrap="square" tIns="45700">
            <a:noAutofit/>
          </a:bodyPr>
          <a:lstStyle/>
          <a:p>
            <a:pPr indent="0" lvl="0" marL="0" marR="0" rtl="0" algn="ctr">
              <a:spcBef>
                <a:spcPts val="0"/>
              </a:spcBef>
              <a:spcAft>
                <a:spcPts val="0"/>
              </a:spcAft>
              <a:buNone/>
            </a:pPr>
            <a:r>
              <a:rPr lang="en-US" sz="1800">
                <a:solidFill>
                  <a:schemeClr val="lt1"/>
                </a:solidFill>
                <a:latin typeface="Arial"/>
                <a:ea typeface="Arial"/>
                <a:cs typeface="Arial"/>
                <a:sym typeface="Arial"/>
              </a:rPr>
              <a:t> </a:t>
            </a:r>
            <a:endParaRPr/>
          </a:p>
        </p:txBody>
      </p:sp>
      <p:sp>
        <p:nvSpPr>
          <p:cNvPr id="81" name="Google Shape;81;p39"/>
          <p:cNvSpPr/>
          <p:nvPr/>
        </p:nvSpPr>
        <p:spPr>
          <a:xfrm flipH="1" rot="10800000">
            <a:off x="10618986" y="0"/>
            <a:ext cx="1573014" cy="4709905"/>
          </a:xfrm>
          <a:custGeom>
            <a:rect b="b" l="l" r="r" t="t"/>
            <a:pathLst>
              <a:path extrusionOk="0" h="4709905" w="1573014">
                <a:moveTo>
                  <a:pt x="0" y="4709905"/>
                </a:moveTo>
                <a:lnTo>
                  <a:pt x="1573014" y="4709905"/>
                </a:lnTo>
                <a:lnTo>
                  <a:pt x="1573014" y="0"/>
                </a:lnTo>
                <a:close/>
              </a:path>
            </a:pathLst>
          </a:custGeom>
          <a:solidFill>
            <a:srgbClr val="000000">
              <a:alpha val="9803"/>
            </a:srgbClr>
          </a:solidFill>
          <a:ln>
            <a:noFill/>
          </a:ln>
        </p:spPr>
        <p:txBody>
          <a:bodyPr anchorCtr="0" anchor="ctr" bIns="45700" lIns="91425" spcFirstLastPara="1" rIns="91425" wrap="square" tIns="45700">
            <a:noAutofit/>
          </a:bodyPr>
          <a:lstStyle/>
          <a:p>
            <a:pPr indent="0" lvl="0" marL="0" marR="0" rtl="0" algn="ctr">
              <a:spcBef>
                <a:spcPts val="0"/>
              </a:spcBef>
              <a:spcAft>
                <a:spcPts val="0"/>
              </a:spcAft>
              <a:buNone/>
            </a:pPr>
            <a:r>
              <a:t/>
            </a:r>
            <a:endParaRPr sz="1800">
              <a:solidFill>
                <a:schemeClr val="lt1"/>
              </a:solidFill>
              <a:latin typeface="Arial"/>
              <a:ea typeface="Arial"/>
              <a:cs typeface="Arial"/>
              <a:sym typeface="Aria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matchingName="Content" type="obj">
  <p:cSld name="OBJECT">
    <p:spTree>
      <p:nvGrpSpPr>
        <p:cNvPr id="24" name="Shape 24"/>
        <p:cNvGrpSpPr/>
        <p:nvPr/>
      </p:nvGrpSpPr>
      <p:grpSpPr>
        <a:xfrm>
          <a:off x="0" y="0"/>
          <a:ext cx="0" cy="0"/>
          <a:chOff x="0" y="0"/>
          <a:chExt cx="0" cy="0"/>
        </a:xfrm>
      </p:grpSpPr>
      <p:sp>
        <p:nvSpPr>
          <p:cNvPr id="25" name="Google Shape;25;p28"/>
          <p:cNvSpPr txBox="1"/>
          <p:nvPr>
            <p:ph type="title"/>
          </p:nvPr>
        </p:nvSpPr>
        <p:spPr>
          <a:xfrm>
            <a:off x="838200" y="365125"/>
            <a:ext cx="10515600" cy="480131"/>
          </a:xfrm>
          <a:prstGeom prst="rect">
            <a:avLst/>
          </a:prstGeom>
          <a:noFill/>
          <a:ln>
            <a:noFill/>
          </a:ln>
        </p:spPr>
        <p:txBody>
          <a:bodyPr anchorCtr="0" anchor="t" bIns="45700" lIns="0" spcFirstLastPara="1" rIns="0" wrap="square" tIns="45700">
            <a:spAutoFit/>
          </a:bodyPr>
          <a:lstStyle>
            <a:lvl1pPr lvl="0" algn="l">
              <a:lnSpc>
                <a:spcPct val="90000"/>
              </a:lnSpc>
              <a:spcBef>
                <a:spcPts val="0"/>
              </a:spcBef>
              <a:spcAft>
                <a:spcPts val="0"/>
              </a:spcAft>
              <a:buClr>
                <a:srgbClr val="C5093B"/>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p:txBody>
      </p:sp>
      <p:sp>
        <p:nvSpPr>
          <p:cNvPr id="26" name="Google Shape;26;p28"/>
          <p:cNvSpPr txBox="1"/>
          <p:nvPr>
            <p:ph idx="1" type="body"/>
          </p:nvPr>
        </p:nvSpPr>
        <p:spPr>
          <a:xfrm>
            <a:off x="838200" y="1310108"/>
            <a:ext cx="10515600" cy="4351338"/>
          </a:xfrm>
          <a:prstGeom prst="rect">
            <a:avLst/>
          </a:prstGeom>
          <a:noFill/>
          <a:ln>
            <a:noFill/>
          </a:ln>
        </p:spPr>
        <p:txBody>
          <a:bodyPr anchorCtr="0" anchor="t" bIns="45700" lIns="0" spcFirstLastPara="1" rIns="0" wrap="square" tIns="45700">
            <a:normAutofit/>
          </a:bodyPr>
          <a:lstStyle>
            <a:lvl1pPr indent="-228600" lvl="0" marL="457200" algn="l">
              <a:lnSpc>
                <a:spcPct val="113000"/>
              </a:lnSpc>
              <a:spcBef>
                <a:spcPts val="800"/>
              </a:spcBef>
              <a:spcAft>
                <a:spcPts val="0"/>
              </a:spcAft>
              <a:buClr>
                <a:schemeClr val="dk2"/>
              </a:buClr>
              <a:buSzPts val="1800"/>
              <a:buNone/>
              <a:defRPr/>
            </a:lvl1pPr>
            <a:lvl2pPr indent="-228600" lvl="1" marL="914400" algn="l">
              <a:lnSpc>
                <a:spcPct val="113000"/>
              </a:lnSpc>
              <a:spcBef>
                <a:spcPts val="800"/>
              </a:spcBef>
              <a:spcAft>
                <a:spcPts val="0"/>
              </a:spcAft>
              <a:buClr>
                <a:schemeClr val="dk2"/>
              </a:buClr>
              <a:buSzPts val="1800"/>
              <a:buNone/>
              <a:defRPr/>
            </a:lvl2pPr>
            <a:lvl3pPr indent="-228600" lvl="2" marL="1371600" algn="l">
              <a:lnSpc>
                <a:spcPct val="113000"/>
              </a:lnSpc>
              <a:spcBef>
                <a:spcPts val="800"/>
              </a:spcBef>
              <a:spcAft>
                <a:spcPts val="0"/>
              </a:spcAft>
              <a:buClr>
                <a:schemeClr val="dk2"/>
              </a:buClr>
              <a:buSzPts val="1800"/>
              <a:buNone/>
              <a:defRPr/>
            </a:lvl3pPr>
            <a:lvl4pPr indent="-228600" lvl="3" marL="1828800" algn="l">
              <a:lnSpc>
                <a:spcPct val="113000"/>
              </a:lnSpc>
              <a:spcBef>
                <a:spcPts val="800"/>
              </a:spcBef>
              <a:spcAft>
                <a:spcPts val="0"/>
              </a:spcAft>
              <a:buClr>
                <a:schemeClr val="dk2"/>
              </a:buClr>
              <a:buSzPts val="1800"/>
              <a:buNone/>
              <a:defRPr/>
            </a:lvl4pPr>
            <a:lvl5pPr indent="-228600" lvl="4" marL="2286000" algn="l">
              <a:lnSpc>
                <a:spcPct val="113000"/>
              </a:lnSpc>
              <a:spcBef>
                <a:spcPts val="800"/>
              </a:spcBef>
              <a:spcAft>
                <a:spcPts val="0"/>
              </a:spcAft>
              <a:buClr>
                <a:schemeClr val="dk2"/>
              </a:buClr>
              <a:buSzPts val="1800"/>
              <a:buNone/>
              <a:defRPr/>
            </a:lvl5pPr>
            <a:lvl6pPr indent="-342900" lvl="5" marL="2743200" algn="l">
              <a:lnSpc>
                <a:spcPct val="90000"/>
              </a:lnSpc>
              <a:spcBef>
                <a:spcPts val="500"/>
              </a:spcBef>
              <a:spcAft>
                <a:spcPts val="0"/>
              </a:spcAft>
              <a:buClr>
                <a:schemeClr val="dk1"/>
              </a:buClr>
              <a:buSzPts val="1800"/>
              <a:buChar char="•"/>
              <a:defRPr/>
            </a:lvl6pPr>
            <a:lvl7pPr indent="-342900" lvl="6" marL="3200400" algn="l">
              <a:lnSpc>
                <a:spcPct val="90000"/>
              </a:lnSpc>
              <a:spcBef>
                <a:spcPts val="500"/>
              </a:spcBef>
              <a:spcAft>
                <a:spcPts val="0"/>
              </a:spcAft>
              <a:buClr>
                <a:schemeClr val="dk1"/>
              </a:buClr>
              <a:buSzPts val="1800"/>
              <a:buChar char="•"/>
              <a:defRPr/>
            </a:lvl7pPr>
            <a:lvl8pPr indent="-342900" lvl="7" marL="3657600" algn="l">
              <a:lnSpc>
                <a:spcPct val="90000"/>
              </a:lnSpc>
              <a:spcBef>
                <a:spcPts val="500"/>
              </a:spcBef>
              <a:spcAft>
                <a:spcPts val="0"/>
              </a:spcAft>
              <a:buClr>
                <a:schemeClr val="dk1"/>
              </a:buClr>
              <a:buSzPts val="1800"/>
              <a:buChar char="•"/>
              <a:defRPr/>
            </a:lvl8pPr>
            <a:lvl9pPr indent="-342900" lvl="8" marL="4114800" algn="l">
              <a:lnSpc>
                <a:spcPct val="90000"/>
              </a:lnSpc>
              <a:spcBef>
                <a:spcPts val="500"/>
              </a:spcBef>
              <a:spcAft>
                <a:spcPts val="0"/>
              </a:spcAft>
              <a:buClr>
                <a:schemeClr val="dk1"/>
              </a:buClr>
              <a:buSzPts val="1800"/>
              <a:buChar char="•"/>
              <a:defRPr/>
            </a:lvl9pPr>
          </a:lstStyle>
          <a:p/>
        </p:txBody>
      </p:sp>
      <p:sp>
        <p:nvSpPr>
          <p:cNvPr id="27" name="Google Shape;27;p28"/>
          <p:cNvSpPr txBox="1"/>
          <p:nvPr>
            <p:ph idx="11" type="ftr"/>
          </p:nvPr>
        </p:nvSpPr>
        <p:spPr>
          <a:xfrm>
            <a:off x="7928904" y="6513308"/>
            <a:ext cx="4114800" cy="365125"/>
          </a:xfrm>
          <a:prstGeom prst="rect">
            <a:avLst/>
          </a:prstGeom>
          <a:noFill/>
          <a:ln>
            <a:noFill/>
          </a:ln>
        </p:spPr>
        <p:txBody>
          <a:bodyPr anchorCtr="0" anchor="ctr" bIns="45700" lIns="91425" spcFirstLastPara="1" rIns="91425" wrap="square" tIns="4570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p:txBody>
      </p:sp>
      <p:sp>
        <p:nvSpPr>
          <p:cNvPr id="28" name="Google Shape;28;p28"/>
          <p:cNvSpPr txBox="1"/>
          <p:nvPr>
            <p:ph idx="12" type="sldNum"/>
          </p:nvPr>
        </p:nvSpPr>
        <p:spPr>
          <a:xfrm>
            <a:off x="9300504" y="6126298"/>
            <a:ext cx="2743200" cy="365125"/>
          </a:xfrm>
          <a:prstGeom prst="rect">
            <a:avLst/>
          </a:prstGeom>
          <a:noFill/>
          <a:ln>
            <a:noFill/>
          </a:ln>
        </p:spPr>
        <p:txBody>
          <a:bodyPr anchorCtr="0" anchor="ctr" bIns="45700" lIns="91425" spcFirstLastPara="1" rIns="91425" wrap="square" tIns="45700">
            <a:noAutofit/>
          </a:bodyPr>
          <a:lstStyle>
            <a:lvl1pPr indent="0" lvl="0" marL="0" algn="r">
              <a:spcBef>
                <a:spcPts val="0"/>
              </a:spcBef>
              <a:buNone/>
              <a:defRPr/>
            </a:lvl1pPr>
            <a:lvl2pPr indent="0" lvl="1" marL="0" algn="r">
              <a:spcBef>
                <a:spcPts val="0"/>
              </a:spcBef>
              <a:buNone/>
              <a:defRPr/>
            </a:lvl2pPr>
            <a:lvl3pPr indent="0" lvl="2" marL="0" algn="r">
              <a:spcBef>
                <a:spcPts val="0"/>
              </a:spcBef>
              <a:buNone/>
              <a:defRPr/>
            </a:lvl3pPr>
            <a:lvl4pPr indent="0" lvl="3" marL="0" algn="r">
              <a:spcBef>
                <a:spcPts val="0"/>
              </a:spcBef>
              <a:buNone/>
              <a:defRPr/>
            </a:lvl4pPr>
            <a:lvl5pPr indent="0" lvl="4" marL="0" algn="r">
              <a:spcBef>
                <a:spcPts val="0"/>
              </a:spcBef>
              <a:buNone/>
              <a:defRPr/>
            </a:lvl5pPr>
            <a:lvl6pPr indent="0" lvl="5" marL="0" algn="r">
              <a:spcBef>
                <a:spcPts val="0"/>
              </a:spcBef>
              <a:buNone/>
              <a:defRPr/>
            </a:lvl6pPr>
            <a:lvl7pPr indent="0" lvl="6" marL="0" algn="r">
              <a:spcBef>
                <a:spcPts val="0"/>
              </a:spcBef>
              <a:buNone/>
              <a:defRPr/>
            </a:lvl7pPr>
            <a:lvl8pPr indent="0" lvl="7" marL="0" algn="r">
              <a:spcBef>
                <a:spcPts val="0"/>
              </a:spcBef>
              <a:buNone/>
              <a:defRPr/>
            </a:lvl8pPr>
            <a:lvl9pPr indent="0" lvl="8" marL="0" algn="r">
              <a:spcBef>
                <a:spcPts val="0"/>
              </a:spcBef>
              <a:buNone/>
              <a:defRPr/>
            </a:lvl9p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matchingName="Segue Blue">
  <p:cSld name="Segue Blue">
    <p:bg>
      <p:bgPr>
        <a:solidFill>
          <a:schemeClr val="dk2"/>
        </a:solidFill>
      </p:bgPr>
    </p:bg>
    <p:spTree>
      <p:nvGrpSpPr>
        <p:cNvPr id="29" name="Shape 29"/>
        <p:cNvGrpSpPr/>
        <p:nvPr/>
      </p:nvGrpSpPr>
      <p:grpSpPr>
        <a:xfrm>
          <a:off x="0" y="0"/>
          <a:ext cx="0" cy="0"/>
          <a:chOff x="0" y="0"/>
          <a:chExt cx="0" cy="0"/>
        </a:xfrm>
      </p:grpSpPr>
      <p:sp>
        <p:nvSpPr>
          <p:cNvPr id="30" name="Google Shape;30;p29"/>
          <p:cNvSpPr txBox="1"/>
          <p:nvPr>
            <p:ph type="title"/>
          </p:nvPr>
        </p:nvSpPr>
        <p:spPr>
          <a:xfrm>
            <a:off x="583859" y="3044279"/>
            <a:ext cx="11021657" cy="769442"/>
          </a:xfrm>
          <a:prstGeom prst="rect">
            <a:avLst/>
          </a:prstGeom>
          <a:noFill/>
          <a:ln>
            <a:noFill/>
          </a:ln>
        </p:spPr>
        <p:txBody>
          <a:bodyPr anchorCtr="0" anchor="ctr" bIns="0" lIns="0" spcFirstLastPara="1" rIns="0" wrap="square" tIns="0">
            <a:spAutoFit/>
          </a:bodyPr>
          <a:lstStyle>
            <a:lvl1pPr lvl="0" algn="l">
              <a:lnSpc>
                <a:spcPct val="90000"/>
              </a:lnSpc>
              <a:spcBef>
                <a:spcPts val="0"/>
              </a:spcBef>
              <a:spcAft>
                <a:spcPts val="0"/>
              </a:spcAft>
              <a:buClr>
                <a:schemeClr val="lt1"/>
              </a:buClr>
              <a:buSzPts val="4999"/>
              <a:buFont typeface="Arial"/>
              <a:buNone/>
              <a:defRPr sz="4999">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matchingName="Title Only" type="titleOnly">
  <p:cSld name="TITLE_ONLY">
    <p:spTree>
      <p:nvGrpSpPr>
        <p:cNvPr id="31" name="Shape 31"/>
        <p:cNvGrpSpPr/>
        <p:nvPr/>
      </p:nvGrpSpPr>
      <p:grpSpPr>
        <a:xfrm>
          <a:off x="0" y="0"/>
          <a:ext cx="0" cy="0"/>
          <a:chOff x="0" y="0"/>
          <a:chExt cx="0" cy="0"/>
        </a:xfrm>
      </p:grpSpPr>
      <p:sp>
        <p:nvSpPr>
          <p:cNvPr id="32" name="Google Shape;32;p30"/>
          <p:cNvSpPr txBox="1"/>
          <p:nvPr>
            <p:ph type="title"/>
          </p:nvPr>
        </p:nvSpPr>
        <p:spPr>
          <a:xfrm>
            <a:off x="838200" y="365125"/>
            <a:ext cx="10515600" cy="480131"/>
          </a:xfrm>
          <a:prstGeom prst="rect">
            <a:avLst/>
          </a:prstGeom>
          <a:noFill/>
          <a:ln>
            <a:noFill/>
          </a:ln>
        </p:spPr>
        <p:txBody>
          <a:bodyPr anchorCtr="0" anchor="t" bIns="45700" lIns="0" spcFirstLastPara="1" rIns="0" wrap="square" tIns="45700">
            <a:spAutoFit/>
          </a:bodyPr>
          <a:lstStyle>
            <a:lvl1pPr lvl="0" algn="l">
              <a:lnSpc>
                <a:spcPct val="90000"/>
              </a:lnSpc>
              <a:spcBef>
                <a:spcPts val="0"/>
              </a:spcBef>
              <a:spcAft>
                <a:spcPts val="0"/>
              </a:spcAft>
              <a:buClr>
                <a:srgbClr val="C5093B"/>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p:txBody>
      </p:sp>
      <p:sp>
        <p:nvSpPr>
          <p:cNvPr id="33" name="Google Shape;33;p30"/>
          <p:cNvSpPr txBox="1"/>
          <p:nvPr>
            <p:ph idx="11" type="ftr"/>
          </p:nvPr>
        </p:nvSpPr>
        <p:spPr>
          <a:xfrm>
            <a:off x="7928904" y="6513308"/>
            <a:ext cx="4114800" cy="365125"/>
          </a:xfrm>
          <a:prstGeom prst="rect">
            <a:avLst/>
          </a:prstGeom>
          <a:noFill/>
          <a:ln>
            <a:noFill/>
          </a:ln>
        </p:spPr>
        <p:txBody>
          <a:bodyPr anchorCtr="0" anchor="ctr" bIns="45700" lIns="91425" spcFirstLastPara="1" rIns="91425" wrap="square" tIns="4570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p:txBody>
      </p:sp>
      <p:sp>
        <p:nvSpPr>
          <p:cNvPr id="34" name="Google Shape;34;p30"/>
          <p:cNvSpPr txBox="1"/>
          <p:nvPr>
            <p:ph idx="12" type="sldNum"/>
          </p:nvPr>
        </p:nvSpPr>
        <p:spPr>
          <a:xfrm>
            <a:off x="9300504" y="6126298"/>
            <a:ext cx="2743200" cy="365125"/>
          </a:xfrm>
          <a:prstGeom prst="rect">
            <a:avLst/>
          </a:prstGeom>
          <a:noFill/>
          <a:ln>
            <a:noFill/>
          </a:ln>
        </p:spPr>
        <p:txBody>
          <a:bodyPr anchorCtr="0" anchor="ctr" bIns="45700" lIns="91425" spcFirstLastPara="1" rIns="91425" wrap="square" tIns="45700">
            <a:noAutofit/>
          </a:bodyPr>
          <a:lstStyle>
            <a:lvl1pPr indent="0" lvl="0" marL="0" algn="r">
              <a:spcBef>
                <a:spcPts val="0"/>
              </a:spcBef>
              <a:buNone/>
              <a:defRPr/>
            </a:lvl1pPr>
            <a:lvl2pPr indent="0" lvl="1" marL="0" algn="r">
              <a:spcBef>
                <a:spcPts val="0"/>
              </a:spcBef>
              <a:buNone/>
              <a:defRPr/>
            </a:lvl2pPr>
            <a:lvl3pPr indent="0" lvl="2" marL="0" algn="r">
              <a:spcBef>
                <a:spcPts val="0"/>
              </a:spcBef>
              <a:buNone/>
              <a:defRPr/>
            </a:lvl3pPr>
            <a:lvl4pPr indent="0" lvl="3" marL="0" algn="r">
              <a:spcBef>
                <a:spcPts val="0"/>
              </a:spcBef>
              <a:buNone/>
              <a:defRPr/>
            </a:lvl4pPr>
            <a:lvl5pPr indent="0" lvl="4" marL="0" algn="r">
              <a:spcBef>
                <a:spcPts val="0"/>
              </a:spcBef>
              <a:buNone/>
              <a:defRPr/>
            </a:lvl5pPr>
            <a:lvl6pPr indent="0" lvl="5" marL="0" algn="r">
              <a:spcBef>
                <a:spcPts val="0"/>
              </a:spcBef>
              <a:buNone/>
              <a:defRPr/>
            </a:lvl6pPr>
            <a:lvl7pPr indent="0" lvl="6" marL="0" algn="r">
              <a:spcBef>
                <a:spcPts val="0"/>
              </a:spcBef>
              <a:buNone/>
              <a:defRPr/>
            </a:lvl7pPr>
            <a:lvl8pPr indent="0" lvl="7" marL="0" algn="r">
              <a:spcBef>
                <a:spcPts val="0"/>
              </a:spcBef>
              <a:buNone/>
              <a:defRPr/>
            </a:lvl8pPr>
            <a:lvl9pPr indent="0" lvl="8" marL="0" algn="r">
              <a:spcBef>
                <a:spcPts val="0"/>
              </a:spcBef>
              <a:buNone/>
              <a:defRPr/>
            </a:lvl9p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matchingName="Section Header" showMasterSp="0" type="secHead">
  <p:cSld name="SECTION_HEADER">
    <p:bg>
      <p:bgPr>
        <a:solidFill>
          <a:schemeClr val="accent1"/>
        </a:solidFill>
      </p:bgPr>
    </p:bg>
    <p:spTree>
      <p:nvGrpSpPr>
        <p:cNvPr id="35" name="Shape 35"/>
        <p:cNvGrpSpPr/>
        <p:nvPr/>
      </p:nvGrpSpPr>
      <p:grpSpPr>
        <a:xfrm>
          <a:off x="0" y="0"/>
          <a:ext cx="0" cy="0"/>
          <a:chOff x="0" y="0"/>
          <a:chExt cx="0" cy="0"/>
        </a:xfrm>
      </p:grpSpPr>
      <p:sp>
        <p:nvSpPr>
          <p:cNvPr id="36" name="Google Shape;36;p31"/>
          <p:cNvSpPr txBox="1"/>
          <p:nvPr>
            <p:ph type="title"/>
          </p:nvPr>
        </p:nvSpPr>
        <p:spPr>
          <a:xfrm>
            <a:off x="831850" y="4026944"/>
            <a:ext cx="10515600" cy="535531"/>
          </a:xfrm>
          <a:prstGeom prst="rect">
            <a:avLst/>
          </a:prstGeom>
          <a:noFill/>
          <a:ln>
            <a:noFill/>
          </a:ln>
        </p:spPr>
        <p:txBody>
          <a:bodyPr anchorCtr="0" anchor="b" bIns="45700" lIns="0" spcFirstLastPara="1" rIns="0" wrap="square" tIns="45700">
            <a:spAutoFit/>
          </a:bodyPr>
          <a:lstStyle>
            <a:lvl1pPr lvl="0" algn="l">
              <a:lnSpc>
                <a:spcPct val="90000"/>
              </a:lnSpc>
              <a:spcBef>
                <a:spcPts val="0"/>
              </a:spcBef>
              <a:spcAft>
                <a:spcPts val="0"/>
              </a:spcAft>
              <a:buClr>
                <a:schemeClr val="lt1"/>
              </a:buClr>
              <a:buSzPts val="3200"/>
              <a:buFont typeface="Arial"/>
              <a:buNone/>
              <a:defRPr sz="3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p:txBody>
      </p:sp>
      <p:sp>
        <p:nvSpPr>
          <p:cNvPr id="37" name="Google Shape;37;p31"/>
          <p:cNvSpPr txBox="1"/>
          <p:nvPr>
            <p:ph idx="1" type="body"/>
          </p:nvPr>
        </p:nvSpPr>
        <p:spPr>
          <a:xfrm>
            <a:off x="831850" y="4589463"/>
            <a:ext cx="10515600" cy="1500187"/>
          </a:xfrm>
          <a:prstGeom prst="rect">
            <a:avLst/>
          </a:prstGeom>
          <a:noFill/>
          <a:ln>
            <a:noFill/>
          </a:ln>
        </p:spPr>
        <p:txBody>
          <a:bodyPr anchorCtr="0" anchor="t" bIns="45700" lIns="0" spcFirstLastPara="1" rIns="0" wrap="square" tIns="45700">
            <a:normAutofit/>
          </a:bodyPr>
          <a:lstStyle>
            <a:lvl1pPr indent="-228600" lvl="0" marL="457200" algn="l">
              <a:lnSpc>
                <a:spcPct val="113000"/>
              </a:lnSpc>
              <a:spcBef>
                <a:spcPts val="800"/>
              </a:spcBef>
              <a:spcAft>
                <a:spcPts val="0"/>
              </a:spcAft>
              <a:buClr>
                <a:schemeClr val="lt1"/>
              </a:buClr>
              <a:buSzPts val="2200"/>
              <a:buNone/>
              <a:defRPr sz="2200">
                <a:solidFill>
                  <a:schemeClr val="lt1"/>
                </a:solidFill>
              </a:defRPr>
            </a:lvl1pPr>
            <a:lvl2pPr indent="-228600" lvl="1" marL="914400" algn="l">
              <a:lnSpc>
                <a:spcPct val="113000"/>
              </a:lnSpc>
              <a:spcBef>
                <a:spcPts val="800"/>
              </a:spcBef>
              <a:spcAft>
                <a:spcPts val="0"/>
              </a:spcAft>
              <a:buClr>
                <a:srgbClr val="8C8C91"/>
              </a:buClr>
              <a:buSzPts val="2000"/>
              <a:buNone/>
              <a:defRPr sz="2000">
                <a:solidFill>
                  <a:srgbClr val="8C8C91"/>
                </a:solidFill>
              </a:defRPr>
            </a:lvl2pPr>
            <a:lvl3pPr indent="-228600" lvl="2" marL="1371600" algn="l">
              <a:lnSpc>
                <a:spcPct val="113000"/>
              </a:lnSpc>
              <a:spcBef>
                <a:spcPts val="800"/>
              </a:spcBef>
              <a:spcAft>
                <a:spcPts val="0"/>
              </a:spcAft>
              <a:buClr>
                <a:srgbClr val="8C8C91"/>
              </a:buClr>
              <a:buSzPts val="1800"/>
              <a:buNone/>
              <a:defRPr sz="1800">
                <a:solidFill>
                  <a:srgbClr val="8C8C91"/>
                </a:solidFill>
              </a:defRPr>
            </a:lvl3pPr>
            <a:lvl4pPr indent="-228600" lvl="3" marL="1828800" algn="l">
              <a:lnSpc>
                <a:spcPct val="113000"/>
              </a:lnSpc>
              <a:spcBef>
                <a:spcPts val="800"/>
              </a:spcBef>
              <a:spcAft>
                <a:spcPts val="0"/>
              </a:spcAft>
              <a:buClr>
                <a:srgbClr val="8C8C91"/>
              </a:buClr>
              <a:buSzPts val="1600"/>
              <a:buNone/>
              <a:defRPr sz="1600">
                <a:solidFill>
                  <a:srgbClr val="8C8C91"/>
                </a:solidFill>
              </a:defRPr>
            </a:lvl4pPr>
            <a:lvl5pPr indent="-228600" lvl="4" marL="2286000" algn="l">
              <a:lnSpc>
                <a:spcPct val="113000"/>
              </a:lnSpc>
              <a:spcBef>
                <a:spcPts val="800"/>
              </a:spcBef>
              <a:spcAft>
                <a:spcPts val="0"/>
              </a:spcAft>
              <a:buClr>
                <a:srgbClr val="8C8C91"/>
              </a:buClr>
              <a:buSzPts val="1600"/>
              <a:buNone/>
              <a:defRPr sz="1600">
                <a:solidFill>
                  <a:srgbClr val="8C8C91"/>
                </a:solidFill>
              </a:defRPr>
            </a:lvl5pPr>
            <a:lvl6pPr indent="-228600" lvl="5" marL="2743200" algn="l">
              <a:lnSpc>
                <a:spcPct val="90000"/>
              </a:lnSpc>
              <a:spcBef>
                <a:spcPts val="500"/>
              </a:spcBef>
              <a:spcAft>
                <a:spcPts val="0"/>
              </a:spcAft>
              <a:buClr>
                <a:srgbClr val="8C8C91"/>
              </a:buClr>
              <a:buSzPts val="1600"/>
              <a:buNone/>
              <a:defRPr sz="1600">
                <a:solidFill>
                  <a:srgbClr val="8C8C91"/>
                </a:solidFill>
              </a:defRPr>
            </a:lvl6pPr>
            <a:lvl7pPr indent="-228600" lvl="6" marL="3200400" algn="l">
              <a:lnSpc>
                <a:spcPct val="90000"/>
              </a:lnSpc>
              <a:spcBef>
                <a:spcPts val="500"/>
              </a:spcBef>
              <a:spcAft>
                <a:spcPts val="0"/>
              </a:spcAft>
              <a:buClr>
                <a:srgbClr val="8C8C91"/>
              </a:buClr>
              <a:buSzPts val="1600"/>
              <a:buNone/>
              <a:defRPr sz="1600">
                <a:solidFill>
                  <a:srgbClr val="8C8C91"/>
                </a:solidFill>
              </a:defRPr>
            </a:lvl7pPr>
            <a:lvl8pPr indent="-228600" lvl="7" marL="3657600" algn="l">
              <a:lnSpc>
                <a:spcPct val="90000"/>
              </a:lnSpc>
              <a:spcBef>
                <a:spcPts val="500"/>
              </a:spcBef>
              <a:spcAft>
                <a:spcPts val="0"/>
              </a:spcAft>
              <a:buClr>
                <a:srgbClr val="8C8C91"/>
              </a:buClr>
              <a:buSzPts val="1600"/>
              <a:buNone/>
              <a:defRPr sz="1600">
                <a:solidFill>
                  <a:srgbClr val="8C8C91"/>
                </a:solidFill>
              </a:defRPr>
            </a:lvl8pPr>
            <a:lvl9pPr indent="-228600" lvl="8" marL="4114800" algn="l">
              <a:lnSpc>
                <a:spcPct val="90000"/>
              </a:lnSpc>
              <a:spcBef>
                <a:spcPts val="500"/>
              </a:spcBef>
              <a:spcAft>
                <a:spcPts val="0"/>
              </a:spcAft>
              <a:buClr>
                <a:srgbClr val="8C8C91"/>
              </a:buClr>
              <a:buSzPts val="1600"/>
              <a:buNone/>
              <a:defRPr sz="1600">
                <a:solidFill>
                  <a:srgbClr val="8C8C91"/>
                </a:solidFill>
              </a:defRPr>
            </a:lvl9pPr>
          </a:lstStyle>
          <a:p/>
        </p:txBody>
      </p:sp>
      <p:sp>
        <p:nvSpPr>
          <p:cNvPr id="38" name="Google Shape;38;p31"/>
          <p:cNvSpPr/>
          <p:nvPr/>
        </p:nvSpPr>
        <p:spPr>
          <a:xfrm flipH="1" rot="10800000">
            <a:off x="9377707" y="0"/>
            <a:ext cx="2814298" cy="6858000"/>
          </a:xfrm>
          <a:custGeom>
            <a:rect b="b" l="l" r="r" t="t"/>
            <a:pathLst>
              <a:path extrusionOk="0" h="6858000" w="2814298">
                <a:moveTo>
                  <a:pt x="0" y="6858000"/>
                </a:moveTo>
                <a:lnTo>
                  <a:pt x="2814298" y="6858000"/>
                </a:lnTo>
                <a:lnTo>
                  <a:pt x="2814298" y="0"/>
                </a:lnTo>
                <a:lnTo>
                  <a:pt x="2290436" y="0"/>
                </a:lnTo>
                <a:close/>
              </a:path>
            </a:pathLst>
          </a:custGeom>
          <a:solidFill>
            <a:srgbClr val="000000">
              <a:alpha val="9803"/>
            </a:srgbClr>
          </a:solidFill>
          <a:ln>
            <a:noFill/>
          </a:ln>
        </p:spPr>
        <p:txBody>
          <a:bodyPr anchorCtr="0" anchor="ctr" bIns="45700" lIns="91425" spcFirstLastPara="1" rIns="91425" wrap="square" tIns="45700">
            <a:noAutofit/>
          </a:bodyPr>
          <a:lstStyle/>
          <a:p>
            <a:pPr indent="0" lvl="0" marL="0" marR="0" rtl="0" algn="ctr">
              <a:spcBef>
                <a:spcPts val="0"/>
              </a:spcBef>
              <a:spcAft>
                <a:spcPts val="0"/>
              </a:spcAft>
              <a:buNone/>
            </a:pPr>
            <a:r>
              <a:t/>
            </a:r>
            <a:endParaRPr sz="1800">
              <a:solidFill>
                <a:schemeClr val="lt1"/>
              </a:solidFill>
              <a:latin typeface="Arial"/>
              <a:ea typeface="Arial"/>
              <a:cs typeface="Arial"/>
              <a:sym typeface="Arial"/>
            </a:endParaRPr>
          </a:p>
        </p:txBody>
      </p:sp>
      <p:sp>
        <p:nvSpPr>
          <p:cNvPr id="39" name="Google Shape;39;p31"/>
          <p:cNvSpPr/>
          <p:nvPr/>
        </p:nvSpPr>
        <p:spPr>
          <a:xfrm flipH="1" rot="-5400000">
            <a:off x="7922680" y="2588676"/>
            <a:ext cx="2137767" cy="6400882"/>
          </a:xfrm>
          <a:custGeom>
            <a:rect b="b" l="l" r="r" t="t"/>
            <a:pathLst>
              <a:path extrusionOk="0" h="4709905" w="1573014">
                <a:moveTo>
                  <a:pt x="0" y="4709905"/>
                </a:moveTo>
                <a:lnTo>
                  <a:pt x="1573014" y="4709905"/>
                </a:lnTo>
                <a:lnTo>
                  <a:pt x="1573014" y="0"/>
                </a:lnTo>
                <a:close/>
              </a:path>
            </a:pathLst>
          </a:custGeom>
          <a:solidFill>
            <a:srgbClr val="000000">
              <a:alpha val="9803"/>
            </a:srgbClr>
          </a:solidFill>
          <a:ln>
            <a:noFill/>
          </a:ln>
        </p:spPr>
        <p:txBody>
          <a:bodyPr anchorCtr="0" anchor="ctr" bIns="45700" lIns="91425" spcFirstLastPara="1" rIns="91425" wrap="square" tIns="45700">
            <a:noAutofit/>
          </a:bodyPr>
          <a:lstStyle/>
          <a:p>
            <a:pPr indent="0" lvl="0" marL="0" marR="0" rtl="0" algn="ctr">
              <a:spcBef>
                <a:spcPts val="0"/>
              </a:spcBef>
              <a:spcAft>
                <a:spcPts val="0"/>
              </a:spcAft>
              <a:buNone/>
            </a:pPr>
            <a:r>
              <a:t/>
            </a:r>
            <a:endParaRPr sz="1800">
              <a:solidFill>
                <a:schemeClr val="lt1"/>
              </a:solidFill>
              <a:latin typeface="Arial"/>
              <a:ea typeface="Arial"/>
              <a:cs typeface="Arial"/>
              <a:sym typeface="Aria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matchingName="Footer and Background" type="blank">
  <p:cSld name="BLANK">
    <p:spTree>
      <p:nvGrpSpPr>
        <p:cNvPr id="40" name="Shape 40"/>
        <p:cNvGrpSpPr/>
        <p:nvPr/>
      </p:nvGrpSpPr>
      <p:grpSpPr>
        <a:xfrm>
          <a:off x="0" y="0"/>
          <a:ext cx="0" cy="0"/>
          <a:chOff x="0" y="0"/>
          <a:chExt cx="0" cy="0"/>
        </a:xfrm>
      </p:grpSpPr>
      <p:sp>
        <p:nvSpPr>
          <p:cNvPr id="41" name="Google Shape;41;p32"/>
          <p:cNvSpPr txBox="1"/>
          <p:nvPr>
            <p:ph idx="11" type="ftr"/>
          </p:nvPr>
        </p:nvSpPr>
        <p:spPr>
          <a:xfrm>
            <a:off x="7928904" y="6513308"/>
            <a:ext cx="4114800" cy="365125"/>
          </a:xfrm>
          <a:prstGeom prst="rect">
            <a:avLst/>
          </a:prstGeom>
          <a:noFill/>
          <a:ln>
            <a:noFill/>
          </a:ln>
        </p:spPr>
        <p:txBody>
          <a:bodyPr anchorCtr="0" anchor="ctr" bIns="45700" lIns="91425" spcFirstLastPara="1" rIns="91425" wrap="square" tIns="4570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p:txBody>
      </p:sp>
      <p:sp>
        <p:nvSpPr>
          <p:cNvPr id="42" name="Google Shape;42;p32"/>
          <p:cNvSpPr txBox="1"/>
          <p:nvPr>
            <p:ph idx="12" type="sldNum"/>
          </p:nvPr>
        </p:nvSpPr>
        <p:spPr>
          <a:xfrm>
            <a:off x="9300504" y="6126298"/>
            <a:ext cx="2743200" cy="365125"/>
          </a:xfrm>
          <a:prstGeom prst="rect">
            <a:avLst/>
          </a:prstGeom>
          <a:noFill/>
          <a:ln>
            <a:noFill/>
          </a:ln>
        </p:spPr>
        <p:txBody>
          <a:bodyPr anchorCtr="0" anchor="ctr" bIns="45700" lIns="91425" spcFirstLastPara="1" rIns="91425" wrap="square" tIns="45700">
            <a:noAutofit/>
          </a:bodyPr>
          <a:lstStyle>
            <a:lvl1pPr indent="0" lvl="0" marL="0" algn="r">
              <a:spcBef>
                <a:spcPts val="0"/>
              </a:spcBef>
              <a:buNone/>
              <a:defRPr/>
            </a:lvl1pPr>
            <a:lvl2pPr indent="0" lvl="1" marL="0" algn="r">
              <a:spcBef>
                <a:spcPts val="0"/>
              </a:spcBef>
              <a:buNone/>
              <a:defRPr/>
            </a:lvl2pPr>
            <a:lvl3pPr indent="0" lvl="2" marL="0" algn="r">
              <a:spcBef>
                <a:spcPts val="0"/>
              </a:spcBef>
              <a:buNone/>
              <a:defRPr/>
            </a:lvl3pPr>
            <a:lvl4pPr indent="0" lvl="3" marL="0" algn="r">
              <a:spcBef>
                <a:spcPts val="0"/>
              </a:spcBef>
              <a:buNone/>
              <a:defRPr/>
            </a:lvl4pPr>
            <a:lvl5pPr indent="0" lvl="4" marL="0" algn="r">
              <a:spcBef>
                <a:spcPts val="0"/>
              </a:spcBef>
              <a:buNone/>
              <a:defRPr/>
            </a:lvl5pPr>
            <a:lvl6pPr indent="0" lvl="5" marL="0" algn="r">
              <a:spcBef>
                <a:spcPts val="0"/>
              </a:spcBef>
              <a:buNone/>
              <a:defRPr/>
            </a:lvl6pPr>
            <a:lvl7pPr indent="0" lvl="6" marL="0" algn="r">
              <a:spcBef>
                <a:spcPts val="0"/>
              </a:spcBef>
              <a:buNone/>
              <a:defRPr/>
            </a:lvl7pPr>
            <a:lvl8pPr indent="0" lvl="7" marL="0" algn="r">
              <a:spcBef>
                <a:spcPts val="0"/>
              </a:spcBef>
              <a:buNone/>
              <a:defRPr/>
            </a:lvl8pPr>
            <a:lvl9pPr indent="0" lvl="8" marL="0" algn="r">
              <a:spcBef>
                <a:spcPts val="0"/>
              </a:spcBef>
              <a:buNone/>
              <a:defRPr/>
            </a:lvl9pPr>
          </a:lstStyle>
          <a:p>
            <a:pPr indent="0" lvl="0" marL="0" rtl="0" algn="r">
              <a:spcBef>
                <a:spcPts val="0"/>
              </a:spcBef>
              <a:spcAft>
                <a:spcPts val="0"/>
              </a:spcAft>
              <a:buNone/>
            </a:pPr>
            <a:fld id="{00000000-1234-1234-1234-123412341234}" type="slidenum">
              <a:rPr lang="en-US"/>
              <a:t>‹#›</a:t>
            </a:fld>
            <a:endParaRPr/>
          </a:p>
        </p:txBody>
      </p:sp>
      <p:sp>
        <p:nvSpPr>
          <p:cNvPr id="43" name="Google Shape;43;p32"/>
          <p:cNvSpPr/>
          <p:nvPr/>
        </p:nvSpPr>
        <p:spPr>
          <a:xfrm flipH="1">
            <a:off x="0" y="2122400"/>
            <a:ext cx="1463201" cy="4381103"/>
          </a:xfrm>
          <a:custGeom>
            <a:rect b="b" l="l" r="r" t="t"/>
            <a:pathLst>
              <a:path extrusionOk="0" h="4381103" w="1463201">
                <a:moveTo>
                  <a:pt x="1463201" y="0"/>
                </a:moveTo>
                <a:lnTo>
                  <a:pt x="0" y="4381103"/>
                </a:lnTo>
                <a:lnTo>
                  <a:pt x="1463201" y="4381103"/>
                </a:lnTo>
                <a:close/>
              </a:path>
            </a:pathLst>
          </a:custGeom>
          <a:solidFill>
            <a:srgbClr val="000000">
              <a:alpha val="14901"/>
            </a:srgbClr>
          </a:solidFill>
          <a:ln>
            <a:noFill/>
          </a:ln>
        </p:spPr>
        <p:txBody>
          <a:bodyPr anchorCtr="0" anchor="ctr" bIns="45700" lIns="91425" spcFirstLastPara="1" rIns="91425" wrap="square" tIns="45700">
            <a:noAutofit/>
          </a:bodyPr>
          <a:lstStyle/>
          <a:p>
            <a:pPr indent="0" lvl="0" marL="0" marR="0" rtl="0" algn="ctr">
              <a:spcBef>
                <a:spcPts val="0"/>
              </a:spcBef>
              <a:spcAft>
                <a:spcPts val="0"/>
              </a:spcAft>
              <a:buNone/>
            </a:pPr>
            <a:r>
              <a:t/>
            </a:r>
            <a:endParaRPr sz="1800">
              <a:solidFill>
                <a:schemeClr val="lt1"/>
              </a:solidFill>
              <a:latin typeface="Arial"/>
              <a:ea typeface="Arial"/>
              <a:cs typeface="Arial"/>
              <a:sym typeface="Arial"/>
            </a:endParaRPr>
          </a:p>
        </p:txBody>
      </p:sp>
      <p:sp>
        <p:nvSpPr>
          <p:cNvPr id="44" name="Google Shape;44;p32"/>
          <p:cNvSpPr/>
          <p:nvPr/>
        </p:nvSpPr>
        <p:spPr>
          <a:xfrm flipH="1" rot="-5400000">
            <a:off x="3910865" y="-1777629"/>
            <a:ext cx="4370271" cy="12191998"/>
          </a:xfrm>
          <a:custGeom>
            <a:rect b="b" l="l" r="r" t="t"/>
            <a:pathLst>
              <a:path extrusionOk="0" h="9144003" w="3277705">
                <a:moveTo>
                  <a:pt x="0" y="9144003"/>
                </a:moveTo>
                <a:lnTo>
                  <a:pt x="3277705" y="9144003"/>
                </a:lnTo>
                <a:lnTo>
                  <a:pt x="3277704" y="0"/>
                </a:lnTo>
                <a:lnTo>
                  <a:pt x="3053915" y="0"/>
                </a:lnTo>
                <a:close/>
              </a:path>
            </a:pathLst>
          </a:custGeom>
          <a:solidFill>
            <a:srgbClr val="000000">
              <a:alpha val="14901"/>
            </a:srgbClr>
          </a:solidFill>
          <a:ln>
            <a:noFill/>
          </a:ln>
        </p:spPr>
        <p:txBody>
          <a:bodyPr anchorCtr="0" anchor="ctr" bIns="45700" lIns="91425" spcFirstLastPara="1" rIns="91425" wrap="square" tIns="45700">
            <a:noAutofit/>
          </a:bodyPr>
          <a:lstStyle/>
          <a:p>
            <a:pPr indent="0" lvl="0" marL="0" marR="0" rtl="0" algn="ctr">
              <a:spcBef>
                <a:spcPts val="0"/>
              </a:spcBef>
              <a:spcAft>
                <a:spcPts val="0"/>
              </a:spcAft>
              <a:buNone/>
            </a:pPr>
            <a:r>
              <a:t/>
            </a:r>
            <a:endParaRPr sz="1800">
              <a:solidFill>
                <a:schemeClr val="lt1"/>
              </a:solidFill>
              <a:latin typeface="Arial"/>
              <a:ea typeface="Arial"/>
              <a:cs typeface="Arial"/>
              <a:sym typeface="Aria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matchingName="Content: Emphasis">
  <p:cSld name="Content: Emphasis">
    <p:bg>
      <p:bgPr>
        <a:solidFill>
          <a:schemeClr val="accent1"/>
        </a:solidFill>
      </p:bgPr>
    </p:bg>
    <p:spTree>
      <p:nvGrpSpPr>
        <p:cNvPr id="45" name="Shape 45"/>
        <p:cNvGrpSpPr/>
        <p:nvPr/>
      </p:nvGrpSpPr>
      <p:grpSpPr>
        <a:xfrm>
          <a:off x="0" y="0"/>
          <a:ext cx="0" cy="0"/>
          <a:chOff x="0" y="0"/>
          <a:chExt cx="0" cy="0"/>
        </a:xfrm>
      </p:grpSpPr>
      <p:sp>
        <p:nvSpPr>
          <p:cNvPr id="46" name="Google Shape;46;p33"/>
          <p:cNvSpPr txBox="1"/>
          <p:nvPr>
            <p:ph type="title"/>
          </p:nvPr>
        </p:nvSpPr>
        <p:spPr>
          <a:xfrm>
            <a:off x="838200" y="365125"/>
            <a:ext cx="10515600" cy="480131"/>
          </a:xfrm>
          <a:prstGeom prst="rect">
            <a:avLst/>
          </a:prstGeom>
          <a:noFill/>
          <a:ln>
            <a:noFill/>
          </a:ln>
        </p:spPr>
        <p:txBody>
          <a:bodyPr anchorCtr="0" anchor="t" bIns="45700" lIns="0" spcFirstLastPara="1" rIns="0" wrap="square" tIns="45700">
            <a:spAutoFit/>
          </a:bodyPr>
          <a:lstStyle>
            <a:lvl1pPr lvl="0" algn="l">
              <a:lnSpc>
                <a:spcPct val="90000"/>
              </a:lnSpc>
              <a:spcBef>
                <a:spcPts val="0"/>
              </a:spcBef>
              <a:spcAft>
                <a:spcPts val="0"/>
              </a:spcAft>
              <a:buClr>
                <a:schemeClr val="lt1"/>
              </a:buClr>
              <a:buSzPts val="2800"/>
              <a:buFont typeface="Arial"/>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p:txBody>
      </p:sp>
      <p:sp>
        <p:nvSpPr>
          <p:cNvPr id="47" name="Google Shape;47;p33"/>
          <p:cNvSpPr txBox="1"/>
          <p:nvPr>
            <p:ph idx="1" type="body"/>
          </p:nvPr>
        </p:nvSpPr>
        <p:spPr>
          <a:xfrm>
            <a:off x="838200" y="1310108"/>
            <a:ext cx="10515600" cy="4351338"/>
          </a:xfrm>
          <a:prstGeom prst="rect">
            <a:avLst/>
          </a:prstGeom>
          <a:noFill/>
          <a:ln>
            <a:noFill/>
          </a:ln>
        </p:spPr>
        <p:txBody>
          <a:bodyPr anchorCtr="0" anchor="t" bIns="45700" lIns="0" spcFirstLastPara="1" rIns="0" wrap="square" tIns="45700">
            <a:normAutofit/>
          </a:bodyPr>
          <a:lstStyle>
            <a:lvl1pPr indent="-228600" lvl="0" marL="457200" algn="l">
              <a:lnSpc>
                <a:spcPct val="113000"/>
              </a:lnSpc>
              <a:spcBef>
                <a:spcPts val="800"/>
              </a:spcBef>
              <a:spcAft>
                <a:spcPts val="0"/>
              </a:spcAft>
              <a:buClr>
                <a:schemeClr val="lt1"/>
              </a:buClr>
              <a:buSzPts val="2200"/>
              <a:buNone/>
              <a:defRPr>
                <a:solidFill>
                  <a:schemeClr val="lt1"/>
                </a:solidFill>
              </a:defRPr>
            </a:lvl1pPr>
            <a:lvl2pPr indent="-228600" lvl="1" marL="914400" algn="l">
              <a:lnSpc>
                <a:spcPct val="113000"/>
              </a:lnSpc>
              <a:spcBef>
                <a:spcPts val="800"/>
              </a:spcBef>
              <a:spcAft>
                <a:spcPts val="0"/>
              </a:spcAft>
              <a:buClr>
                <a:schemeClr val="lt1"/>
              </a:buClr>
              <a:buSzPts val="1600"/>
              <a:buNone/>
              <a:defRPr>
                <a:solidFill>
                  <a:schemeClr val="lt1"/>
                </a:solidFill>
              </a:defRPr>
            </a:lvl2pPr>
            <a:lvl3pPr indent="-228600" lvl="2" marL="1371600" algn="l">
              <a:lnSpc>
                <a:spcPct val="113000"/>
              </a:lnSpc>
              <a:spcBef>
                <a:spcPts val="800"/>
              </a:spcBef>
              <a:spcAft>
                <a:spcPts val="0"/>
              </a:spcAft>
              <a:buClr>
                <a:schemeClr val="lt1"/>
              </a:buClr>
              <a:buSzPts val="1600"/>
              <a:buNone/>
              <a:defRPr>
                <a:solidFill>
                  <a:schemeClr val="lt1"/>
                </a:solidFill>
              </a:defRPr>
            </a:lvl3pPr>
            <a:lvl4pPr indent="-228600" lvl="3" marL="1828800" algn="l">
              <a:lnSpc>
                <a:spcPct val="113000"/>
              </a:lnSpc>
              <a:spcBef>
                <a:spcPts val="800"/>
              </a:spcBef>
              <a:spcAft>
                <a:spcPts val="0"/>
              </a:spcAft>
              <a:buClr>
                <a:schemeClr val="lt1"/>
              </a:buClr>
              <a:buSzPts val="1600"/>
              <a:buNone/>
              <a:defRPr>
                <a:solidFill>
                  <a:schemeClr val="lt1"/>
                </a:solidFill>
              </a:defRPr>
            </a:lvl4pPr>
            <a:lvl5pPr indent="-228600" lvl="4" marL="2286000" algn="l">
              <a:lnSpc>
                <a:spcPct val="113000"/>
              </a:lnSpc>
              <a:spcBef>
                <a:spcPts val="800"/>
              </a:spcBef>
              <a:spcAft>
                <a:spcPts val="0"/>
              </a:spcAft>
              <a:buClr>
                <a:schemeClr val="lt1"/>
              </a:buClr>
              <a:buSzPts val="1600"/>
              <a:buNone/>
              <a:defRPr>
                <a:solidFill>
                  <a:schemeClr val="lt1"/>
                </a:solidFill>
              </a:defRPr>
            </a:lvl5pPr>
            <a:lvl6pPr indent="-342900" lvl="5" marL="2743200" algn="l">
              <a:lnSpc>
                <a:spcPct val="90000"/>
              </a:lnSpc>
              <a:spcBef>
                <a:spcPts val="500"/>
              </a:spcBef>
              <a:spcAft>
                <a:spcPts val="0"/>
              </a:spcAft>
              <a:buClr>
                <a:schemeClr val="dk1"/>
              </a:buClr>
              <a:buSzPts val="1800"/>
              <a:buChar char="•"/>
              <a:defRPr/>
            </a:lvl6pPr>
            <a:lvl7pPr indent="-342900" lvl="6" marL="3200400" algn="l">
              <a:lnSpc>
                <a:spcPct val="90000"/>
              </a:lnSpc>
              <a:spcBef>
                <a:spcPts val="500"/>
              </a:spcBef>
              <a:spcAft>
                <a:spcPts val="0"/>
              </a:spcAft>
              <a:buClr>
                <a:schemeClr val="dk1"/>
              </a:buClr>
              <a:buSzPts val="1800"/>
              <a:buChar char="•"/>
              <a:defRPr/>
            </a:lvl7pPr>
            <a:lvl8pPr indent="-342900" lvl="7" marL="3657600" algn="l">
              <a:lnSpc>
                <a:spcPct val="90000"/>
              </a:lnSpc>
              <a:spcBef>
                <a:spcPts val="500"/>
              </a:spcBef>
              <a:spcAft>
                <a:spcPts val="0"/>
              </a:spcAft>
              <a:buClr>
                <a:schemeClr val="dk1"/>
              </a:buClr>
              <a:buSzPts val="1800"/>
              <a:buChar char="•"/>
              <a:defRPr/>
            </a:lvl8pPr>
            <a:lvl9pPr indent="-342900" lvl="8" marL="4114800" algn="l">
              <a:lnSpc>
                <a:spcPct val="90000"/>
              </a:lnSpc>
              <a:spcBef>
                <a:spcPts val="500"/>
              </a:spcBef>
              <a:spcAft>
                <a:spcPts val="0"/>
              </a:spcAft>
              <a:buClr>
                <a:schemeClr val="dk1"/>
              </a:buClr>
              <a:buSzPts val="1800"/>
              <a:buChar char="•"/>
              <a:defRPr/>
            </a:lvl9pPr>
          </a:lstStyle>
          <a:p/>
        </p:txBody>
      </p:sp>
      <p:sp>
        <p:nvSpPr>
          <p:cNvPr id="48" name="Google Shape;48;p33"/>
          <p:cNvSpPr/>
          <p:nvPr/>
        </p:nvSpPr>
        <p:spPr>
          <a:xfrm>
            <a:off x="0" y="6503504"/>
            <a:ext cx="12192000" cy="384735"/>
          </a:xfrm>
          <a:prstGeom prst="rect">
            <a:avLst/>
          </a:prstGeom>
          <a:solidFill>
            <a:srgbClr val="003D75"/>
          </a:solidFill>
          <a:ln>
            <a:noFill/>
          </a:ln>
        </p:spPr>
        <p:txBody>
          <a:bodyPr anchorCtr="0" anchor="ctr" bIns="45700" lIns="91425" spcFirstLastPara="1" rIns="91425" wrap="square" tIns="45700">
            <a:noAutofit/>
          </a:bodyPr>
          <a:lstStyle/>
          <a:p>
            <a:pPr indent="0" lvl="0" marL="0" marR="0" rtl="0" algn="ctr">
              <a:spcBef>
                <a:spcPts val="0"/>
              </a:spcBef>
              <a:spcAft>
                <a:spcPts val="0"/>
              </a:spcAft>
              <a:buNone/>
            </a:pPr>
            <a:r>
              <a:t/>
            </a:r>
            <a:endParaRPr sz="3200">
              <a:solidFill>
                <a:srgbClr val="002C77"/>
              </a:solidFill>
              <a:latin typeface="Arial"/>
              <a:ea typeface="Arial"/>
              <a:cs typeface="Arial"/>
              <a:sym typeface="Arial"/>
            </a:endParaRPr>
          </a:p>
        </p:txBody>
      </p:sp>
      <p:sp>
        <p:nvSpPr>
          <p:cNvPr id="49" name="Google Shape;49;p33"/>
          <p:cNvSpPr/>
          <p:nvPr/>
        </p:nvSpPr>
        <p:spPr>
          <a:xfrm>
            <a:off x="0" y="6503504"/>
            <a:ext cx="1600200" cy="384735"/>
          </a:xfrm>
          <a:custGeom>
            <a:rect b="b" l="l" r="r" t="t"/>
            <a:pathLst>
              <a:path extrusionOk="0" h="384735" w="1600200">
                <a:moveTo>
                  <a:pt x="0" y="0"/>
                </a:moveTo>
                <a:lnTo>
                  <a:pt x="1472137" y="0"/>
                </a:lnTo>
                <a:lnTo>
                  <a:pt x="1600200" y="384735"/>
                </a:lnTo>
                <a:lnTo>
                  <a:pt x="0" y="384735"/>
                </a:lnTo>
                <a:close/>
              </a:path>
            </a:pathLst>
          </a:custGeom>
          <a:solidFill>
            <a:srgbClr val="000000">
              <a:alpha val="20000"/>
            </a:srgbClr>
          </a:solidFill>
          <a:ln>
            <a:noFill/>
          </a:ln>
        </p:spPr>
        <p:txBody>
          <a:bodyPr anchorCtr="0" anchor="ctr" bIns="45700" lIns="91425" spcFirstLastPara="1" rIns="91425" wrap="square" tIns="45700">
            <a:noAutofit/>
          </a:bodyPr>
          <a:lstStyle/>
          <a:p>
            <a:pPr indent="0" lvl="0" marL="0" marR="0" rtl="0" algn="ctr">
              <a:spcBef>
                <a:spcPts val="0"/>
              </a:spcBef>
              <a:spcAft>
                <a:spcPts val="0"/>
              </a:spcAft>
              <a:buNone/>
            </a:pPr>
            <a:r>
              <a:t/>
            </a:r>
            <a:endParaRPr sz="1800">
              <a:solidFill>
                <a:schemeClr val="lt1"/>
              </a:solidFill>
              <a:latin typeface="Arial"/>
              <a:ea typeface="Arial"/>
              <a:cs typeface="Arial"/>
              <a:sym typeface="Arial"/>
            </a:endParaRPr>
          </a:p>
        </p:txBody>
      </p:sp>
      <p:sp>
        <p:nvSpPr>
          <p:cNvPr id="50" name="Google Shape;50;p33"/>
          <p:cNvSpPr txBox="1"/>
          <p:nvPr>
            <p:ph idx="11" type="ftr"/>
          </p:nvPr>
        </p:nvSpPr>
        <p:spPr>
          <a:xfrm>
            <a:off x="7928904" y="6513308"/>
            <a:ext cx="4114800" cy="365125"/>
          </a:xfrm>
          <a:prstGeom prst="rect">
            <a:avLst/>
          </a:prstGeom>
          <a:noFill/>
          <a:ln>
            <a:noFill/>
          </a:ln>
        </p:spPr>
        <p:txBody>
          <a:bodyPr anchorCtr="0" anchor="ctr" bIns="45700" lIns="91425" spcFirstLastPara="1" rIns="91425" wrap="square" tIns="4570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p:txBody>
      </p:sp>
      <p:sp>
        <p:nvSpPr>
          <p:cNvPr id="51" name="Google Shape;51;p33"/>
          <p:cNvSpPr txBox="1"/>
          <p:nvPr>
            <p:ph idx="12" type="sldNum"/>
          </p:nvPr>
        </p:nvSpPr>
        <p:spPr>
          <a:xfrm>
            <a:off x="9300504" y="6126298"/>
            <a:ext cx="2743200" cy="365125"/>
          </a:xfrm>
          <a:prstGeom prst="rect">
            <a:avLst/>
          </a:prstGeom>
          <a:noFill/>
          <a:ln>
            <a:noFill/>
          </a:ln>
        </p:spPr>
        <p:txBody>
          <a:bodyPr anchorCtr="0" anchor="ctr" bIns="45700" lIns="91425" spcFirstLastPara="1" rIns="91425" wrap="square" tIns="45700">
            <a:noAutofit/>
          </a:bodyPr>
          <a:lstStyle>
            <a:lvl1pPr indent="0" lvl="0" marL="0" algn="r">
              <a:spcBef>
                <a:spcPts val="0"/>
              </a:spcBef>
              <a:buNone/>
              <a:defRPr/>
            </a:lvl1pPr>
            <a:lvl2pPr indent="0" lvl="1" marL="0" algn="r">
              <a:spcBef>
                <a:spcPts val="0"/>
              </a:spcBef>
              <a:buNone/>
              <a:defRPr/>
            </a:lvl2pPr>
            <a:lvl3pPr indent="0" lvl="2" marL="0" algn="r">
              <a:spcBef>
                <a:spcPts val="0"/>
              </a:spcBef>
              <a:buNone/>
              <a:defRPr/>
            </a:lvl3pPr>
            <a:lvl4pPr indent="0" lvl="3" marL="0" algn="r">
              <a:spcBef>
                <a:spcPts val="0"/>
              </a:spcBef>
              <a:buNone/>
              <a:defRPr/>
            </a:lvl4pPr>
            <a:lvl5pPr indent="0" lvl="4" marL="0" algn="r">
              <a:spcBef>
                <a:spcPts val="0"/>
              </a:spcBef>
              <a:buNone/>
              <a:defRPr/>
            </a:lvl5pPr>
            <a:lvl6pPr indent="0" lvl="5" marL="0" algn="r">
              <a:spcBef>
                <a:spcPts val="0"/>
              </a:spcBef>
              <a:buNone/>
              <a:defRPr/>
            </a:lvl6pPr>
            <a:lvl7pPr indent="0" lvl="6" marL="0" algn="r">
              <a:spcBef>
                <a:spcPts val="0"/>
              </a:spcBef>
              <a:buNone/>
              <a:defRPr/>
            </a:lvl7pPr>
            <a:lvl8pPr indent="0" lvl="7" marL="0" algn="r">
              <a:spcBef>
                <a:spcPts val="0"/>
              </a:spcBef>
              <a:buNone/>
              <a:defRPr/>
            </a:lvl8pPr>
            <a:lvl9pPr indent="0" lvl="8" marL="0" algn="r">
              <a:spcBef>
                <a:spcPts val="0"/>
              </a:spcBef>
              <a:buNone/>
              <a:defRPr/>
            </a:lvl9pPr>
          </a:lstStyle>
          <a:p>
            <a:pPr indent="0" lvl="0" marL="0" rtl="0" algn="r">
              <a:spcBef>
                <a:spcPts val="0"/>
              </a:spcBef>
              <a:spcAft>
                <a:spcPts val="0"/>
              </a:spcAft>
              <a:buNone/>
            </a:pPr>
            <a:fld id="{00000000-1234-1234-1234-123412341234}" type="slidenum">
              <a:rPr lang="en-US"/>
              <a:t>‹#›</a:t>
            </a:fld>
            <a:endParaRPr/>
          </a:p>
        </p:txBody>
      </p:sp>
      <p:pic>
        <p:nvPicPr>
          <p:cNvPr id="52" name="Google Shape;52;p33"/>
          <p:cNvPicPr preferRelativeResize="0"/>
          <p:nvPr/>
        </p:nvPicPr>
        <p:blipFill rotWithShape="1">
          <a:blip r:embed="rId2">
            <a:alphaModFix/>
          </a:blip>
          <a:srcRect b="0" l="0" r="0" t="0"/>
          <a:stretch/>
        </p:blipFill>
        <p:spPr>
          <a:xfrm>
            <a:off x="152402" y="6595711"/>
            <a:ext cx="914444" cy="173098"/>
          </a:xfrm>
          <a:prstGeom prst="rect">
            <a:avLst/>
          </a:prstGeom>
          <a:noFill/>
          <a:ln>
            <a:noFill/>
          </a:ln>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matchingName="Comparison" type="twoTxTwoObj">
  <p:cSld name="TWO_OBJECTS_WITH_TEXT">
    <p:spTree>
      <p:nvGrpSpPr>
        <p:cNvPr id="53" name="Shape 53"/>
        <p:cNvGrpSpPr/>
        <p:nvPr/>
      </p:nvGrpSpPr>
      <p:grpSpPr>
        <a:xfrm>
          <a:off x="0" y="0"/>
          <a:ext cx="0" cy="0"/>
          <a:chOff x="0" y="0"/>
          <a:chExt cx="0" cy="0"/>
        </a:xfrm>
      </p:grpSpPr>
      <p:sp>
        <p:nvSpPr>
          <p:cNvPr id="54" name="Google Shape;54;p34"/>
          <p:cNvSpPr txBox="1"/>
          <p:nvPr>
            <p:ph type="title"/>
          </p:nvPr>
        </p:nvSpPr>
        <p:spPr>
          <a:xfrm>
            <a:off x="839788" y="365125"/>
            <a:ext cx="10515600" cy="1325563"/>
          </a:xfrm>
          <a:prstGeom prst="rect">
            <a:avLst/>
          </a:prstGeom>
          <a:noFill/>
          <a:ln>
            <a:noFill/>
          </a:ln>
        </p:spPr>
        <p:txBody>
          <a:bodyPr anchorCtr="0" anchor="t" bIns="45700" lIns="0" spcFirstLastPara="1" rIns="0" wrap="square" tIns="45700">
            <a:spAutoFit/>
          </a:bodyPr>
          <a:lstStyle>
            <a:lvl1pPr lvl="0" algn="l">
              <a:lnSpc>
                <a:spcPct val="90000"/>
              </a:lnSpc>
              <a:spcBef>
                <a:spcPts val="0"/>
              </a:spcBef>
              <a:spcAft>
                <a:spcPts val="0"/>
              </a:spcAft>
              <a:buClr>
                <a:srgbClr val="C5093B"/>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p:txBody>
      </p:sp>
      <p:sp>
        <p:nvSpPr>
          <p:cNvPr id="55" name="Google Shape;55;p34"/>
          <p:cNvSpPr txBox="1"/>
          <p:nvPr>
            <p:ph idx="1" type="body"/>
          </p:nvPr>
        </p:nvSpPr>
        <p:spPr>
          <a:xfrm>
            <a:off x="839788" y="1681163"/>
            <a:ext cx="5157787" cy="823912"/>
          </a:xfrm>
          <a:prstGeom prst="rect">
            <a:avLst/>
          </a:prstGeom>
          <a:noFill/>
          <a:ln>
            <a:noFill/>
          </a:ln>
        </p:spPr>
        <p:txBody>
          <a:bodyPr anchorCtr="0" anchor="b" bIns="45700" lIns="0" spcFirstLastPara="1" rIns="0" wrap="square" tIns="45700">
            <a:normAutofit/>
          </a:bodyPr>
          <a:lstStyle>
            <a:lvl1pPr indent="-228600" lvl="0" marL="457200" algn="l">
              <a:lnSpc>
                <a:spcPct val="113000"/>
              </a:lnSpc>
              <a:spcBef>
                <a:spcPts val="800"/>
              </a:spcBef>
              <a:spcAft>
                <a:spcPts val="0"/>
              </a:spcAft>
              <a:buClr>
                <a:schemeClr val="accent4"/>
              </a:buClr>
              <a:buSzPts val="1400"/>
              <a:buNone/>
              <a:defRPr b="0" sz="1400">
                <a:solidFill>
                  <a:schemeClr val="accent4"/>
                </a:solidFill>
              </a:defRPr>
            </a:lvl1pPr>
            <a:lvl2pPr indent="-228600" lvl="1" marL="914400" algn="l">
              <a:lnSpc>
                <a:spcPct val="113000"/>
              </a:lnSpc>
              <a:spcBef>
                <a:spcPts val="800"/>
              </a:spcBef>
              <a:spcAft>
                <a:spcPts val="0"/>
              </a:spcAft>
              <a:buClr>
                <a:schemeClr val="dk2"/>
              </a:buClr>
              <a:buSzPts val="2000"/>
              <a:buNone/>
              <a:defRPr b="1" sz="2000"/>
            </a:lvl2pPr>
            <a:lvl3pPr indent="-228600" lvl="2" marL="1371600" algn="l">
              <a:lnSpc>
                <a:spcPct val="113000"/>
              </a:lnSpc>
              <a:spcBef>
                <a:spcPts val="800"/>
              </a:spcBef>
              <a:spcAft>
                <a:spcPts val="0"/>
              </a:spcAft>
              <a:buClr>
                <a:schemeClr val="dk2"/>
              </a:buClr>
              <a:buSzPts val="1800"/>
              <a:buNone/>
              <a:defRPr b="1" sz="1800"/>
            </a:lvl3pPr>
            <a:lvl4pPr indent="-228600" lvl="3" marL="1828800" algn="l">
              <a:lnSpc>
                <a:spcPct val="113000"/>
              </a:lnSpc>
              <a:spcBef>
                <a:spcPts val="800"/>
              </a:spcBef>
              <a:spcAft>
                <a:spcPts val="0"/>
              </a:spcAft>
              <a:buClr>
                <a:schemeClr val="dk2"/>
              </a:buClr>
              <a:buSzPts val="1600"/>
              <a:buNone/>
              <a:defRPr b="1" sz="1600"/>
            </a:lvl4pPr>
            <a:lvl5pPr indent="-228600" lvl="4" marL="2286000" algn="l">
              <a:lnSpc>
                <a:spcPct val="113000"/>
              </a:lnSpc>
              <a:spcBef>
                <a:spcPts val="800"/>
              </a:spcBef>
              <a:spcAft>
                <a:spcPts val="0"/>
              </a:spcAft>
              <a:buClr>
                <a:schemeClr val="dk2"/>
              </a:buClr>
              <a:buSzPts val="1600"/>
              <a:buNone/>
              <a:defRPr b="1" sz="1600"/>
            </a:lvl5pPr>
            <a:lvl6pPr indent="-228600" lvl="5" marL="2743200" algn="l">
              <a:lnSpc>
                <a:spcPct val="90000"/>
              </a:lnSpc>
              <a:spcBef>
                <a:spcPts val="500"/>
              </a:spcBef>
              <a:spcAft>
                <a:spcPts val="0"/>
              </a:spcAft>
              <a:buClr>
                <a:schemeClr val="dk1"/>
              </a:buClr>
              <a:buSzPts val="1600"/>
              <a:buNone/>
              <a:defRPr b="1" sz="1600"/>
            </a:lvl6pPr>
            <a:lvl7pPr indent="-228600" lvl="6" marL="3200400" algn="l">
              <a:lnSpc>
                <a:spcPct val="90000"/>
              </a:lnSpc>
              <a:spcBef>
                <a:spcPts val="500"/>
              </a:spcBef>
              <a:spcAft>
                <a:spcPts val="0"/>
              </a:spcAft>
              <a:buClr>
                <a:schemeClr val="dk1"/>
              </a:buClr>
              <a:buSzPts val="1600"/>
              <a:buNone/>
              <a:defRPr b="1" sz="1600"/>
            </a:lvl7pPr>
            <a:lvl8pPr indent="-228600" lvl="7" marL="3657600" algn="l">
              <a:lnSpc>
                <a:spcPct val="90000"/>
              </a:lnSpc>
              <a:spcBef>
                <a:spcPts val="500"/>
              </a:spcBef>
              <a:spcAft>
                <a:spcPts val="0"/>
              </a:spcAft>
              <a:buClr>
                <a:schemeClr val="dk1"/>
              </a:buClr>
              <a:buSzPts val="1600"/>
              <a:buNone/>
              <a:defRPr b="1" sz="1600"/>
            </a:lvl8pPr>
            <a:lvl9pPr indent="-228600" lvl="8" marL="4114800" algn="l">
              <a:lnSpc>
                <a:spcPct val="90000"/>
              </a:lnSpc>
              <a:spcBef>
                <a:spcPts val="500"/>
              </a:spcBef>
              <a:spcAft>
                <a:spcPts val="0"/>
              </a:spcAft>
              <a:buClr>
                <a:schemeClr val="dk1"/>
              </a:buClr>
              <a:buSzPts val="1600"/>
              <a:buNone/>
              <a:defRPr b="1" sz="1600"/>
            </a:lvl9pPr>
          </a:lstStyle>
          <a:p/>
        </p:txBody>
      </p:sp>
      <p:sp>
        <p:nvSpPr>
          <p:cNvPr id="56" name="Google Shape;56;p34"/>
          <p:cNvSpPr txBox="1"/>
          <p:nvPr>
            <p:ph idx="2" type="body"/>
          </p:nvPr>
        </p:nvSpPr>
        <p:spPr>
          <a:xfrm>
            <a:off x="839788" y="2505075"/>
            <a:ext cx="5157787" cy="3684588"/>
          </a:xfrm>
          <a:prstGeom prst="rect">
            <a:avLst/>
          </a:prstGeom>
          <a:noFill/>
          <a:ln>
            <a:noFill/>
          </a:ln>
        </p:spPr>
        <p:txBody>
          <a:bodyPr anchorCtr="0" anchor="t" bIns="45700" lIns="0" spcFirstLastPara="1" rIns="0" wrap="square" tIns="45700">
            <a:normAutofit/>
          </a:bodyPr>
          <a:lstStyle>
            <a:lvl1pPr indent="-228600" lvl="0" marL="457200" algn="l">
              <a:lnSpc>
                <a:spcPct val="113000"/>
              </a:lnSpc>
              <a:spcBef>
                <a:spcPts val="800"/>
              </a:spcBef>
              <a:spcAft>
                <a:spcPts val="0"/>
              </a:spcAft>
              <a:buClr>
                <a:schemeClr val="dk2"/>
              </a:buClr>
              <a:buSzPts val="1800"/>
              <a:buNone/>
              <a:defRPr/>
            </a:lvl1pPr>
            <a:lvl2pPr indent="-228600" lvl="1" marL="914400" algn="l">
              <a:lnSpc>
                <a:spcPct val="113000"/>
              </a:lnSpc>
              <a:spcBef>
                <a:spcPts val="800"/>
              </a:spcBef>
              <a:spcAft>
                <a:spcPts val="0"/>
              </a:spcAft>
              <a:buClr>
                <a:schemeClr val="dk2"/>
              </a:buClr>
              <a:buSzPts val="1800"/>
              <a:buNone/>
              <a:defRPr/>
            </a:lvl2pPr>
            <a:lvl3pPr indent="-228600" lvl="2" marL="1371600" algn="l">
              <a:lnSpc>
                <a:spcPct val="113000"/>
              </a:lnSpc>
              <a:spcBef>
                <a:spcPts val="800"/>
              </a:spcBef>
              <a:spcAft>
                <a:spcPts val="0"/>
              </a:spcAft>
              <a:buClr>
                <a:schemeClr val="dk2"/>
              </a:buClr>
              <a:buSzPts val="1800"/>
              <a:buNone/>
              <a:defRPr/>
            </a:lvl3pPr>
            <a:lvl4pPr indent="-228600" lvl="3" marL="1828800" algn="l">
              <a:lnSpc>
                <a:spcPct val="113000"/>
              </a:lnSpc>
              <a:spcBef>
                <a:spcPts val="800"/>
              </a:spcBef>
              <a:spcAft>
                <a:spcPts val="0"/>
              </a:spcAft>
              <a:buClr>
                <a:schemeClr val="dk2"/>
              </a:buClr>
              <a:buSzPts val="1800"/>
              <a:buNone/>
              <a:defRPr/>
            </a:lvl4pPr>
            <a:lvl5pPr indent="-228600" lvl="4" marL="2286000" algn="l">
              <a:lnSpc>
                <a:spcPct val="113000"/>
              </a:lnSpc>
              <a:spcBef>
                <a:spcPts val="800"/>
              </a:spcBef>
              <a:spcAft>
                <a:spcPts val="0"/>
              </a:spcAft>
              <a:buClr>
                <a:schemeClr val="dk2"/>
              </a:buClr>
              <a:buSzPts val="1800"/>
              <a:buNone/>
              <a:defRPr/>
            </a:lvl5pPr>
            <a:lvl6pPr indent="-342900" lvl="5" marL="2743200" algn="l">
              <a:lnSpc>
                <a:spcPct val="90000"/>
              </a:lnSpc>
              <a:spcBef>
                <a:spcPts val="500"/>
              </a:spcBef>
              <a:spcAft>
                <a:spcPts val="0"/>
              </a:spcAft>
              <a:buClr>
                <a:schemeClr val="dk1"/>
              </a:buClr>
              <a:buSzPts val="1800"/>
              <a:buChar char="•"/>
              <a:defRPr/>
            </a:lvl6pPr>
            <a:lvl7pPr indent="-342900" lvl="6" marL="3200400" algn="l">
              <a:lnSpc>
                <a:spcPct val="90000"/>
              </a:lnSpc>
              <a:spcBef>
                <a:spcPts val="500"/>
              </a:spcBef>
              <a:spcAft>
                <a:spcPts val="0"/>
              </a:spcAft>
              <a:buClr>
                <a:schemeClr val="dk1"/>
              </a:buClr>
              <a:buSzPts val="1800"/>
              <a:buChar char="•"/>
              <a:defRPr/>
            </a:lvl7pPr>
            <a:lvl8pPr indent="-342900" lvl="7" marL="3657600" algn="l">
              <a:lnSpc>
                <a:spcPct val="90000"/>
              </a:lnSpc>
              <a:spcBef>
                <a:spcPts val="500"/>
              </a:spcBef>
              <a:spcAft>
                <a:spcPts val="0"/>
              </a:spcAft>
              <a:buClr>
                <a:schemeClr val="dk1"/>
              </a:buClr>
              <a:buSzPts val="1800"/>
              <a:buChar char="•"/>
              <a:defRPr/>
            </a:lvl8pPr>
            <a:lvl9pPr indent="-342900" lvl="8" marL="4114800" algn="l">
              <a:lnSpc>
                <a:spcPct val="90000"/>
              </a:lnSpc>
              <a:spcBef>
                <a:spcPts val="500"/>
              </a:spcBef>
              <a:spcAft>
                <a:spcPts val="0"/>
              </a:spcAft>
              <a:buClr>
                <a:schemeClr val="dk1"/>
              </a:buClr>
              <a:buSzPts val="1800"/>
              <a:buChar char="•"/>
              <a:defRPr/>
            </a:lvl9pPr>
          </a:lstStyle>
          <a:p/>
        </p:txBody>
      </p:sp>
      <p:sp>
        <p:nvSpPr>
          <p:cNvPr id="57" name="Google Shape;57;p34"/>
          <p:cNvSpPr txBox="1"/>
          <p:nvPr>
            <p:ph idx="3" type="body"/>
          </p:nvPr>
        </p:nvSpPr>
        <p:spPr>
          <a:xfrm>
            <a:off x="6172200" y="1681163"/>
            <a:ext cx="5183188" cy="823912"/>
          </a:xfrm>
          <a:prstGeom prst="rect">
            <a:avLst/>
          </a:prstGeom>
          <a:noFill/>
          <a:ln>
            <a:noFill/>
          </a:ln>
        </p:spPr>
        <p:txBody>
          <a:bodyPr anchorCtr="0" anchor="b" bIns="45700" lIns="0" spcFirstLastPara="1" rIns="0" wrap="square" tIns="45700">
            <a:normAutofit/>
          </a:bodyPr>
          <a:lstStyle>
            <a:lvl1pPr indent="-228600" lvl="0" marL="457200" algn="l">
              <a:lnSpc>
                <a:spcPct val="113000"/>
              </a:lnSpc>
              <a:spcBef>
                <a:spcPts val="800"/>
              </a:spcBef>
              <a:spcAft>
                <a:spcPts val="0"/>
              </a:spcAft>
              <a:buClr>
                <a:schemeClr val="accent4"/>
              </a:buClr>
              <a:buSzPts val="1400"/>
              <a:buNone/>
              <a:defRPr b="0" sz="1400">
                <a:solidFill>
                  <a:schemeClr val="accent4"/>
                </a:solidFill>
              </a:defRPr>
            </a:lvl1pPr>
            <a:lvl2pPr indent="-228600" lvl="1" marL="914400" algn="l">
              <a:lnSpc>
                <a:spcPct val="113000"/>
              </a:lnSpc>
              <a:spcBef>
                <a:spcPts val="800"/>
              </a:spcBef>
              <a:spcAft>
                <a:spcPts val="0"/>
              </a:spcAft>
              <a:buClr>
                <a:schemeClr val="dk2"/>
              </a:buClr>
              <a:buSzPts val="2000"/>
              <a:buNone/>
              <a:defRPr b="1" sz="2000"/>
            </a:lvl2pPr>
            <a:lvl3pPr indent="-228600" lvl="2" marL="1371600" algn="l">
              <a:lnSpc>
                <a:spcPct val="113000"/>
              </a:lnSpc>
              <a:spcBef>
                <a:spcPts val="800"/>
              </a:spcBef>
              <a:spcAft>
                <a:spcPts val="0"/>
              </a:spcAft>
              <a:buClr>
                <a:schemeClr val="dk2"/>
              </a:buClr>
              <a:buSzPts val="1800"/>
              <a:buNone/>
              <a:defRPr b="1" sz="1800"/>
            </a:lvl3pPr>
            <a:lvl4pPr indent="-228600" lvl="3" marL="1828800" algn="l">
              <a:lnSpc>
                <a:spcPct val="113000"/>
              </a:lnSpc>
              <a:spcBef>
                <a:spcPts val="800"/>
              </a:spcBef>
              <a:spcAft>
                <a:spcPts val="0"/>
              </a:spcAft>
              <a:buClr>
                <a:schemeClr val="dk2"/>
              </a:buClr>
              <a:buSzPts val="1600"/>
              <a:buNone/>
              <a:defRPr b="1" sz="1600"/>
            </a:lvl4pPr>
            <a:lvl5pPr indent="-228600" lvl="4" marL="2286000" algn="l">
              <a:lnSpc>
                <a:spcPct val="113000"/>
              </a:lnSpc>
              <a:spcBef>
                <a:spcPts val="800"/>
              </a:spcBef>
              <a:spcAft>
                <a:spcPts val="0"/>
              </a:spcAft>
              <a:buClr>
                <a:schemeClr val="dk2"/>
              </a:buClr>
              <a:buSzPts val="1600"/>
              <a:buNone/>
              <a:defRPr b="1" sz="1600"/>
            </a:lvl5pPr>
            <a:lvl6pPr indent="-228600" lvl="5" marL="2743200" algn="l">
              <a:lnSpc>
                <a:spcPct val="90000"/>
              </a:lnSpc>
              <a:spcBef>
                <a:spcPts val="500"/>
              </a:spcBef>
              <a:spcAft>
                <a:spcPts val="0"/>
              </a:spcAft>
              <a:buClr>
                <a:schemeClr val="dk1"/>
              </a:buClr>
              <a:buSzPts val="1600"/>
              <a:buNone/>
              <a:defRPr b="1" sz="1600"/>
            </a:lvl6pPr>
            <a:lvl7pPr indent="-228600" lvl="6" marL="3200400" algn="l">
              <a:lnSpc>
                <a:spcPct val="90000"/>
              </a:lnSpc>
              <a:spcBef>
                <a:spcPts val="500"/>
              </a:spcBef>
              <a:spcAft>
                <a:spcPts val="0"/>
              </a:spcAft>
              <a:buClr>
                <a:schemeClr val="dk1"/>
              </a:buClr>
              <a:buSzPts val="1600"/>
              <a:buNone/>
              <a:defRPr b="1" sz="1600"/>
            </a:lvl7pPr>
            <a:lvl8pPr indent="-228600" lvl="7" marL="3657600" algn="l">
              <a:lnSpc>
                <a:spcPct val="90000"/>
              </a:lnSpc>
              <a:spcBef>
                <a:spcPts val="500"/>
              </a:spcBef>
              <a:spcAft>
                <a:spcPts val="0"/>
              </a:spcAft>
              <a:buClr>
                <a:schemeClr val="dk1"/>
              </a:buClr>
              <a:buSzPts val="1600"/>
              <a:buNone/>
              <a:defRPr b="1" sz="1600"/>
            </a:lvl8pPr>
            <a:lvl9pPr indent="-228600" lvl="8" marL="4114800" algn="l">
              <a:lnSpc>
                <a:spcPct val="90000"/>
              </a:lnSpc>
              <a:spcBef>
                <a:spcPts val="500"/>
              </a:spcBef>
              <a:spcAft>
                <a:spcPts val="0"/>
              </a:spcAft>
              <a:buClr>
                <a:schemeClr val="dk1"/>
              </a:buClr>
              <a:buSzPts val="1600"/>
              <a:buNone/>
              <a:defRPr b="1" sz="1600"/>
            </a:lvl9pPr>
          </a:lstStyle>
          <a:p/>
        </p:txBody>
      </p:sp>
      <p:sp>
        <p:nvSpPr>
          <p:cNvPr id="58" name="Google Shape;58;p34"/>
          <p:cNvSpPr txBox="1"/>
          <p:nvPr>
            <p:ph idx="4" type="body"/>
          </p:nvPr>
        </p:nvSpPr>
        <p:spPr>
          <a:xfrm>
            <a:off x="6172200" y="2505075"/>
            <a:ext cx="5183188" cy="3684588"/>
          </a:xfrm>
          <a:prstGeom prst="rect">
            <a:avLst/>
          </a:prstGeom>
          <a:noFill/>
          <a:ln>
            <a:noFill/>
          </a:ln>
        </p:spPr>
        <p:txBody>
          <a:bodyPr anchorCtr="0" anchor="t" bIns="45700" lIns="0" spcFirstLastPara="1" rIns="0" wrap="square" tIns="45700">
            <a:normAutofit/>
          </a:bodyPr>
          <a:lstStyle>
            <a:lvl1pPr indent="-228600" lvl="0" marL="457200" algn="l">
              <a:lnSpc>
                <a:spcPct val="113000"/>
              </a:lnSpc>
              <a:spcBef>
                <a:spcPts val="800"/>
              </a:spcBef>
              <a:spcAft>
                <a:spcPts val="0"/>
              </a:spcAft>
              <a:buClr>
                <a:schemeClr val="dk2"/>
              </a:buClr>
              <a:buSzPts val="1800"/>
              <a:buNone/>
              <a:defRPr/>
            </a:lvl1pPr>
            <a:lvl2pPr indent="-228600" lvl="1" marL="914400" algn="l">
              <a:lnSpc>
                <a:spcPct val="113000"/>
              </a:lnSpc>
              <a:spcBef>
                <a:spcPts val="800"/>
              </a:spcBef>
              <a:spcAft>
                <a:spcPts val="0"/>
              </a:spcAft>
              <a:buClr>
                <a:schemeClr val="dk2"/>
              </a:buClr>
              <a:buSzPts val="1800"/>
              <a:buNone/>
              <a:defRPr/>
            </a:lvl2pPr>
            <a:lvl3pPr indent="-228600" lvl="2" marL="1371600" algn="l">
              <a:lnSpc>
                <a:spcPct val="113000"/>
              </a:lnSpc>
              <a:spcBef>
                <a:spcPts val="800"/>
              </a:spcBef>
              <a:spcAft>
                <a:spcPts val="0"/>
              </a:spcAft>
              <a:buClr>
                <a:schemeClr val="dk2"/>
              </a:buClr>
              <a:buSzPts val="1800"/>
              <a:buNone/>
              <a:defRPr/>
            </a:lvl3pPr>
            <a:lvl4pPr indent="-228600" lvl="3" marL="1828800" algn="l">
              <a:lnSpc>
                <a:spcPct val="113000"/>
              </a:lnSpc>
              <a:spcBef>
                <a:spcPts val="800"/>
              </a:spcBef>
              <a:spcAft>
                <a:spcPts val="0"/>
              </a:spcAft>
              <a:buClr>
                <a:schemeClr val="dk2"/>
              </a:buClr>
              <a:buSzPts val="1800"/>
              <a:buNone/>
              <a:defRPr/>
            </a:lvl4pPr>
            <a:lvl5pPr indent="-228600" lvl="4" marL="2286000" algn="l">
              <a:lnSpc>
                <a:spcPct val="113000"/>
              </a:lnSpc>
              <a:spcBef>
                <a:spcPts val="800"/>
              </a:spcBef>
              <a:spcAft>
                <a:spcPts val="0"/>
              </a:spcAft>
              <a:buClr>
                <a:schemeClr val="dk2"/>
              </a:buClr>
              <a:buSzPts val="1800"/>
              <a:buNone/>
              <a:defRPr/>
            </a:lvl5pPr>
            <a:lvl6pPr indent="-342900" lvl="5" marL="2743200" algn="l">
              <a:lnSpc>
                <a:spcPct val="90000"/>
              </a:lnSpc>
              <a:spcBef>
                <a:spcPts val="500"/>
              </a:spcBef>
              <a:spcAft>
                <a:spcPts val="0"/>
              </a:spcAft>
              <a:buClr>
                <a:schemeClr val="dk1"/>
              </a:buClr>
              <a:buSzPts val="1800"/>
              <a:buChar char="•"/>
              <a:defRPr/>
            </a:lvl6pPr>
            <a:lvl7pPr indent="-342900" lvl="6" marL="3200400" algn="l">
              <a:lnSpc>
                <a:spcPct val="90000"/>
              </a:lnSpc>
              <a:spcBef>
                <a:spcPts val="500"/>
              </a:spcBef>
              <a:spcAft>
                <a:spcPts val="0"/>
              </a:spcAft>
              <a:buClr>
                <a:schemeClr val="dk1"/>
              </a:buClr>
              <a:buSzPts val="1800"/>
              <a:buChar char="•"/>
              <a:defRPr/>
            </a:lvl7pPr>
            <a:lvl8pPr indent="-342900" lvl="7" marL="3657600" algn="l">
              <a:lnSpc>
                <a:spcPct val="90000"/>
              </a:lnSpc>
              <a:spcBef>
                <a:spcPts val="500"/>
              </a:spcBef>
              <a:spcAft>
                <a:spcPts val="0"/>
              </a:spcAft>
              <a:buClr>
                <a:schemeClr val="dk1"/>
              </a:buClr>
              <a:buSzPts val="1800"/>
              <a:buChar char="•"/>
              <a:defRPr/>
            </a:lvl8pPr>
            <a:lvl9pPr indent="-342900" lvl="8" marL="4114800" algn="l">
              <a:lnSpc>
                <a:spcPct val="90000"/>
              </a:lnSpc>
              <a:spcBef>
                <a:spcPts val="500"/>
              </a:spcBef>
              <a:spcAft>
                <a:spcPts val="0"/>
              </a:spcAft>
              <a:buClr>
                <a:schemeClr val="dk1"/>
              </a:buClr>
              <a:buSzPts val="1800"/>
              <a:buChar char="•"/>
              <a:defRPr/>
            </a:lvl9pPr>
          </a:lstStyle>
          <a:p/>
        </p:txBody>
      </p:sp>
      <p:sp>
        <p:nvSpPr>
          <p:cNvPr id="59" name="Google Shape;59;p34"/>
          <p:cNvSpPr txBox="1"/>
          <p:nvPr>
            <p:ph idx="11" type="ftr"/>
          </p:nvPr>
        </p:nvSpPr>
        <p:spPr>
          <a:xfrm>
            <a:off x="7928904" y="6513308"/>
            <a:ext cx="4114800" cy="365125"/>
          </a:xfrm>
          <a:prstGeom prst="rect">
            <a:avLst/>
          </a:prstGeom>
          <a:noFill/>
          <a:ln>
            <a:noFill/>
          </a:ln>
        </p:spPr>
        <p:txBody>
          <a:bodyPr anchorCtr="0" anchor="ctr" bIns="45700" lIns="91425" spcFirstLastPara="1" rIns="91425" wrap="square" tIns="4570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p:txBody>
      </p:sp>
      <p:sp>
        <p:nvSpPr>
          <p:cNvPr id="60" name="Google Shape;60;p34"/>
          <p:cNvSpPr txBox="1"/>
          <p:nvPr>
            <p:ph idx="12" type="sldNum"/>
          </p:nvPr>
        </p:nvSpPr>
        <p:spPr>
          <a:xfrm>
            <a:off x="9300504" y="6126298"/>
            <a:ext cx="2743200" cy="365125"/>
          </a:xfrm>
          <a:prstGeom prst="rect">
            <a:avLst/>
          </a:prstGeom>
          <a:noFill/>
          <a:ln>
            <a:noFill/>
          </a:ln>
        </p:spPr>
        <p:txBody>
          <a:bodyPr anchorCtr="0" anchor="ctr" bIns="45700" lIns="91425" spcFirstLastPara="1" rIns="91425" wrap="square" tIns="45700">
            <a:noAutofit/>
          </a:bodyPr>
          <a:lstStyle>
            <a:lvl1pPr indent="0" lvl="0" marL="0" algn="r">
              <a:spcBef>
                <a:spcPts val="0"/>
              </a:spcBef>
              <a:buNone/>
              <a:defRPr/>
            </a:lvl1pPr>
            <a:lvl2pPr indent="0" lvl="1" marL="0" algn="r">
              <a:spcBef>
                <a:spcPts val="0"/>
              </a:spcBef>
              <a:buNone/>
              <a:defRPr/>
            </a:lvl2pPr>
            <a:lvl3pPr indent="0" lvl="2" marL="0" algn="r">
              <a:spcBef>
                <a:spcPts val="0"/>
              </a:spcBef>
              <a:buNone/>
              <a:defRPr/>
            </a:lvl3pPr>
            <a:lvl4pPr indent="0" lvl="3" marL="0" algn="r">
              <a:spcBef>
                <a:spcPts val="0"/>
              </a:spcBef>
              <a:buNone/>
              <a:defRPr/>
            </a:lvl4pPr>
            <a:lvl5pPr indent="0" lvl="4" marL="0" algn="r">
              <a:spcBef>
                <a:spcPts val="0"/>
              </a:spcBef>
              <a:buNone/>
              <a:defRPr/>
            </a:lvl5pPr>
            <a:lvl6pPr indent="0" lvl="5" marL="0" algn="r">
              <a:spcBef>
                <a:spcPts val="0"/>
              </a:spcBef>
              <a:buNone/>
              <a:defRPr/>
            </a:lvl6pPr>
            <a:lvl7pPr indent="0" lvl="6" marL="0" algn="r">
              <a:spcBef>
                <a:spcPts val="0"/>
              </a:spcBef>
              <a:buNone/>
              <a:defRPr/>
            </a:lvl7pPr>
            <a:lvl8pPr indent="0" lvl="7" marL="0" algn="r">
              <a:spcBef>
                <a:spcPts val="0"/>
              </a:spcBef>
              <a:buNone/>
              <a:defRPr/>
            </a:lvl8pPr>
            <a:lvl9pPr indent="0" lvl="8" marL="0" algn="r">
              <a:spcBef>
                <a:spcPts val="0"/>
              </a:spcBef>
              <a:buNone/>
              <a:defRPr/>
            </a:lvl9p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matchingName="Content with Caption" type="objTx">
  <p:cSld name="OBJECT_WITH_CAPTION_TEXT">
    <p:spTree>
      <p:nvGrpSpPr>
        <p:cNvPr id="61" name="Shape 61"/>
        <p:cNvGrpSpPr/>
        <p:nvPr/>
      </p:nvGrpSpPr>
      <p:grpSpPr>
        <a:xfrm>
          <a:off x="0" y="0"/>
          <a:ext cx="0" cy="0"/>
          <a:chOff x="0" y="0"/>
          <a:chExt cx="0" cy="0"/>
        </a:xfrm>
      </p:grpSpPr>
      <p:sp>
        <p:nvSpPr>
          <p:cNvPr id="62" name="Google Shape;62;p35"/>
          <p:cNvSpPr txBox="1"/>
          <p:nvPr>
            <p:ph type="title"/>
          </p:nvPr>
        </p:nvSpPr>
        <p:spPr>
          <a:xfrm>
            <a:off x="839788" y="1189470"/>
            <a:ext cx="3932237" cy="867930"/>
          </a:xfrm>
          <a:prstGeom prst="rect">
            <a:avLst/>
          </a:prstGeom>
          <a:noFill/>
          <a:ln>
            <a:noFill/>
          </a:ln>
        </p:spPr>
        <p:txBody>
          <a:bodyPr anchorCtr="0" anchor="b" bIns="45700" lIns="0" spcFirstLastPara="1" rIns="0" wrap="square" tIns="45700">
            <a:spAutoFit/>
          </a:bodyPr>
          <a:lstStyle>
            <a:lvl1pPr lvl="0" algn="l">
              <a:lnSpc>
                <a:spcPct val="90000"/>
              </a:lnSpc>
              <a:spcBef>
                <a:spcPts val="0"/>
              </a:spcBef>
              <a:spcAft>
                <a:spcPts val="0"/>
              </a:spcAft>
              <a:buClr>
                <a:srgbClr val="C5093B"/>
              </a:buClr>
              <a:buSzPts val="2800"/>
              <a:buFont typeface="Arial"/>
              <a:buNone/>
              <a:defRPr sz="28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p:txBody>
      </p:sp>
      <p:sp>
        <p:nvSpPr>
          <p:cNvPr id="63" name="Google Shape;63;p35"/>
          <p:cNvSpPr txBox="1"/>
          <p:nvPr>
            <p:ph idx="1" type="body"/>
          </p:nvPr>
        </p:nvSpPr>
        <p:spPr>
          <a:xfrm>
            <a:off x="5183188" y="987425"/>
            <a:ext cx="6172200" cy="4873625"/>
          </a:xfrm>
          <a:prstGeom prst="rect">
            <a:avLst/>
          </a:prstGeom>
          <a:noFill/>
          <a:ln>
            <a:noFill/>
          </a:ln>
        </p:spPr>
        <p:txBody>
          <a:bodyPr anchorCtr="0" anchor="t" bIns="45700" lIns="0" spcFirstLastPara="1" rIns="0" wrap="square" tIns="45700">
            <a:normAutofit/>
          </a:bodyPr>
          <a:lstStyle>
            <a:lvl1pPr indent="-228600" lvl="0" marL="457200" algn="l">
              <a:lnSpc>
                <a:spcPct val="113000"/>
              </a:lnSpc>
              <a:spcBef>
                <a:spcPts val="800"/>
              </a:spcBef>
              <a:spcAft>
                <a:spcPts val="0"/>
              </a:spcAft>
              <a:buClr>
                <a:schemeClr val="dk2"/>
              </a:buClr>
              <a:buSzPts val="2200"/>
              <a:buNone/>
              <a:defRPr sz="2200"/>
            </a:lvl1pPr>
            <a:lvl2pPr indent="-228600" lvl="1" marL="914400" algn="l">
              <a:lnSpc>
                <a:spcPct val="113000"/>
              </a:lnSpc>
              <a:spcBef>
                <a:spcPts val="800"/>
              </a:spcBef>
              <a:spcAft>
                <a:spcPts val="0"/>
              </a:spcAft>
              <a:buClr>
                <a:schemeClr val="dk2"/>
              </a:buClr>
              <a:buSzPts val="1600"/>
              <a:buNone/>
              <a:defRPr sz="1600"/>
            </a:lvl2pPr>
            <a:lvl3pPr indent="-228600" lvl="2" marL="1371600" algn="l">
              <a:lnSpc>
                <a:spcPct val="113000"/>
              </a:lnSpc>
              <a:spcBef>
                <a:spcPts val="800"/>
              </a:spcBef>
              <a:spcAft>
                <a:spcPts val="0"/>
              </a:spcAft>
              <a:buClr>
                <a:schemeClr val="dk2"/>
              </a:buClr>
              <a:buSzPts val="1600"/>
              <a:buNone/>
              <a:defRPr sz="1600"/>
            </a:lvl3pPr>
            <a:lvl4pPr indent="-228600" lvl="3" marL="1828800" algn="l">
              <a:lnSpc>
                <a:spcPct val="113000"/>
              </a:lnSpc>
              <a:spcBef>
                <a:spcPts val="800"/>
              </a:spcBef>
              <a:spcAft>
                <a:spcPts val="0"/>
              </a:spcAft>
              <a:buClr>
                <a:schemeClr val="dk2"/>
              </a:buClr>
              <a:buSzPts val="1600"/>
              <a:buNone/>
              <a:defRPr sz="1600"/>
            </a:lvl4pPr>
            <a:lvl5pPr indent="-228600" lvl="4" marL="2286000" algn="l">
              <a:lnSpc>
                <a:spcPct val="113000"/>
              </a:lnSpc>
              <a:spcBef>
                <a:spcPts val="800"/>
              </a:spcBef>
              <a:spcAft>
                <a:spcPts val="0"/>
              </a:spcAft>
              <a:buClr>
                <a:schemeClr val="dk2"/>
              </a:buClr>
              <a:buSzPts val="1600"/>
              <a:buNone/>
              <a:defRPr sz="1600"/>
            </a:lvl5pPr>
            <a:lvl6pPr indent="-355600" lvl="5" marL="2743200" algn="l">
              <a:lnSpc>
                <a:spcPct val="90000"/>
              </a:lnSpc>
              <a:spcBef>
                <a:spcPts val="500"/>
              </a:spcBef>
              <a:spcAft>
                <a:spcPts val="0"/>
              </a:spcAft>
              <a:buClr>
                <a:schemeClr val="dk1"/>
              </a:buClr>
              <a:buSzPts val="2000"/>
              <a:buChar char="•"/>
              <a:defRPr sz="2000"/>
            </a:lvl6pPr>
            <a:lvl7pPr indent="-355600" lvl="6" marL="3200400" algn="l">
              <a:lnSpc>
                <a:spcPct val="90000"/>
              </a:lnSpc>
              <a:spcBef>
                <a:spcPts val="500"/>
              </a:spcBef>
              <a:spcAft>
                <a:spcPts val="0"/>
              </a:spcAft>
              <a:buClr>
                <a:schemeClr val="dk1"/>
              </a:buClr>
              <a:buSzPts val="2000"/>
              <a:buChar char="•"/>
              <a:defRPr sz="2000"/>
            </a:lvl7pPr>
            <a:lvl8pPr indent="-355600" lvl="7" marL="3657600" algn="l">
              <a:lnSpc>
                <a:spcPct val="90000"/>
              </a:lnSpc>
              <a:spcBef>
                <a:spcPts val="500"/>
              </a:spcBef>
              <a:spcAft>
                <a:spcPts val="0"/>
              </a:spcAft>
              <a:buClr>
                <a:schemeClr val="dk1"/>
              </a:buClr>
              <a:buSzPts val="2000"/>
              <a:buChar char="•"/>
              <a:defRPr sz="2000"/>
            </a:lvl8pPr>
            <a:lvl9pPr indent="-355600" lvl="8" marL="4114800" algn="l">
              <a:lnSpc>
                <a:spcPct val="90000"/>
              </a:lnSpc>
              <a:spcBef>
                <a:spcPts val="500"/>
              </a:spcBef>
              <a:spcAft>
                <a:spcPts val="0"/>
              </a:spcAft>
              <a:buClr>
                <a:schemeClr val="dk1"/>
              </a:buClr>
              <a:buSzPts val="2000"/>
              <a:buChar char="•"/>
              <a:defRPr sz="2000"/>
            </a:lvl9pPr>
          </a:lstStyle>
          <a:p/>
        </p:txBody>
      </p:sp>
      <p:sp>
        <p:nvSpPr>
          <p:cNvPr id="64" name="Google Shape;64;p35"/>
          <p:cNvSpPr txBox="1"/>
          <p:nvPr>
            <p:ph idx="2" type="body"/>
          </p:nvPr>
        </p:nvSpPr>
        <p:spPr>
          <a:xfrm>
            <a:off x="839788" y="2057400"/>
            <a:ext cx="3932237" cy="3811588"/>
          </a:xfrm>
          <a:prstGeom prst="rect">
            <a:avLst/>
          </a:prstGeom>
          <a:noFill/>
          <a:ln>
            <a:noFill/>
          </a:ln>
        </p:spPr>
        <p:txBody>
          <a:bodyPr anchorCtr="0" anchor="t" bIns="45700" lIns="0" spcFirstLastPara="1" rIns="0" wrap="square" tIns="45700">
            <a:normAutofit/>
          </a:bodyPr>
          <a:lstStyle>
            <a:lvl1pPr indent="-228600" lvl="0" marL="457200" algn="l">
              <a:lnSpc>
                <a:spcPct val="113000"/>
              </a:lnSpc>
              <a:spcBef>
                <a:spcPts val="800"/>
              </a:spcBef>
              <a:spcAft>
                <a:spcPts val="0"/>
              </a:spcAft>
              <a:buClr>
                <a:schemeClr val="dk2"/>
              </a:buClr>
              <a:buSzPts val="1600"/>
              <a:buNone/>
              <a:defRPr sz="1600"/>
            </a:lvl1pPr>
            <a:lvl2pPr indent="-228600" lvl="1" marL="914400" algn="l">
              <a:lnSpc>
                <a:spcPct val="113000"/>
              </a:lnSpc>
              <a:spcBef>
                <a:spcPts val="800"/>
              </a:spcBef>
              <a:spcAft>
                <a:spcPts val="0"/>
              </a:spcAft>
              <a:buClr>
                <a:schemeClr val="dk2"/>
              </a:buClr>
              <a:buSzPts val="1400"/>
              <a:buNone/>
              <a:defRPr sz="1400"/>
            </a:lvl2pPr>
            <a:lvl3pPr indent="-228600" lvl="2" marL="1371600" algn="l">
              <a:lnSpc>
                <a:spcPct val="113000"/>
              </a:lnSpc>
              <a:spcBef>
                <a:spcPts val="800"/>
              </a:spcBef>
              <a:spcAft>
                <a:spcPts val="0"/>
              </a:spcAft>
              <a:buClr>
                <a:schemeClr val="dk2"/>
              </a:buClr>
              <a:buSzPts val="1200"/>
              <a:buNone/>
              <a:defRPr sz="1200"/>
            </a:lvl3pPr>
            <a:lvl4pPr indent="-228600" lvl="3" marL="1828800" algn="l">
              <a:lnSpc>
                <a:spcPct val="113000"/>
              </a:lnSpc>
              <a:spcBef>
                <a:spcPts val="800"/>
              </a:spcBef>
              <a:spcAft>
                <a:spcPts val="0"/>
              </a:spcAft>
              <a:buClr>
                <a:schemeClr val="dk2"/>
              </a:buClr>
              <a:buSzPts val="1000"/>
              <a:buNone/>
              <a:defRPr sz="1000"/>
            </a:lvl4pPr>
            <a:lvl5pPr indent="-228600" lvl="4" marL="2286000" algn="l">
              <a:lnSpc>
                <a:spcPct val="113000"/>
              </a:lnSpc>
              <a:spcBef>
                <a:spcPts val="800"/>
              </a:spcBef>
              <a:spcAft>
                <a:spcPts val="0"/>
              </a:spcAft>
              <a:buClr>
                <a:schemeClr val="dk2"/>
              </a:buClr>
              <a:buSzPts val="1000"/>
              <a:buNone/>
              <a:defRPr sz="1000"/>
            </a:lvl5pPr>
            <a:lvl6pPr indent="-228600" lvl="5" marL="2743200" algn="l">
              <a:lnSpc>
                <a:spcPct val="90000"/>
              </a:lnSpc>
              <a:spcBef>
                <a:spcPts val="500"/>
              </a:spcBef>
              <a:spcAft>
                <a:spcPts val="0"/>
              </a:spcAft>
              <a:buClr>
                <a:schemeClr val="dk1"/>
              </a:buClr>
              <a:buSzPts val="1000"/>
              <a:buNone/>
              <a:defRPr sz="1000"/>
            </a:lvl6pPr>
            <a:lvl7pPr indent="-228600" lvl="6" marL="3200400" algn="l">
              <a:lnSpc>
                <a:spcPct val="90000"/>
              </a:lnSpc>
              <a:spcBef>
                <a:spcPts val="500"/>
              </a:spcBef>
              <a:spcAft>
                <a:spcPts val="0"/>
              </a:spcAft>
              <a:buClr>
                <a:schemeClr val="dk1"/>
              </a:buClr>
              <a:buSzPts val="1000"/>
              <a:buNone/>
              <a:defRPr sz="1000"/>
            </a:lvl7pPr>
            <a:lvl8pPr indent="-228600" lvl="7" marL="3657600" algn="l">
              <a:lnSpc>
                <a:spcPct val="90000"/>
              </a:lnSpc>
              <a:spcBef>
                <a:spcPts val="500"/>
              </a:spcBef>
              <a:spcAft>
                <a:spcPts val="0"/>
              </a:spcAft>
              <a:buClr>
                <a:schemeClr val="dk1"/>
              </a:buClr>
              <a:buSzPts val="1000"/>
              <a:buNone/>
              <a:defRPr sz="1000"/>
            </a:lvl8pPr>
            <a:lvl9pPr indent="-228600" lvl="8" marL="4114800" algn="l">
              <a:lnSpc>
                <a:spcPct val="90000"/>
              </a:lnSpc>
              <a:spcBef>
                <a:spcPts val="500"/>
              </a:spcBef>
              <a:spcAft>
                <a:spcPts val="0"/>
              </a:spcAft>
              <a:buClr>
                <a:schemeClr val="dk1"/>
              </a:buClr>
              <a:buSzPts val="1000"/>
              <a:buNone/>
              <a:defRPr sz="1000"/>
            </a:lvl9pPr>
          </a:lstStyle>
          <a:p/>
        </p:txBody>
      </p:sp>
      <p:sp>
        <p:nvSpPr>
          <p:cNvPr id="65" name="Google Shape;65;p35"/>
          <p:cNvSpPr txBox="1"/>
          <p:nvPr>
            <p:ph idx="11" type="ftr"/>
          </p:nvPr>
        </p:nvSpPr>
        <p:spPr>
          <a:xfrm>
            <a:off x="7928904" y="6513308"/>
            <a:ext cx="4114800" cy="365125"/>
          </a:xfrm>
          <a:prstGeom prst="rect">
            <a:avLst/>
          </a:prstGeom>
          <a:noFill/>
          <a:ln>
            <a:noFill/>
          </a:ln>
        </p:spPr>
        <p:txBody>
          <a:bodyPr anchorCtr="0" anchor="ctr" bIns="45700" lIns="91425" spcFirstLastPara="1" rIns="91425" wrap="square" tIns="4570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p:txBody>
      </p:sp>
      <p:sp>
        <p:nvSpPr>
          <p:cNvPr id="66" name="Google Shape;66;p35"/>
          <p:cNvSpPr txBox="1"/>
          <p:nvPr>
            <p:ph idx="12" type="sldNum"/>
          </p:nvPr>
        </p:nvSpPr>
        <p:spPr>
          <a:xfrm>
            <a:off x="9300504" y="6126298"/>
            <a:ext cx="2743200" cy="365125"/>
          </a:xfrm>
          <a:prstGeom prst="rect">
            <a:avLst/>
          </a:prstGeom>
          <a:noFill/>
          <a:ln>
            <a:noFill/>
          </a:ln>
        </p:spPr>
        <p:txBody>
          <a:bodyPr anchorCtr="0" anchor="ctr" bIns="45700" lIns="91425" spcFirstLastPara="1" rIns="91425" wrap="square" tIns="45700">
            <a:noAutofit/>
          </a:bodyPr>
          <a:lstStyle>
            <a:lvl1pPr indent="0" lvl="0" marL="0" algn="r">
              <a:spcBef>
                <a:spcPts val="0"/>
              </a:spcBef>
              <a:buNone/>
              <a:defRPr/>
            </a:lvl1pPr>
            <a:lvl2pPr indent="0" lvl="1" marL="0" algn="r">
              <a:spcBef>
                <a:spcPts val="0"/>
              </a:spcBef>
              <a:buNone/>
              <a:defRPr/>
            </a:lvl2pPr>
            <a:lvl3pPr indent="0" lvl="2" marL="0" algn="r">
              <a:spcBef>
                <a:spcPts val="0"/>
              </a:spcBef>
              <a:buNone/>
              <a:defRPr/>
            </a:lvl3pPr>
            <a:lvl4pPr indent="0" lvl="3" marL="0" algn="r">
              <a:spcBef>
                <a:spcPts val="0"/>
              </a:spcBef>
              <a:buNone/>
              <a:defRPr/>
            </a:lvl4pPr>
            <a:lvl5pPr indent="0" lvl="4" marL="0" algn="r">
              <a:spcBef>
                <a:spcPts val="0"/>
              </a:spcBef>
              <a:buNone/>
              <a:defRPr/>
            </a:lvl5pPr>
            <a:lvl6pPr indent="0" lvl="5" marL="0" algn="r">
              <a:spcBef>
                <a:spcPts val="0"/>
              </a:spcBef>
              <a:buNone/>
              <a:defRPr/>
            </a:lvl6pPr>
            <a:lvl7pPr indent="0" lvl="6" marL="0" algn="r">
              <a:spcBef>
                <a:spcPts val="0"/>
              </a:spcBef>
              <a:buNone/>
              <a:defRPr/>
            </a:lvl7pPr>
            <a:lvl8pPr indent="0" lvl="7" marL="0" algn="r">
              <a:spcBef>
                <a:spcPts val="0"/>
              </a:spcBef>
              <a:buNone/>
              <a:defRPr/>
            </a:lvl8pPr>
            <a:lvl9pPr indent="0" lvl="8" marL="0" algn="r">
              <a:spcBef>
                <a:spcPts val="0"/>
              </a:spcBef>
              <a:buNone/>
              <a:defRPr/>
            </a:lvl9pPr>
          </a:lstStyle>
          <a:p>
            <a:pPr indent="0" lvl="0" marL="0" rtl="0" algn="r">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0.xml"/><Relationship Id="rId10" Type="http://schemas.openxmlformats.org/officeDocument/2006/relationships/slideLayout" Target="../slideLayouts/slideLayout9.xml"/><Relationship Id="rId13" Type="http://schemas.openxmlformats.org/officeDocument/2006/relationships/slideLayout" Target="../slideLayouts/slideLayout12.xml"/><Relationship Id="rId12" Type="http://schemas.openxmlformats.org/officeDocument/2006/relationships/slideLayout" Target="../slideLayouts/slideLayout11.xml"/><Relationship Id="rId1" Type="http://schemas.openxmlformats.org/officeDocument/2006/relationships/image" Target="../media/image1.png"/><Relationship Id="rId2" Type="http://schemas.openxmlformats.org/officeDocument/2006/relationships/slideLayout" Target="../slideLayouts/slideLayout1.xml"/><Relationship Id="rId3" Type="http://schemas.openxmlformats.org/officeDocument/2006/relationships/slideLayout" Target="../slideLayouts/slideLayout2.xml"/><Relationship Id="rId4" Type="http://schemas.openxmlformats.org/officeDocument/2006/relationships/slideLayout" Target="../slideLayouts/slideLayout3.xml"/><Relationship Id="rId9" Type="http://schemas.openxmlformats.org/officeDocument/2006/relationships/slideLayout" Target="../slideLayouts/slideLayout8.xml"/><Relationship Id="rId15" Type="http://schemas.openxmlformats.org/officeDocument/2006/relationships/theme" Target="../theme/theme2.xml"/><Relationship Id="rId14" Type="http://schemas.openxmlformats.org/officeDocument/2006/relationships/slideLayout" Target="../slideLayouts/slideLayout13.xml"/><Relationship Id="rId5" Type="http://schemas.openxmlformats.org/officeDocument/2006/relationships/slideLayout" Target="../slideLayouts/slideLayout4.xml"/><Relationship Id="rId6" Type="http://schemas.openxmlformats.org/officeDocument/2006/relationships/slideLayout" Target="../slideLayouts/slideLayout5.xml"/><Relationship Id="rId7" Type="http://schemas.openxmlformats.org/officeDocument/2006/relationships/slideLayout" Target="../slideLayouts/slideLayout6.xml"/><Relationship Id="rId8" Type="http://schemas.openxmlformats.org/officeDocument/2006/relationships/slideLayout" Target="../slideLayouts/slideLayout7.xml"/></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bg>
      <p:bgPr>
        <a:solidFill>
          <a:schemeClr val="lt1"/>
        </a:solidFill>
      </p:bgPr>
    </p:bg>
    <p:spTree>
      <p:nvGrpSpPr>
        <p:cNvPr id="9" name="Shape 9"/>
        <p:cNvGrpSpPr/>
        <p:nvPr/>
      </p:nvGrpSpPr>
      <p:grpSpPr>
        <a:xfrm>
          <a:off x="0" y="0"/>
          <a:ext cx="0" cy="0"/>
          <a:chOff x="0" y="0"/>
          <a:chExt cx="0" cy="0"/>
        </a:xfrm>
      </p:grpSpPr>
      <p:sp>
        <p:nvSpPr>
          <p:cNvPr id="10" name="Google Shape;10;p26"/>
          <p:cNvSpPr/>
          <p:nvPr/>
        </p:nvSpPr>
        <p:spPr>
          <a:xfrm>
            <a:off x="0" y="6503504"/>
            <a:ext cx="12192000" cy="384735"/>
          </a:xfrm>
          <a:prstGeom prst="rect">
            <a:avLst/>
          </a:prstGeom>
          <a:solidFill>
            <a:schemeClr val="dk2"/>
          </a:solidFill>
          <a:ln>
            <a:noFill/>
          </a:ln>
        </p:spPr>
        <p:txBody>
          <a:bodyPr anchorCtr="0" anchor="ctr" bIns="45700" lIns="91425" spcFirstLastPara="1" rIns="91425" wrap="square" tIns="45700">
            <a:noAutofit/>
          </a:bodyPr>
          <a:lstStyle/>
          <a:p>
            <a:pPr indent="0" lvl="0" marL="0" marR="0" rtl="0" algn="ctr">
              <a:spcBef>
                <a:spcPts val="0"/>
              </a:spcBef>
              <a:spcAft>
                <a:spcPts val="0"/>
              </a:spcAft>
              <a:buNone/>
            </a:pPr>
            <a:r>
              <a:t/>
            </a:r>
            <a:endParaRPr b="0" i="0" sz="3200" u="none" cap="none" strike="noStrike">
              <a:solidFill>
                <a:srgbClr val="002C77"/>
              </a:solidFill>
              <a:latin typeface="Arial"/>
              <a:ea typeface="Arial"/>
              <a:cs typeface="Arial"/>
              <a:sym typeface="Arial"/>
            </a:endParaRPr>
          </a:p>
        </p:txBody>
      </p:sp>
      <p:sp>
        <p:nvSpPr>
          <p:cNvPr id="11" name="Google Shape;11;p26"/>
          <p:cNvSpPr/>
          <p:nvPr/>
        </p:nvSpPr>
        <p:spPr>
          <a:xfrm>
            <a:off x="0" y="6503504"/>
            <a:ext cx="1600200" cy="384735"/>
          </a:xfrm>
          <a:custGeom>
            <a:rect b="b" l="l" r="r" t="t"/>
            <a:pathLst>
              <a:path extrusionOk="0" h="384735" w="1600200">
                <a:moveTo>
                  <a:pt x="0" y="0"/>
                </a:moveTo>
                <a:lnTo>
                  <a:pt x="1472137" y="0"/>
                </a:lnTo>
                <a:lnTo>
                  <a:pt x="1600200" y="384735"/>
                </a:lnTo>
                <a:lnTo>
                  <a:pt x="0" y="384735"/>
                </a:lnTo>
                <a:close/>
              </a:path>
            </a:pathLst>
          </a:custGeom>
          <a:solidFill>
            <a:srgbClr val="000000">
              <a:alpha val="20000"/>
            </a:srgbClr>
          </a:solidFill>
          <a:ln>
            <a:noFill/>
          </a:ln>
        </p:spPr>
        <p:txBody>
          <a:bodyPr anchorCtr="0" anchor="ctr" bIns="45700" lIns="91425" spcFirstLastPara="1" rIns="91425" wrap="square" tIns="45700">
            <a:noAutofit/>
          </a:bodyPr>
          <a:lstStyle/>
          <a:p>
            <a:pPr indent="0" lvl="0" marL="0" marR="0" rtl="0" algn="ctr">
              <a:spcBef>
                <a:spcPts val="0"/>
              </a:spcBef>
              <a:spcAft>
                <a:spcPts val="0"/>
              </a:spcAft>
              <a:buNone/>
            </a:pPr>
            <a:r>
              <a:t/>
            </a:r>
            <a:endParaRPr b="0" i="0" sz="1800" u="none" cap="none" strike="noStrike">
              <a:solidFill>
                <a:schemeClr val="lt1"/>
              </a:solidFill>
              <a:latin typeface="Arial"/>
              <a:ea typeface="Arial"/>
              <a:cs typeface="Arial"/>
              <a:sym typeface="Arial"/>
            </a:endParaRPr>
          </a:p>
        </p:txBody>
      </p:sp>
      <p:pic>
        <p:nvPicPr>
          <p:cNvPr id="12" name="Google Shape;12;p26"/>
          <p:cNvPicPr preferRelativeResize="0"/>
          <p:nvPr/>
        </p:nvPicPr>
        <p:blipFill rotWithShape="1">
          <a:blip r:embed="rId1">
            <a:alphaModFix/>
          </a:blip>
          <a:srcRect b="0" l="0" r="0" t="0"/>
          <a:stretch/>
        </p:blipFill>
        <p:spPr>
          <a:xfrm>
            <a:off x="152402" y="6595711"/>
            <a:ext cx="914444" cy="173098"/>
          </a:xfrm>
          <a:prstGeom prst="rect">
            <a:avLst/>
          </a:prstGeom>
          <a:noFill/>
          <a:ln>
            <a:noFill/>
          </a:ln>
        </p:spPr>
      </p:pic>
      <p:sp>
        <p:nvSpPr>
          <p:cNvPr id="13" name="Google Shape;13;p26"/>
          <p:cNvSpPr txBox="1"/>
          <p:nvPr>
            <p:ph type="title"/>
          </p:nvPr>
        </p:nvSpPr>
        <p:spPr>
          <a:xfrm>
            <a:off x="838200" y="365125"/>
            <a:ext cx="10515600" cy="480131"/>
          </a:xfrm>
          <a:prstGeom prst="rect">
            <a:avLst/>
          </a:prstGeom>
          <a:noFill/>
          <a:ln>
            <a:noFill/>
          </a:ln>
        </p:spPr>
        <p:txBody>
          <a:bodyPr anchorCtr="0" anchor="t" bIns="45700" lIns="0" spcFirstLastPara="1" rIns="0" wrap="square" tIns="45700">
            <a:spAutoFit/>
          </a:bodyPr>
          <a:lstStyle>
            <a:lvl1pPr lvl="0" marR="0" rtl="0" algn="l">
              <a:lnSpc>
                <a:spcPct val="90000"/>
              </a:lnSpc>
              <a:spcBef>
                <a:spcPts val="0"/>
              </a:spcBef>
              <a:spcAft>
                <a:spcPts val="0"/>
              </a:spcAft>
              <a:buClr>
                <a:srgbClr val="C5093B"/>
              </a:buClr>
              <a:buSzPts val="2800"/>
              <a:buFont typeface="Arial"/>
              <a:buNone/>
              <a:defRPr b="0" i="0" sz="2800" u="none" cap="none" strike="noStrike">
                <a:solidFill>
                  <a:srgbClr val="C5093B"/>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p:txBody>
      </p:sp>
      <p:sp>
        <p:nvSpPr>
          <p:cNvPr id="14" name="Google Shape;14;p26"/>
          <p:cNvSpPr txBox="1"/>
          <p:nvPr>
            <p:ph idx="1" type="body"/>
          </p:nvPr>
        </p:nvSpPr>
        <p:spPr>
          <a:xfrm>
            <a:off x="838200" y="1310108"/>
            <a:ext cx="10515600" cy="4351338"/>
          </a:xfrm>
          <a:prstGeom prst="rect">
            <a:avLst/>
          </a:prstGeom>
          <a:noFill/>
          <a:ln>
            <a:noFill/>
          </a:ln>
        </p:spPr>
        <p:txBody>
          <a:bodyPr anchorCtr="0" anchor="t" bIns="45700" lIns="0" spcFirstLastPara="1" rIns="0" wrap="square" tIns="45700">
            <a:normAutofit/>
          </a:bodyPr>
          <a:lstStyle>
            <a:lvl1pPr indent="-228600" lvl="0" marL="457200" marR="0" rtl="0" algn="l">
              <a:lnSpc>
                <a:spcPct val="113000"/>
              </a:lnSpc>
              <a:spcBef>
                <a:spcPts val="800"/>
              </a:spcBef>
              <a:spcAft>
                <a:spcPts val="0"/>
              </a:spcAft>
              <a:buClr>
                <a:schemeClr val="dk2"/>
              </a:buClr>
              <a:buSzPts val="2200"/>
              <a:buFont typeface="Arial"/>
              <a:buNone/>
              <a:defRPr b="0" i="0" sz="2200" u="none" cap="none" strike="noStrike">
                <a:solidFill>
                  <a:schemeClr val="dk2"/>
                </a:solidFill>
                <a:latin typeface="Arial"/>
                <a:ea typeface="Arial"/>
                <a:cs typeface="Arial"/>
                <a:sym typeface="Arial"/>
              </a:defRPr>
            </a:lvl1pPr>
            <a:lvl2pPr indent="-228600" lvl="1" marL="914400" marR="0" rtl="0" algn="l">
              <a:lnSpc>
                <a:spcPct val="113000"/>
              </a:lnSpc>
              <a:spcBef>
                <a:spcPts val="800"/>
              </a:spcBef>
              <a:spcAft>
                <a:spcPts val="0"/>
              </a:spcAft>
              <a:buClr>
                <a:schemeClr val="dk2"/>
              </a:buClr>
              <a:buSzPts val="1600"/>
              <a:buFont typeface="Arial"/>
              <a:buNone/>
              <a:defRPr b="0" i="0" sz="1600" u="none" cap="none" strike="noStrike">
                <a:solidFill>
                  <a:schemeClr val="dk2"/>
                </a:solidFill>
                <a:latin typeface="Arial"/>
                <a:ea typeface="Arial"/>
                <a:cs typeface="Arial"/>
                <a:sym typeface="Arial"/>
              </a:defRPr>
            </a:lvl2pPr>
            <a:lvl3pPr indent="-228600" lvl="2" marL="1371600" marR="0" rtl="0" algn="l">
              <a:lnSpc>
                <a:spcPct val="113000"/>
              </a:lnSpc>
              <a:spcBef>
                <a:spcPts val="800"/>
              </a:spcBef>
              <a:spcAft>
                <a:spcPts val="0"/>
              </a:spcAft>
              <a:buClr>
                <a:schemeClr val="dk2"/>
              </a:buClr>
              <a:buSzPts val="1600"/>
              <a:buFont typeface="Arial"/>
              <a:buNone/>
              <a:defRPr b="0" i="0" sz="1600" u="none" cap="none" strike="noStrike">
                <a:solidFill>
                  <a:schemeClr val="dk2"/>
                </a:solidFill>
                <a:latin typeface="Arial"/>
                <a:ea typeface="Arial"/>
                <a:cs typeface="Arial"/>
                <a:sym typeface="Arial"/>
              </a:defRPr>
            </a:lvl3pPr>
            <a:lvl4pPr indent="-228600" lvl="3" marL="1828800" marR="0" rtl="0" algn="l">
              <a:lnSpc>
                <a:spcPct val="113000"/>
              </a:lnSpc>
              <a:spcBef>
                <a:spcPts val="800"/>
              </a:spcBef>
              <a:spcAft>
                <a:spcPts val="0"/>
              </a:spcAft>
              <a:buClr>
                <a:schemeClr val="dk2"/>
              </a:buClr>
              <a:buSzPts val="1600"/>
              <a:buFont typeface="Arial"/>
              <a:buNone/>
              <a:defRPr b="0" i="0" sz="1600" u="none" cap="none" strike="noStrike">
                <a:solidFill>
                  <a:schemeClr val="dk2"/>
                </a:solidFill>
                <a:latin typeface="Arial"/>
                <a:ea typeface="Arial"/>
                <a:cs typeface="Arial"/>
                <a:sym typeface="Arial"/>
              </a:defRPr>
            </a:lvl4pPr>
            <a:lvl5pPr indent="-228600" lvl="4" marL="2286000" marR="0" rtl="0" algn="l">
              <a:lnSpc>
                <a:spcPct val="113000"/>
              </a:lnSpc>
              <a:spcBef>
                <a:spcPts val="800"/>
              </a:spcBef>
              <a:spcAft>
                <a:spcPts val="0"/>
              </a:spcAft>
              <a:buClr>
                <a:schemeClr val="dk2"/>
              </a:buClr>
              <a:buSzPts val="1600"/>
              <a:buFont typeface="Arial"/>
              <a:buNone/>
              <a:defRPr b="0" i="0" sz="1600" u="none" cap="none" strike="noStrike">
                <a:solidFill>
                  <a:schemeClr val="dk2"/>
                </a:solidFill>
                <a:latin typeface="Arial"/>
                <a:ea typeface="Arial"/>
                <a:cs typeface="Arial"/>
                <a:sym typeface="Arial"/>
              </a:defRPr>
            </a:lvl5pPr>
            <a:lvl6pPr indent="-342900" lvl="5" marL="2743200" marR="0" rtl="0" algn="l">
              <a:lnSpc>
                <a:spcPct val="90000"/>
              </a:lnSpc>
              <a:spcBef>
                <a:spcPts val="500"/>
              </a:spcBef>
              <a:spcAft>
                <a:spcPts val="0"/>
              </a:spcAft>
              <a:buClr>
                <a:schemeClr val="dk1"/>
              </a:buClr>
              <a:buSzPts val="1800"/>
              <a:buFont typeface="Arial"/>
              <a:buChar char="•"/>
              <a:defRPr b="0" i="0" sz="1800" u="none" cap="none" strike="noStrike">
                <a:solidFill>
                  <a:schemeClr val="dk1"/>
                </a:solidFill>
                <a:latin typeface="Arial"/>
                <a:ea typeface="Arial"/>
                <a:cs typeface="Arial"/>
                <a:sym typeface="Arial"/>
              </a:defRPr>
            </a:lvl6pPr>
            <a:lvl7pPr indent="-342900" lvl="6" marL="3200400" marR="0" rtl="0" algn="l">
              <a:lnSpc>
                <a:spcPct val="90000"/>
              </a:lnSpc>
              <a:spcBef>
                <a:spcPts val="500"/>
              </a:spcBef>
              <a:spcAft>
                <a:spcPts val="0"/>
              </a:spcAft>
              <a:buClr>
                <a:schemeClr val="dk1"/>
              </a:buClr>
              <a:buSzPts val="1800"/>
              <a:buFont typeface="Arial"/>
              <a:buChar char="•"/>
              <a:defRPr b="0" i="0" sz="1800" u="none" cap="none" strike="noStrike">
                <a:solidFill>
                  <a:schemeClr val="dk1"/>
                </a:solidFill>
                <a:latin typeface="Arial"/>
                <a:ea typeface="Arial"/>
                <a:cs typeface="Arial"/>
                <a:sym typeface="Arial"/>
              </a:defRPr>
            </a:lvl7pPr>
            <a:lvl8pPr indent="-342900" lvl="7" marL="3657600" marR="0" rtl="0" algn="l">
              <a:lnSpc>
                <a:spcPct val="90000"/>
              </a:lnSpc>
              <a:spcBef>
                <a:spcPts val="500"/>
              </a:spcBef>
              <a:spcAft>
                <a:spcPts val="0"/>
              </a:spcAft>
              <a:buClr>
                <a:schemeClr val="dk1"/>
              </a:buClr>
              <a:buSzPts val="1800"/>
              <a:buFont typeface="Arial"/>
              <a:buChar char="•"/>
              <a:defRPr b="0" i="0" sz="1800" u="none" cap="none" strike="noStrike">
                <a:solidFill>
                  <a:schemeClr val="dk1"/>
                </a:solidFill>
                <a:latin typeface="Arial"/>
                <a:ea typeface="Arial"/>
                <a:cs typeface="Arial"/>
                <a:sym typeface="Arial"/>
              </a:defRPr>
            </a:lvl8pPr>
            <a:lvl9pPr indent="-342900" lvl="8" marL="4114800" marR="0" rtl="0" algn="l">
              <a:lnSpc>
                <a:spcPct val="90000"/>
              </a:lnSpc>
              <a:spcBef>
                <a:spcPts val="500"/>
              </a:spcBef>
              <a:spcAft>
                <a:spcPts val="0"/>
              </a:spcAft>
              <a:buClr>
                <a:schemeClr val="dk1"/>
              </a:buClr>
              <a:buSzPts val="1800"/>
              <a:buFont typeface="Arial"/>
              <a:buChar char="•"/>
              <a:defRPr b="0" i="0" sz="1800" u="none" cap="none" strike="noStrike">
                <a:solidFill>
                  <a:schemeClr val="dk1"/>
                </a:solidFill>
                <a:latin typeface="Arial"/>
                <a:ea typeface="Arial"/>
                <a:cs typeface="Arial"/>
                <a:sym typeface="Arial"/>
              </a:defRPr>
            </a:lvl9pPr>
          </a:lstStyle>
          <a:p/>
        </p:txBody>
      </p:sp>
      <p:sp>
        <p:nvSpPr>
          <p:cNvPr id="15" name="Google Shape;15;p26"/>
          <p:cNvSpPr txBox="1"/>
          <p:nvPr>
            <p:ph idx="11" type="ftr"/>
          </p:nvPr>
        </p:nvSpPr>
        <p:spPr>
          <a:xfrm>
            <a:off x="7928904" y="6513308"/>
            <a:ext cx="4114800" cy="365125"/>
          </a:xfrm>
          <a:prstGeom prst="rect">
            <a:avLst/>
          </a:prstGeom>
          <a:noFill/>
          <a:ln>
            <a:noFill/>
          </a:ln>
        </p:spPr>
        <p:txBody>
          <a:bodyPr anchorCtr="0" anchor="ctr" bIns="45700" lIns="91425" spcFirstLastPara="1" rIns="91425" wrap="square" tIns="45700">
            <a:noAutofit/>
          </a:bodyPr>
          <a:lstStyle>
            <a:lvl1pPr lvl="0" marR="0" rtl="0" algn="r">
              <a:spcBef>
                <a:spcPts val="0"/>
              </a:spcBef>
              <a:spcAft>
                <a:spcPts val="0"/>
              </a:spcAft>
              <a:buSzPts val="1400"/>
              <a:buNone/>
              <a:defRPr b="0" i="0" sz="1000" u="none" cap="none" strike="noStrike">
                <a:solidFill>
                  <a:srgbClr val="AFAFAF"/>
                </a:solidFill>
                <a:latin typeface="Arial"/>
                <a:ea typeface="Arial"/>
                <a:cs typeface="Arial"/>
                <a:sym typeface="Arial"/>
              </a:defRPr>
            </a:lvl1pPr>
            <a:lvl2pPr lvl="1" marR="0" rtl="0" algn="l">
              <a:spcBef>
                <a:spcPts val="0"/>
              </a:spcBef>
              <a:spcAft>
                <a:spcPts val="0"/>
              </a:spcAft>
              <a:buSzPts val="1400"/>
              <a:buNone/>
              <a:defRPr b="0" i="0" sz="1800" u="none" cap="none" strike="noStrike">
                <a:solidFill>
                  <a:schemeClr val="dk1"/>
                </a:solidFill>
                <a:latin typeface="Arial"/>
                <a:ea typeface="Arial"/>
                <a:cs typeface="Arial"/>
                <a:sym typeface="Arial"/>
              </a:defRPr>
            </a:lvl2pPr>
            <a:lvl3pPr lvl="2" marR="0" rtl="0" algn="l">
              <a:spcBef>
                <a:spcPts val="0"/>
              </a:spcBef>
              <a:spcAft>
                <a:spcPts val="0"/>
              </a:spcAft>
              <a:buSzPts val="1400"/>
              <a:buNone/>
              <a:defRPr b="0" i="0" sz="1800" u="none" cap="none" strike="noStrike">
                <a:solidFill>
                  <a:schemeClr val="dk1"/>
                </a:solidFill>
                <a:latin typeface="Arial"/>
                <a:ea typeface="Arial"/>
                <a:cs typeface="Arial"/>
                <a:sym typeface="Arial"/>
              </a:defRPr>
            </a:lvl3pPr>
            <a:lvl4pPr lvl="3" marR="0" rtl="0" algn="l">
              <a:spcBef>
                <a:spcPts val="0"/>
              </a:spcBef>
              <a:spcAft>
                <a:spcPts val="0"/>
              </a:spcAft>
              <a:buSzPts val="1400"/>
              <a:buNone/>
              <a:defRPr b="0" i="0" sz="1800" u="none" cap="none" strike="noStrike">
                <a:solidFill>
                  <a:schemeClr val="dk1"/>
                </a:solidFill>
                <a:latin typeface="Arial"/>
                <a:ea typeface="Arial"/>
                <a:cs typeface="Arial"/>
                <a:sym typeface="Arial"/>
              </a:defRPr>
            </a:lvl4pPr>
            <a:lvl5pPr lvl="4" marR="0" rtl="0" algn="l">
              <a:spcBef>
                <a:spcPts val="0"/>
              </a:spcBef>
              <a:spcAft>
                <a:spcPts val="0"/>
              </a:spcAft>
              <a:buSzPts val="1400"/>
              <a:buNone/>
              <a:defRPr b="0" i="0" sz="1800" u="none" cap="none" strike="noStrike">
                <a:solidFill>
                  <a:schemeClr val="dk1"/>
                </a:solidFill>
                <a:latin typeface="Arial"/>
                <a:ea typeface="Arial"/>
                <a:cs typeface="Arial"/>
                <a:sym typeface="Arial"/>
              </a:defRPr>
            </a:lvl5pPr>
            <a:lvl6pPr lvl="5" marR="0" rtl="0" algn="l">
              <a:spcBef>
                <a:spcPts val="0"/>
              </a:spcBef>
              <a:spcAft>
                <a:spcPts val="0"/>
              </a:spcAft>
              <a:buSzPts val="1400"/>
              <a:buNone/>
              <a:defRPr b="0" i="0" sz="1800" u="none" cap="none" strike="noStrike">
                <a:solidFill>
                  <a:schemeClr val="dk1"/>
                </a:solidFill>
                <a:latin typeface="Arial"/>
                <a:ea typeface="Arial"/>
                <a:cs typeface="Arial"/>
                <a:sym typeface="Arial"/>
              </a:defRPr>
            </a:lvl6pPr>
            <a:lvl7pPr lvl="6" marR="0" rtl="0" algn="l">
              <a:spcBef>
                <a:spcPts val="0"/>
              </a:spcBef>
              <a:spcAft>
                <a:spcPts val="0"/>
              </a:spcAft>
              <a:buSzPts val="1400"/>
              <a:buNone/>
              <a:defRPr b="0" i="0" sz="1800" u="none" cap="none" strike="noStrike">
                <a:solidFill>
                  <a:schemeClr val="dk1"/>
                </a:solidFill>
                <a:latin typeface="Arial"/>
                <a:ea typeface="Arial"/>
                <a:cs typeface="Arial"/>
                <a:sym typeface="Arial"/>
              </a:defRPr>
            </a:lvl7pPr>
            <a:lvl8pPr lvl="7" marR="0" rtl="0" algn="l">
              <a:spcBef>
                <a:spcPts val="0"/>
              </a:spcBef>
              <a:spcAft>
                <a:spcPts val="0"/>
              </a:spcAft>
              <a:buSzPts val="1400"/>
              <a:buNone/>
              <a:defRPr b="0" i="0" sz="1800" u="none" cap="none" strike="noStrike">
                <a:solidFill>
                  <a:schemeClr val="dk1"/>
                </a:solidFill>
                <a:latin typeface="Arial"/>
                <a:ea typeface="Arial"/>
                <a:cs typeface="Arial"/>
                <a:sym typeface="Arial"/>
              </a:defRPr>
            </a:lvl8pPr>
            <a:lvl9pPr lvl="8" marR="0" rtl="0" algn="l">
              <a:spcBef>
                <a:spcPts val="0"/>
              </a:spcBef>
              <a:spcAft>
                <a:spcPts val="0"/>
              </a:spcAft>
              <a:buSzPts val="1400"/>
              <a:buNone/>
              <a:defRPr b="0" i="0" sz="1800" u="none" cap="none" strike="noStrike">
                <a:solidFill>
                  <a:schemeClr val="dk1"/>
                </a:solidFill>
                <a:latin typeface="Arial"/>
                <a:ea typeface="Arial"/>
                <a:cs typeface="Arial"/>
                <a:sym typeface="Arial"/>
              </a:defRPr>
            </a:lvl9pPr>
          </a:lstStyle>
          <a:p/>
        </p:txBody>
      </p:sp>
      <p:sp>
        <p:nvSpPr>
          <p:cNvPr id="16" name="Google Shape;16;p26"/>
          <p:cNvSpPr txBox="1"/>
          <p:nvPr>
            <p:ph idx="12" type="sldNum"/>
          </p:nvPr>
        </p:nvSpPr>
        <p:spPr>
          <a:xfrm>
            <a:off x="9300504" y="6126298"/>
            <a:ext cx="2743200" cy="365125"/>
          </a:xfrm>
          <a:prstGeom prst="rect">
            <a:avLst/>
          </a:prstGeom>
          <a:noFill/>
          <a:ln>
            <a:noFill/>
          </a:ln>
        </p:spPr>
        <p:txBody>
          <a:bodyPr anchorCtr="0" anchor="ctr" bIns="45700" lIns="91425" spcFirstLastPara="1" rIns="91425" wrap="square" tIns="45700">
            <a:noAutofit/>
          </a:bodyPr>
          <a:lstStyle>
            <a:lvl1pPr indent="0" lvl="0" marL="0" marR="0" rtl="0" algn="r">
              <a:spcBef>
                <a:spcPts val="0"/>
              </a:spcBef>
              <a:buNone/>
              <a:defRPr b="1" i="0" sz="1000" u="none" cap="none" strike="noStrike">
                <a:solidFill>
                  <a:srgbClr val="AFAFAF"/>
                </a:solidFill>
                <a:latin typeface="Arial"/>
                <a:ea typeface="Arial"/>
                <a:cs typeface="Arial"/>
                <a:sym typeface="Arial"/>
              </a:defRPr>
            </a:lvl1pPr>
            <a:lvl2pPr indent="0" lvl="1" marL="0" marR="0" rtl="0" algn="r">
              <a:spcBef>
                <a:spcPts val="0"/>
              </a:spcBef>
              <a:buNone/>
              <a:defRPr b="1" i="0" sz="1000" u="none" cap="none" strike="noStrike">
                <a:solidFill>
                  <a:srgbClr val="AFAFAF"/>
                </a:solidFill>
                <a:latin typeface="Arial"/>
                <a:ea typeface="Arial"/>
                <a:cs typeface="Arial"/>
                <a:sym typeface="Arial"/>
              </a:defRPr>
            </a:lvl2pPr>
            <a:lvl3pPr indent="0" lvl="2" marL="0" marR="0" rtl="0" algn="r">
              <a:spcBef>
                <a:spcPts val="0"/>
              </a:spcBef>
              <a:buNone/>
              <a:defRPr b="1" i="0" sz="1000" u="none" cap="none" strike="noStrike">
                <a:solidFill>
                  <a:srgbClr val="AFAFAF"/>
                </a:solidFill>
                <a:latin typeface="Arial"/>
                <a:ea typeface="Arial"/>
                <a:cs typeface="Arial"/>
                <a:sym typeface="Arial"/>
              </a:defRPr>
            </a:lvl3pPr>
            <a:lvl4pPr indent="0" lvl="3" marL="0" marR="0" rtl="0" algn="r">
              <a:spcBef>
                <a:spcPts val="0"/>
              </a:spcBef>
              <a:buNone/>
              <a:defRPr b="1" i="0" sz="1000" u="none" cap="none" strike="noStrike">
                <a:solidFill>
                  <a:srgbClr val="AFAFAF"/>
                </a:solidFill>
                <a:latin typeface="Arial"/>
                <a:ea typeface="Arial"/>
                <a:cs typeface="Arial"/>
                <a:sym typeface="Arial"/>
              </a:defRPr>
            </a:lvl4pPr>
            <a:lvl5pPr indent="0" lvl="4" marL="0" marR="0" rtl="0" algn="r">
              <a:spcBef>
                <a:spcPts val="0"/>
              </a:spcBef>
              <a:buNone/>
              <a:defRPr b="1" i="0" sz="1000" u="none" cap="none" strike="noStrike">
                <a:solidFill>
                  <a:srgbClr val="AFAFAF"/>
                </a:solidFill>
                <a:latin typeface="Arial"/>
                <a:ea typeface="Arial"/>
                <a:cs typeface="Arial"/>
                <a:sym typeface="Arial"/>
              </a:defRPr>
            </a:lvl5pPr>
            <a:lvl6pPr indent="0" lvl="5" marL="0" marR="0" rtl="0" algn="r">
              <a:spcBef>
                <a:spcPts val="0"/>
              </a:spcBef>
              <a:buNone/>
              <a:defRPr b="1" i="0" sz="1000" u="none" cap="none" strike="noStrike">
                <a:solidFill>
                  <a:srgbClr val="AFAFAF"/>
                </a:solidFill>
                <a:latin typeface="Arial"/>
                <a:ea typeface="Arial"/>
                <a:cs typeface="Arial"/>
                <a:sym typeface="Arial"/>
              </a:defRPr>
            </a:lvl6pPr>
            <a:lvl7pPr indent="0" lvl="6" marL="0" marR="0" rtl="0" algn="r">
              <a:spcBef>
                <a:spcPts val="0"/>
              </a:spcBef>
              <a:buNone/>
              <a:defRPr b="1" i="0" sz="1000" u="none" cap="none" strike="noStrike">
                <a:solidFill>
                  <a:srgbClr val="AFAFAF"/>
                </a:solidFill>
                <a:latin typeface="Arial"/>
                <a:ea typeface="Arial"/>
                <a:cs typeface="Arial"/>
                <a:sym typeface="Arial"/>
              </a:defRPr>
            </a:lvl7pPr>
            <a:lvl8pPr indent="0" lvl="7" marL="0" marR="0" rtl="0" algn="r">
              <a:spcBef>
                <a:spcPts val="0"/>
              </a:spcBef>
              <a:buNone/>
              <a:defRPr b="1" i="0" sz="1000" u="none" cap="none" strike="noStrike">
                <a:solidFill>
                  <a:srgbClr val="AFAFAF"/>
                </a:solidFill>
                <a:latin typeface="Arial"/>
                <a:ea typeface="Arial"/>
                <a:cs typeface="Arial"/>
                <a:sym typeface="Arial"/>
              </a:defRPr>
            </a:lvl8pPr>
            <a:lvl9pPr indent="0" lvl="8" marL="0" marR="0" rtl="0" algn="r">
              <a:spcBef>
                <a:spcPts val="0"/>
              </a:spcBef>
              <a:buNone/>
              <a:defRPr b="1" i="0" sz="1000" u="none" cap="none" strike="noStrike">
                <a:solidFill>
                  <a:srgbClr val="AFAFAF"/>
                </a:solidFill>
                <a:latin typeface="Arial"/>
                <a:ea typeface="Arial"/>
                <a:cs typeface="Arial"/>
                <a:sym typeface="Arial"/>
              </a:defRPr>
            </a:lvl9pPr>
          </a:lstStyle>
          <a:p>
            <a:pPr indent="0" lvl="0" marL="0" rtl="0" algn="r">
              <a:spcBef>
                <a:spcPts val="0"/>
              </a:spcBef>
              <a:spcAft>
                <a:spcPts val="0"/>
              </a:spcAft>
              <a:buNone/>
            </a:pPr>
            <a:fld id="{00000000-1234-1234-1234-123412341234}" type="slidenum">
              <a:rPr lang="en-US"/>
              <a:t>‹#›</a:t>
            </a:fld>
            <a:endParaRPr/>
          </a:p>
        </p:txBody>
      </p:sp>
    </p:spTree>
  </p:cSld>
  <p:clrMap accent1="accent1" accent2="accent2" accent3="accent3" accent4="accent4" accent5="accent5" accent6="accent6" bg1="lt1" bg2="dk2" tx1="dk1" tx2="lt2" folHlink="folHlink" hlink="hlink"/>
  <p:sldLayoutIdLst>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Lst>
  <p:hf dt="0" ftr="0" hdr="0"/>
  <p:txStyles>
    <p:title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titleStyle>
    <p:body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bodyStyle>
    <p:other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vmlDrawing" Target="../drawings/vmlDrawing1.vml"/><Relationship Id="rId4" Type="http://schemas.openxmlformats.org/officeDocument/2006/relationships/oleObject" Target="../embeddings/oleObject1.bin"/><Relationship Id="rId5" Type="http://schemas.openxmlformats.org/officeDocument/2006/relationships/oleObject" Target="../embeddings/oleObject1.bin"/><Relationship Id="rId6"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0.xml"/><Relationship Id="rId3" Type="http://schemas.openxmlformats.org/officeDocument/2006/relationships/image" Target="../media/image10.png"/><Relationship Id="rId4" Type="http://schemas.openxmlformats.org/officeDocument/2006/relationships/image" Target="../media/image11.png"/><Relationship Id="rId5" Type="http://schemas.openxmlformats.org/officeDocument/2006/relationships/image" Target="../media/image1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1.xml"/><Relationship Id="rId3" Type="http://schemas.openxmlformats.org/officeDocument/2006/relationships/image" Target="../media/image10.png"/><Relationship Id="rId4" Type="http://schemas.openxmlformats.org/officeDocument/2006/relationships/image" Target="../media/image20.png"/><Relationship Id="rId5" Type="http://schemas.openxmlformats.org/officeDocument/2006/relationships/image" Target="../media/image1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2.xml"/><Relationship Id="rId3" Type="http://schemas.openxmlformats.org/officeDocument/2006/relationships/image" Target="../media/image10.png"/><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3.xml"/><Relationship Id="rId3" Type="http://schemas.openxmlformats.org/officeDocument/2006/relationships/image" Target="../media/image11.png"/><Relationship Id="rId4" Type="http://schemas.openxmlformats.org/officeDocument/2006/relationships/image" Target="../media/image12.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4.xml"/><Relationship Id="rId3" Type="http://schemas.openxmlformats.org/officeDocument/2006/relationships/image" Target="../media/image15.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6.xml"/><Relationship Id="rId3" Type="http://schemas.openxmlformats.org/officeDocument/2006/relationships/image" Target="../media/image18.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7.xml"/><Relationship Id="rId3" Type="http://schemas.openxmlformats.org/officeDocument/2006/relationships/image" Target="../media/image16.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8.xml"/><Relationship Id="rId3" Type="http://schemas.openxmlformats.org/officeDocument/2006/relationships/image" Target="../media/image2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9.xml"/><Relationship Id="rId3" Type="http://schemas.openxmlformats.org/officeDocument/2006/relationships/image" Target="../media/image17.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0.xml"/><Relationship Id="rId3" Type="http://schemas.openxmlformats.org/officeDocument/2006/relationships/image" Target="../media/image24.png"/><Relationship Id="rId4" Type="http://schemas.openxmlformats.org/officeDocument/2006/relationships/image" Target="../media/image22.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1.xml"/><Relationship Id="rId3" Type="http://schemas.openxmlformats.org/officeDocument/2006/relationships/image" Target="../media/image25.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xml"/><Relationship Id="rId3" Type="http://schemas.openxmlformats.org/officeDocument/2006/relationships/image" Target="../media/image5.pn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5.xml"/><Relationship Id="rId3" Type="http://schemas.openxmlformats.org/officeDocument/2006/relationships/image" Target="../media/image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6.xml"/><Relationship Id="rId3" Type="http://schemas.openxmlformats.org/officeDocument/2006/relationships/image" Target="../media/image8.pn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7.xml"/><Relationship Id="rId3" Type="http://schemas.openxmlformats.org/officeDocument/2006/relationships/image" Target="../media/image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8.xml"/><Relationship Id="rId3" Type="http://schemas.openxmlformats.org/officeDocument/2006/relationships/image" Target="../media/image1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9.xml"/><Relationship Id="rId3" Type="http://schemas.openxmlformats.org/officeDocument/2006/relationships/image" Target="../media/image10.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86" name="Shape 86"/>
        <p:cNvGrpSpPr/>
        <p:nvPr/>
      </p:nvGrpSpPr>
      <p:grpSpPr>
        <a:xfrm>
          <a:off x="0" y="0"/>
          <a:ext cx="0" cy="0"/>
          <a:chOff x="0" y="0"/>
          <a:chExt cx="0" cy="0"/>
        </a:xfrm>
      </p:grpSpPr>
      <p:graphicFrame>
        <p:nvGraphicFramePr>
          <p:cNvPr id="87" name="Google Shape;87;p1"/>
          <p:cNvGraphicFramePr/>
          <p:nvPr/>
        </p:nvGraphicFramePr>
        <p:xfrm>
          <a:off x="1588" y="1588"/>
          <a:ext cx="1588" cy="1588"/>
        </p:xfrm>
        <a:graphic>
          <a:graphicData uri="http://schemas.openxmlformats.org/presentationml/2006/ole">
            <mc:AlternateContent>
              <mc:Choice Requires="v">
                <p:oleObj r:id="rId4" imgH="1588" imgW="1588" progId="TCLayout.ActiveDocument.1" spid="_x0000_s1">
                  <p:embed/>
                </p:oleObj>
              </mc:Choice>
              <mc:Fallback>
                <p:oleObj r:id="rId5" imgH="1588" imgW="1588" progId="TCLayout.ActiveDocument.1">
                  <p:embed/>
                  <p:pic>
                    <p:nvPicPr>
                      <p:cNvPr id="87" name="Google Shape;87;p1"/>
                      <p:cNvPicPr preferRelativeResize="0"/>
                      <p:nvPr/>
                    </p:nvPicPr>
                    <p:blipFill rotWithShape="1">
                      <a:blip r:embed="rId6">
                        <a:alphaModFix/>
                      </a:blip>
                      <a:srcRect b="0" l="0" r="0" t="0"/>
                      <a:stretch/>
                    </p:blipFill>
                    <p:spPr>
                      <a:xfrm>
                        <a:off x="1588" y="1588"/>
                        <a:ext cx="1588" cy="1588"/>
                      </a:xfrm>
                      <a:prstGeom prst="rect">
                        <a:avLst/>
                      </a:prstGeom>
                      <a:noFill/>
                      <a:ln>
                        <a:noFill/>
                      </a:ln>
                    </p:spPr>
                  </p:pic>
                </p:oleObj>
              </mc:Fallback>
            </mc:AlternateContent>
          </a:graphicData>
        </a:graphic>
      </p:graphicFrame>
      <p:sp>
        <p:nvSpPr>
          <p:cNvPr id="88" name="Google Shape;88;p1"/>
          <p:cNvSpPr txBox="1"/>
          <p:nvPr>
            <p:ph type="ctrTitle"/>
          </p:nvPr>
        </p:nvSpPr>
        <p:spPr>
          <a:xfrm>
            <a:off x="0" y="2468846"/>
            <a:ext cx="11237720" cy="646331"/>
          </a:xfrm>
          <a:prstGeom prst="rect">
            <a:avLst/>
          </a:prstGeom>
          <a:noFill/>
          <a:ln>
            <a:noFill/>
          </a:ln>
        </p:spPr>
        <p:txBody>
          <a:bodyPr anchorCtr="0" anchor="b" bIns="45700" lIns="0" spcFirstLastPara="1" rIns="0" wrap="square" tIns="45700">
            <a:spAutoFit/>
          </a:bodyPr>
          <a:lstStyle/>
          <a:p>
            <a:pPr indent="0" lvl="0" marL="0" rtl="0" algn="ctr">
              <a:lnSpc>
                <a:spcPct val="90000"/>
              </a:lnSpc>
              <a:spcBef>
                <a:spcPts val="0"/>
              </a:spcBef>
              <a:spcAft>
                <a:spcPts val="0"/>
              </a:spcAft>
              <a:buClr>
                <a:schemeClr val="lt1"/>
              </a:buClr>
              <a:buSzPts val="4000"/>
              <a:buFont typeface="Arial"/>
              <a:buNone/>
            </a:pPr>
            <a:r>
              <a:rPr lang="en-US"/>
              <a:t>Case Competition: Electronic Arts</a:t>
            </a:r>
            <a:endParaRPr/>
          </a:p>
        </p:txBody>
      </p:sp>
      <p:graphicFrame>
        <p:nvGraphicFramePr>
          <p:cNvPr id="89" name="Google Shape;89;p1"/>
          <p:cNvGraphicFramePr/>
          <p:nvPr/>
        </p:nvGraphicFramePr>
        <p:xfrm>
          <a:off x="828136" y="4423183"/>
          <a:ext cx="3000000" cy="3000000"/>
        </p:xfrm>
        <a:graphic>
          <a:graphicData uri="http://schemas.openxmlformats.org/drawingml/2006/table">
            <a:tbl>
              <a:tblPr bandRow="1" firstRow="1">
                <a:noFill/>
                <a:tableStyleId>{AC5D65F7-AA4B-48DB-8A8D-4A46BA5F0523}</a:tableStyleId>
              </a:tblPr>
              <a:tblGrid>
                <a:gridCol w="4960200"/>
                <a:gridCol w="5926350"/>
              </a:tblGrid>
              <a:tr h="616175">
                <a:tc>
                  <a:txBody>
                    <a:bodyPr/>
                    <a:lstStyle/>
                    <a:p>
                      <a:pPr indent="0" lvl="0" marL="0" marR="0" rtl="0" algn="ctr">
                        <a:lnSpc>
                          <a:spcPct val="100000"/>
                        </a:lnSpc>
                        <a:spcBef>
                          <a:spcPts val="0"/>
                        </a:spcBef>
                        <a:spcAft>
                          <a:spcPts val="0"/>
                        </a:spcAft>
                        <a:buClr>
                          <a:schemeClr val="lt1"/>
                        </a:buClr>
                        <a:buSzPts val="2200"/>
                        <a:buFont typeface="Garamond"/>
                        <a:buNone/>
                      </a:pPr>
                      <a:r>
                        <a:rPr b="0" lang="en-US" sz="2200">
                          <a:latin typeface="Garamond"/>
                          <a:ea typeface="Garamond"/>
                          <a:cs typeface="Garamond"/>
                          <a:sym typeface="Garamond"/>
                        </a:rPr>
                        <a:t>Yang Xiao</a:t>
                      </a:r>
                      <a:endParaRPr sz="2200" u="none" cap="none" strike="noStrike">
                        <a:solidFill>
                          <a:schemeClr val="lt1"/>
                        </a:solidFill>
                      </a:endParaRPr>
                    </a:p>
                  </a:txBody>
                  <a:tcPr marT="45725" marB="45725" marR="91450" marL="91450" anchor="ctr">
                    <a:lnL cap="flat" cmpd="sng" w="9525">
                      <a:solidFill>
                        <a:srgbClr val="000000">
                          <a:alpha val="0"/>
                        </a:srgbClr>
                      </a:solidFill>
                      <a:prstDash val="solid"/>
                      <a:round/>
                      <a:headEnd len="sm" w="sm" type="none"/>
                      <a:tailEnd len="sm" w="sm" type="none"/>
                    </a:lnL>
                    <a:lnR cap="flat" cmpd="sng" w="9525">
                      <a:solidFill>
                        <a:srgbClr val="000000">
                          <a:alpha val="0"/>
                        </a:srgbClr>
                      </a:solidFill>
                      <a:prstDash val="solid"/>
                      <a:round/>
                      <a:headEnd len="sm" w="sm" type="none"/>
                      <a:tailEnd len="sm" w="sm" type="none"/>
                    </a:lnR>
                    <a:lnT cap="flat" cmpd="sng" w="9525">
                      <a:solidFill>
                        <a:srgbClr val="000000">
                          <a:alpha val="0"/>
                        </a:srgbClr>
                      </a:solidFill>
                      <a:prstDash val="solid"/>
                      <a:round/>
                      <a:headEnd len="sm" w="sm" type="none"/>
                      <a:tailEnd len="sm" w="sm" type="none"/>
                    </a:lnT>
                    <a:lnB cap="flat" cmpd="sng" w="9525">
                      <a:solidFill>
                        <a:srgbClr val="000000">
                          <a:alpha val="0"/>
                        </a:srgbClr>
                      </a:solidFill>
                      <a:prstDash val="solid"/>
                      <a:round/>
                      <a:headEnd len="sm" w="sm" type="none"/>
                      <a:tailEnd len="sm" w="sm" type="none"/>
                    </a:lnB>
                  </a:tcPr>
                </a:tc>
                <a:tc>
                  <a:txBody>
                    <a:bodyPr/>
                    <a:lstStyle/>
                    <a:p>
                      <a:pPr indent="0" lvl="0" marL="0" marR="0" rtl="0" algn="ctr">
                        <a:lnSpc>
                          <a:spcPct val="100000"/>
                        </a:lnSpc>
                        <a:spcBef>
                          <a:spcPts val="0"/>
                        </a:spcBef>
                        <a:spcAft>
                          <a:spcPts val="0"/>
                        </a:spcAft>
                        <a:buClr>
                          <a:schemeClr val="lt1"/>
                        </a:buClr>
                        <a:buSzPts val="2200"/>
                        <a:buFont typeface="Garamond"/>
                        <a:buNone/>
                      </a:pPr>
                      <a:r>
                        <a:rPr b="0" lang="en-US" sz="2200">
                          <a:latin typeface="Garamond"/>
                          <a:ea typeface="Garamond"/>
                          <a:cs typeface="Garamond"/>
                          <a:sym typeface="Garamond"/>
                        </a:rPr>
                        <a:t>Yabing Hu</a:t>
                      </a:r>
                      <a:endParaRPr sz="2200" u="none" cap="none" strike="noStrike">
                        <a:solidFill>
                          <a:schemeClr val="lt1"/>
                        </a:solidFill>
                      </a:endParaRPr>
                    </a:p>
                  </a:txBody>
                  <a:tcPr marT="45725" marB="45725" marR="91450" marL="91450" anchor="ctr">
                    <a:lnL cap="flat" cmpd="sng" w="9525">
                      <a:solidFill>
                        <a:srgbClr val="000000">
                          <a:alpha val="0"/>
                        </a:srgbClr>
                      </a:solidFill>
                      <a:prstDash val="solid"/>
                      <a:round/>
                      <a:headEnd len="sm" w="sm" type="none"/>
                      <a:tailEnd len="sm" w="sm" type="none"/>
                    </a:lnL>
                    <a:lnR cap="flat" cmpd="sng" w="9525">
                      <a:solidFill>
                        <a:srgbClr val="000000">
                          <a:alpha val="0"/>
                        </a:srgbClr>
                      </a:solidFill>
                      <a:prstDash val="solid"/>
                      <a:round/>
                      <a:headEnd len="sm" w="sm" type="none"/>
                      <a:tailEnd len="sm" w="sm" type="none"/>
                    </a:lnR>
                    <a:lnT cap="flat" cmpd="sng" w="9525">
                      <a:solidFill>
                        <a:srgbClr val="000000">
                          <a:alpha val="0"/>
                        </a:srgbClr>
                      </a:solidFill>
                      <a:prstDash val="solid"/>
                      <a:round/>
                      <a:headEnd len="sm" w="sm" type="none"/>
                      <a:tailEnd len="sm" w="sm" type="none"/>
                    </a:lnT>
                    <a:lnB cap="flat" cmpd="sng" w="9525">
                      <a:solidFill>
                        <a:srgbClr val="000000">
                          <a:alpha val="0"/>
                        </a:srgbClr>
                      </a:solidFill>
                      <a:prstDash val="solid"/>
                      <a:round/>
                      <a:headEnd len="sm" w="sm" type="none"/>
                      <a:tailEnd len="sm" w="sm" type="none"/>
                    </a:lnB>
                  </a:tcPr>
                </a:tc>
              </a:tr>
              <a:tr h="758950">
                <a:tc>
                  <a:txBody>
                    <a:bodyPr/>
                    <a:lstStyle/>
                    <a:p>
                      <a:pPr indent="0" lvl="0" marL="0" marR="0" rtl="0" algn="ctr">
                        <a:lnSpc>
                          <a:spcPct val="100000"/>
                        </a:lnSpc>
                        <a:spcBef>
                          <a:spcPts val="0"/>
                        </a:spcBef>
                        <a:spcAft>
                          <a:spcPts val="0"/>
                        </a:spcAft>
                        <a:buClr>
                          <a:schemeClr val="lt1"/>
                        </a:buClr>
                        <a:buSzPts val="2200"/>
                        <a:buFont typeface="Garamond"/>
                        <a:buNone/>
                      </a:pPr>
                      <a:r>
                        <a:rPr lang="en-US" sz="2200">
                          <a:solidFill>
                            <a:schemeClr val="lt1"/>
                          </a:solidFill>
                          <a:latin typeface="Garamond"/>
                          <a:ea typeface="Garamond"/>
                          <a:cs typeface="Garamond"/>
                          <a:sym typeface="Garamond"/>
                        </a:rPr>
                        <a:t>Mian Wang</a:t>
                      </a:r>
                      <a:endParaRPr sz="2200" u="none" cap="none" strike="noStrike">
                        <a:solidFill>
                          <a:schemeClr val="lt1"/>
                        </a:solidFill>
                      </a:endParaRPr>
                    </a:p>
                  </a:txBody>
                  <a:tcPr marT="45725" marB="45725" marR="91450" marL="91450" anchor="ctr">
                    <a:lnL cap="flat" cmpd="sng" w="9525">
                      <a:solidFill>
                        <a:srgbClr val="000000">
                          <a:alpha val="0"/>
                        </a:srgbClr>
                      </a:solidFill>
                      <a:prstDash val="solid"/>
                      <a:round/>
                      <a:headEnd len="sm" w="sm" type="none"/>
                      <a:tailEnd len="sm" w="sm" type="none"/>
                    </a:lnL>
                    <a:lnR cap="flat" cmpd="sng" w="9525">
                      <a:solidFill>
                        <a:srgbClr val="000000">
                          <a:alpha val="0"/>
                        </a:srgbClr>
                      </a:solidFill>
                      <a:prstDash val="solid"/>
                      <a:round/>
                      <a:headEnd len="sm" w="sm" type="none"/>
                      <a:tailEnd len="sm" w="sm" type="none"/>
                    </a:lnR>
                    <a:lnT cap="flat" cmpd="sng" w="9525">
                      <a:solidFill>
                        <a:srgbClr val="000000">
                          <a:alpha val="0"/>
                        </a:srgbClr>
                      </a:solidFill>
                      <a:prstDash val="solid"/>
                      <a:round/>
                      <a:headEnd len="sm" w="sm" type="none"/>
                      <a:tailEnd len="sm" w="sm" type="none"/>
                    </a:lnT>
                    <a:lnB cap="flat" cmpd="sng" w="9525">
                      <a:solidFill>
                        <a:srgbClr val="000000">
                          <a:alpha val="0"/>
                        </a:srgbClr>
                      </a:solidFill>
                      <a:prstDash val="solid"/>
                      <a:round/>
                      <a:headEnd len="sm" w="sm" type="none"/>
                      <a:tailEnd len="sm" w="sm" type="none"/>
                    </a:lnB>
                    <a:solidFill>
                      <a:schemeClr val="dk2"/>
                    </a:solidFill>
                  </a:tcPr>
                </a:tc>
                <a:tc>
                  <a:txBody>
                    <a:bodyPr/>
                    <a:lstStyle/>
                    <a:p>
                      <a:pPr indent="0" lvl="0" marL="0" marR="0" rtl="0" algn="ctr">
                        <a:lnSpc>
                          <a:spcPct val="100000"/>
                        </a:lnSpc>
                        <a:spcBef>
                          <a:spcPts val="0"/>
                        </a:spcBef>
                        <a:spcAft>
                          <a:spcPts val="0"/>
                        </a:spcAft>
                        <a:buClr>
                          <a:schemeClr val="lt1"/>
                        </a:buClr>
                        <a:buSzPts val="2200"/>
                        <a:buFont typeface="Garamond"/>
                        <a:buNone/>
                      </a:pPr>
                      <a:r>
                        <a:rPr lang="en-US" sz="2200">
                          <a:solidFill>
                            <a:schemeClr val="lt1"/>
                          </a:solidFill>
                          <a:latin typeface="Garamond"/>
                          <a:ea typeface="Garamond"/>
                          <a:cs typeface="Garamond"/>
                          <a:sym typeface="Garamond"/>
                        </a:rPr>
                        <a:t>Tien Pham</a:t>
                      </a:r>
                      <a:endParaRPr sz="2200" u="none" cap="none" strike="noStrike">
                        <a:solidFill>
                          <a:schemeClr val="lt1"/>
                        </a:solidFill>
                      </a:endParaRPr>
                    </a:p>
                  </a:txBody>
                  <a:tcPr marT="45725" marB="45725" marR="91450" marL="91450" anchor="ctr">
                    <a:lnL cap="flat" cmpd="sng" w="9525">
                      <a:solidFill>
                        <a:srgbClr val="000000">
                          <a:alpha val="0"/>
                        </a:srgbClr>
                      </a:solidFill>
                      <a:prstDash val="solid"/>
                      <a:round/>
                      <a:headEnd len="sm" w="sm" type="none"/>
                      <a:tailEnd len="sm" w="sm" type="none"/>
                    </a:lnL>
                    <a:lnR cap="flat" cmpd="sng" w="9525">
                      <a:solidFill>
                        <a:srgbClr val="000000">
                          <a:alpha val="0"/>
                        </a:srgbClr>
                      </a:solidFill>
                      <a:prstDash val="solid"/>
                      <a:round/>
                      <a:headEnd len="sm" w="sm" type="none"/>
                      <a:tailEnd len="sm" w="sm" type="none"/>
                    </a:lnR>
                    <a:lnT cap="flat" cmpd="sng" w="9525">
                      <a:solidFill>
                        <a:srgbClr val="000000">
                          <a:alpha val="0"/>
                        </a:srgbClr>
                      </a:solidFill>
                      <a:prstDash val="solid"/>
                      <a:round/>
                      <a:headEnd len="sm" w="sm" type="none"/>
                      <a:tailEnd len="sm" w="sm" type="none"/>
                    </a:lnT>
                    <a:lnB cap="flat" cmpd="sng" w="9525">
                      <a:solidFill>
                        <a:srgbClr val="000000">
                          <a:alpha val="0"/>
                        </a:srgbClr>
                      </a:solidFill>
                      <a:prstDash val="solid"/>
                      <a:round/>
                      <a:headEnd len="sm" w="sm" type="none"/>
                      <a:tailEnd len="sm" w="sm" type="none"/>
                    </a:lnB>
                    <a:solidFill>
                      <a:schemeClr val="dk2"/>
                    </a:solidFill>
                  </a:tcPr>
                </a:tc>
              </a:tr>
            </a:tbl>
          </a:graphicData>
        </a:graphic>
      </p:graphicFrame>
    </p:spTree>
  </p:cSld>
  <p:clrMapOvr>
    <a:masterClrMapping/>
  </p:clrMapOvr>
</p:sld>
</file>

<file path=ppt/slides/slide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198" name="Shape 198"/>
        <p:cNvGrpSpPr/>
        <p:nvPr/>
      </p:nvGrpSpPr>
      <p:grpSpPr>
        <a:xfrm>
          <a:off x="0" y="0"/>
          <a:ext cx="0" cy="0"/>
          <a:chOff x="0" y="0"/>
          <a:chExt cx="0" cy="0"/>
        </a:xfrm>
      </p:grpSpPr>
      <p:sp>
        <p:nvSpPr>
          <p:cNvPr id="199" name="Google Shape;199;g7023ddf169_0_54"/>
          <p:cNvSpPr txBox="1"/>
          <p:nvPr>
            <p:ph type="title"/>
          </p:nvPr>
        </p:nvSpPr>
        <p:spPr>
          <a:xfrm>
            <a:off x="838200" y="365125"/>
            <a:ext cx="10515600" cy="480000"/>
          </a:xfrm>
          <a:prstGeom prst="rect">
            <a:avLst/>
          </a:prstGeom>
          <a:noFill/>
          <a:ln>
            <a:noFill/>
          </a:ln>
        </p:spPr>
        <p:txBody>
          <a:bodyPr anchorCtr="0" anchor="t" bIns="45700" lIns="0" spcFirstLastPara="1" rIns="0" wrap="square" tIns="45700">
            <a:noAutofit/>
          </a:bodyPr>
          <a:lstStyle/>
          <a:p>
            <a:pPr indent="0" lvl="0" marL="0" rtl="0" algn="l">
              <a:lnSpc>
                <a:spcPct val="90000"/>
              </a:lnSpc>
              <a:spcBef>
                <a:spcPts val="0"/>
              </a:spcBef>
              <a:spcAft>
                <a:spcPts val="0"/>
              </a:spcAft>
              <a:buClr>
                <a:srgbClr val="C5093B"/>
              </a:buClr>
              <a:buSzPts val="2800"/>
              <a:buFont typeface="Arial"/>
              <a:buNone/>
            </a:pPr>
            <a:r>
              <a:rPr lang="en-US"/>
              <a:t>Building Recommendation System: Content-based approach</a:t>
            </a:r>
            <a:endParaRPr/>
          </a:p>
        </p:txBody>
      </p:sp>
      <p:sp>
        <p:nvSpPr>
          <p:cNvPr id="200" name="Google Shape;200;g7023ddf169_0_54"/>
          <p:cNvSpPr txBox="1"/>
          <p:nvPr>
            <p:ph idx="11" type="ftr"/>
          </p:nvPr>
        </p:nvSpPr>
        <p:spPr>
          <a:xfrm>
            <a:off x="7928904" y="6513308"/>
            <a:ext cx="4114800" cy="365100"/>
          </a:xfrm>
          <a:prstGeom prst="rect">
            <a:avLst/>
          </a:prstGeom>
          <a:noFill/>
          <a:ln>
            <a:noFill/>
          </a:ln>
        </p:spPr>
        <p:txBody>
          <a:bodyPr anchorCtr="0" anchor="ctr" bIns="45700" lIns="91425" spcFirstLastPara="1" rIns="91425" wrap="square" tIns="45700">
            <a:noAutofit/>
          </a:bodyPr>
          <a:lstStyle/>
          <a:p>
            <a:pPr indent="0" lvl="0" marL="0" rtl="0" algn="r">
              <a:spcBef>
                <a:spcPts val="0"/>
              </a:spcBef>
              <a:spcAft>
                <a:spcPts val="0"/>
              </a:spcAft>
              <a:buNone/>
            </a:pPr>
            <a:r>
              <a:rPr lang="en-US"/>
              <a:t>Name of Initiative</a:t>
            </a:r>
            <a:endParaRPr/>
          </a:p>
        </p:txBody>
      </p:sp>
      <p:sp>
        <p:nvSpPr>
          <p:cNvPr id="201" name="Google Shape;201;g7023ddf169_0_54"/>
          <p:cNvSpPr txBox="1"/>
          <p:nvPr>
            <p:ph idx="12" type="sldNum"/>
          </p:nvPr>
        </p:nvSpPr>
        <p:spPr>
          <a:xfrm>
            <a:off x="9300504" y="6126298"/>
            <a:ext cx="2743200" cy="365100"/>
          </a:xfrm>
          <a:prstGeom prst="rect">
            <a:avLst/>
          </a:prstGeom>
          <a:noFill/>
          <a:ln>
            <a:noFill/>
          </a:ln>
        </p:spPr>
        <p:txBody>
          <a:bodyPr anchorCtr="0" anchor="ctr"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
        <p:nvSpPr>
          <p:cNvPr id="202" name="Google Shape;202;g7023ddf169_0_54"/>
          <p:cNvSpPr txBox="1"/>
          <p:nvPr/>
        </p:nvSpPr>
        <p:spPr>
          <a:xfrm>
            <a:off x="838198" y="987207"/>
            <a:ext cx="10676100" cy="695700"/>
          </a:xfrm>
          <a:prstGeom prst="rect">
            <a:avLst/>
          </a:prstGeom>
          <a:noFill/>
          <a:ln>
            <a:noFill/>
          </a:ln>
        </p:spPr>
        <p:txBody>
          <a:bodyPr anchorCtr="0" anchor="t" bIns="0" lIns="0" spcFirstLastPara="1" rIns="0" wrap="square" tIns="0">
            <a:noAutofit/>
          </a:bodyPr>
          <a:lstStyle/>
          <a:p>
            <a:pPr indent="0" lvl="0" marL="0" marR="0" rtl="0" algn="l">
              <a:lnSpc>
                <a:spcPct val="90000"/>
              </a:lnSpc>
              <a:spcBef>
                <a:spcPts val="0"/>
              </a:spcBef>
              <a:spcAft>
                <a:spcPts val="0"/>
              </a:spcAft>
              <a:buClr>
                <a:schemeClr val="dk2"/>
              </a:buClr>
              <a:buSzPts val="1600"/>
              <a:buFont typeface="Arial"/>
              <a:buNone/>
            </a:pPr>
            <a:r>
              <a:rPr lang="en-US" sz="1600">
                <a:solidFill>
                  <a:schemeClr val="dk2"/>
                </a:solidFill>
              </a:rPr>
              <a:t>Focus on items’ own features, instead of  players’ interactions and feedbacks with video games</a:t>
            </a:r>
            <a:endParaRPr/>
          </a:p>
        </p:txBody>
      </p:sp>
      <p:pic>
        <p:nvPicPr>
          <p:cNvPr id="203" name="Google Shape;203;g7023ddf169_0_54"/>
          <p:cNvPicPr preferRelativeResize="0"/>
          <p:nvPr/>
        </p:nvPicPr>
        <p:blipFill rotWithShape="1">
          <a:blip r:embed="rId3">
            <a:alphaModFix/>
          </a:blip>
          <a:srcRect b="0" l="0" r="0" t="0"/>
          <a:stretch/>
        </p:blipFill>
        <p:spPr>
          <a:xfrm>
            <a:off x="9300496" y="1489408"/>
            <a:ext cx="360844" cy="360844"/>
          </a:xfrm>
          <a:prstGeom prst="rect">
            <a:avLst/>
          </a:prstGeom>
          <a:noFill/>
          <a:ln>
            <a:noFill/>
          </a:ln>
        </p:spPr>
      </p:pic>
      <p:sp>
        <p:nvSpPr>
          <p:cNvPr id="204" name="Google Shape;204;g7023ddf169_0_54"/>
          <p:cNvSpPr txBox="1"/>
          <p:nvPr/>
        </p:nvSpPr>
        <p:spPr>
          <a:xfrm>
            <a:off x="838200" y="1682900"/>
            <a:ext cx="5727000" cy="3000000"/>
          </a:xfrm>
          <a:prstGeom prst="rect">
            <a:avLst/>
          </a:prstGeom>
          <a:noFill/>
          <a:ln>
            <a:noFill/>
          </a:ln>
        </p:spPr>
        <p:txBody>
          <a:bodyPr anchorCtr="0" anchor="t" bIns="91425" lIns="91425" spcFirstLastPara="1" rIns="91425" wrap="square" tIns="91425">
            <a:noAutofit/>
          </a:bodyPr>
          <a:lstStyle/>
          <a:p>
            <a:pPr indent="-317500" lvl="0" marL="457200" rtl="0" algn="l">
              <a:lnSpc>
                <a:spcPct val="115000"/>
              </a:lnSpc>
              <a:spcBef>
                <a:spcPts val="0"/>
              </a:spcBef>
              <a:spcAft>
                <a:spcPts val="0"/>
              </a:spcAft>
              <a:buSzPts val="1400"/>
              <a:buFont typeface="Georgia"/>
              <a:buChar char="●"/>
            </a:pPr>
            <a:r>
              <a:rPr b="1" lang="en-US">
                <a:highlight>
                  <a:schemeClr val="lt1"/>
                </a:highlight>
              </a:rPr>
              <a:t>Game title:</a:t>
            </a:r>
            <a:r>
              <a:rPr lang="en-US">
                <a:highlight>
                  <a:schemeClr val="lt1"/>
                </a:highlight>
              </a:rPr>
              <a:t> </a:t>
            </a:r>
            <a:r>
              <a:rPr lang="en-US">
                <a:highlight>
                  <a:schemeClr val="lt1"/>
                </a:highlight>
              </a:rPr>
              <a:t>encodes character sequences as numerical features</a:t>
            </a:r>
            <a:endParaRPr>
              <a:highlight>
                <a:schemeClr val="lt1"/>
              </a:highlight>
            </a:endParaRPr>
          </a:p>
          <a:p>
            <a:pPr indent="0" lvl="0" marL="457200" rtl="0" algn="l">
              <a:lnSpc>
                <a:spcPct val="115000"/>
              </a:lnSpc>
              <a:spcBef>
                <a:spcPts val="0"/>
              </a:spcBef>
              <a:spcAft>
                <a:spcPts val="0"/>
              </a:spcAft>
              <a:buNone/>
            </a:pPr>
            <a:r>
              <a:t/>
            </a:r>
            <a:endParaRPr>
              <a:highlight>
                <a:schemeClr val="lt1"/>
              </a:highlight>
            </a:endParaRPr>
          </a:p>
          <a:p>
            <a:pPr indent="-317500" lvl="0" marL="457200" rtl="0" algn="l">
              <a:lnSpc>
                <a:spcPct val="115000"/>
              </a:lnSpc>
              <a:spcBef>
                <a:spcPts val="0"/>
              </a:spcBef>
              <a:spcAft>
                <a:spcPts val="0"/>
              </a:spcAft>
              <a:buSzPts val="1400"/>
              <a:buFont typeface="Georgia"/>
              <a:buChar char="●"/>
            </a:pPr>
            <a:r>
              <a:rPr b="1" lang="en-US">
                <a:highlight>
                  <a:schemeClr val="lt1"/>
                </a:highlight>
              </a:rPr>
              <a:t>Description/Short Introduction/Plot</a:t>
            </a:r>
            <a:r>
              <a:rPr lang="en-US">
                <a:highlight>
                  <a:schemeClr val="lt1"/>
                </a:highlight>
              </a:rPr>
              <a:t>: </a:t>
            </a:r>
            <a:r>
              <a:rPr lang="en-US">
                <a:highlight>
                  <a:schemeClr val="lt1"/>
                </a:highlight>
              </a:rPr>
              <a:t>encodes character sequences as numerical features </a:t>
            </a:r>
            <a:endParaRPr>
              <a:highlight>
                <a:schemeClr val="lt1"/>
              </a:highlight>
            </a:endParaRPr>
          </a:p>
          <a:p>
            <a:pPr indent="0" lvl="0" marL="457200" rtl="0" algn="l">
              <a:lnSpc>
                <a:spcPct val="115000"/>
              </a:lnSpc>
              <a:spcBef>
                <a:spcPts val="0"/>
              </a:spcBef>
              <a:spcAft>
                <a:spcPts val="0"/>
              </a:spcAft>
              <a:buNone/>
            </a:pPr>
            <a:r>
              <a:t/>
            </a:r>
            <a:endParaRPr>
              <a:highlight>
                <a:schemeClr val="lt1"/>
              </a:highlight>
            </a:endParaRPr>
          </a:p>
          <a:p>
            <a:pPr indent="-317500" lvl="0" marL="457200" rtl="0" algn="l">
              <a:lnSpc>
                <a:spcPct val="115000"/>
              </a:lnSpc>
              <a:spcBef>
                <a:spcPts val="0"/>
              </a:spcBef>
              <a:spcAft>
                <a:spcPts val="0"/>
              </a:spcAft>
              <a:buSzPts val="1400"/>
              <a:buFont typeface="Georgia"/>
              <a:buChar char="●"/>
            </a:pPr>
            <a:r>
              <a:rPr b="1" lang="en-US">
                <a:highlight>
                  <a:schemeClr val="lt1"/>
                </a:highlight>
              </a:rPr>
              <a:t>Genre</a:t>
            </a:r>
            <a:r>
              <a:rPr lang="en-US">
                <a:highlight>
                  <a:schemeClr val="lt1"/>
                </a:highlight>
              </a:rPr>
              <a:t>s: </a:t>
            </a:r>
            <a:r>
              <a:rPr lang="en-US">
                <a:solidFill>
                  <a:srgbClr val="212121"/>
                </a:solidFill>
                <a:highlight>
                  <a:schemeClr val="lt1"/>
                </a:highlight>
              </a:rPr>
              <a:t>Strategy, Role Playing , Shooter, etc.</a:t>
            </a:r>
            <a:endParaRPr>
              <a:highlight>
                <a:schemeClr val="lt1"/>
              </a:highlight>
            </a:endParaRPr>
          </a:p>
          <a:p>
            <a:pPr indent="0" lvl="0" marL="457200" rtl="0" algn="l">
              <a:lnSpc>
                <a:spcPct val="115000"/>
              </a:lnSpc>
              <a:spcBef>
                <a:spcPts val="0"/>
              </a:spcBef>
              <a:spcAft>
                <a:spcPts val="0"/>
              </a:spcAft>
              <a:buNone/>
            </a:pPr>
            <a:r>
              <a:t/>
            </a:r>
            <a:endParaRPr>
              <a:highlight>
                <a:schemeClr val="lt1"/>
              </a:highlight>
            </a:endParaRPr>
          </a:p>
          <a:p>
            <a:pPr indent="-317500" lvl="0" marL="457200" rtl="0" algn="l">
              <a:lnSpc>
                <a:spcPct val="115000"/>
              </a:lnSpc>
              <a:spcBef>
                <a:spcPts val="0"/>
              </a:spcBef>
              <a:spcAft>
                <a:spcPts val="0"/>
              </a:spcAft>
              <a:buSzPts val="1400"/>
              <a:buFont typeface="Georgia"/>
              <a:buChar char="●"/>
            </a:pPr>
            <a:r>
              <a:rPr b="1" lang="en-US">
                <a:highlight>
                  <a:schemeClr val="lt1"/>
                </a:highlight>
              </a:rPr>
              <a:t>Franchise</a:t>
            </a:r>
            <a:r>
              <a:rPr lang="en-US">
                <a:highlight>
                  <a:schemeClr val="lt1"/>
                </a:highlight>
              </a:rPr>
              <a:t>:</a:t>
            </a:r>
            <a:r>
              <a:rPr lang="en-US">
                <a:solidFill>
                  <a:srgbClr val="212121"/>
                </a:solidFill>
                <a:highlight>
                  <a:schemeClr val="lt1"/>
                </a:highlight>
              </a:rPr>
              <a:t> </a:t>
            </a:r>
            <a:r>
              <a:rPr lang="en-US">
                <a:solidFill>
                  <a:srgbClr val="212121"/>
                </a:solidFill>
                <a:highlight>
                  <a:schemeClr val="lt1"/>
                </a:highlight>
              </a:rPr>
              <a:t>FIFA, FIFA MANAGER ,MySims , Need for Speed</a:t>
            </a:r>
            <a:endParaRPr>
              <a:solidFill>
                <a:srgbClr val="212121"/>
              </a:solidFill>
              <a:highlight>
                <a:schemeClr val="lt1"/>
              </a:highlight>
            </a:endParaRPr>
          </a:p>
          <a:p>
            <a:pPr indent="0" lvl="0" marL="457200" rtl="0" algn="l">
              <a:lnSpc>
                <a:spcPct val="115000"/>
              </a:lnSpc>
              <a:spcBef>
                <a:spcPts val="0"/>
              </a:spcBef>
              <a:spcAft>
                <a:spcPts val="0"/>
              </a:spcAft>
              <a:buNone/>
            </a:pPr>
            <a:r>
              <a:t/>
            </a:r>
            <a:endParaRPr>
              <a:solidFill>
                <a:srgbClr val="212121"/>
              </a:solidFill>
              <a:highlight>
                <a:schemeClr val="lt1"/>
              </a:highlight>
            </a:endParaRPr>
          </a:p>
          <a:p>
            <a:pPr indent="-317500" lvl="0" marL="457200" rtl="0" algn="l">
              <a:lnSpc>
                <a:spcPct val="115000"/>
              </a:lnSpc>
              <a:spcBef>
                <a:spcPts val="0"/>
              </a:spcBef>
              <a:spcAft>
                <a:spcPts val="0"/>
              </a:spcAft>
              <a:buSzPts val="1400"/>
              <a:buFont typeface="Georgia"/>
              <a:buChar char="●"/>
            </a:pPr>
            <a:r>
              <a:rPr b="1" lang="en-US">
                <a:highlight>
                  <a:schemeClr val="lt1"/>
                </a:highlight>
              </a:rPr>
              <a:t>Publishers: </a:t>
            </a:r>
            <a:r>
              <a:rPr lang="en-US">
                <a:highlight>
                  <a:schemeClr val="lt1"/>
                </a:highlight>
              </a:rPr>
              <a:t>EA/third party</a:t>
            </a:r>
            <a:endParaRPr>
              <a:highlight>
                <a:schemeClr val="lt1"/>
              </a:highlight>
            </a:endParaRPr>
          </a:p>
          <a:p>
            <a:pPr indent="0" lvl="0" marL="457200" rtl="0" algn="l">
              <a:lnSpc>
                <a:spcPct val="115000"/>
              </a:lnSpc>
              <a:spcBef>
                <a:spcPts val="0"/>
              </a:spcBef>
              <a:spcAft>
                <a:spcPts val="0"/>
              </a:spcAft>
              <a:buNone/>
            </a:pPr>
            <a:r>
              <a:t/>
            </a:r>
            <a:endParaRPr>
              <a:highlight>
                <a:schemeClr val="lt1"/>
              </a:highlight>
            </a:endParaRPr>
          </a:p>
          <a:p>
            <a:pPr indent="-317500" lvl="0" marL="457200" rtl="0" algn="l">
              <a:lnSpc>
                <a:spcPct val="115000"/>
              </a:lnSpc>
              <a:spcBef>
                <a:spcPts val="0"/>
              </a:spcBef>
              <a:spcAft>
                <a:spcPts val="0"/>
              </a:spcAft>
              <a:buSzPts val="1400"/>
              <a:buFont typeface="Georgia"/>
              <a:buChar char="●"/>
            </a:pPr>
            <a:r>
              <a:rPr b="1" lang="en-US">
                <a:highlight>
                  <a:schemeClr val="lt1"/>
                </a:highlight>
              </a:rPr>
              <a:t>Developer: </a:t>
            </a:r>
            <a:r>
              <a:rPr lang="en-US">
                <a:solidFill>
                  <a:srgbClr val="222222"/>
                </a:solidFill>
                <a:highlight>
                  <a:schemeClr val="lt1"/>
                </a:highlight>
              </a:rPr>
              <a:t>development studios</a:t>
            </a:r>
            <a:endParaRPr/>
          </a:p>
        </p:txBody>
      </p:sp>
      <p:pic>
        <p:nvPicPr>
          <p:cNvPr id="205" name="Google Shape;205;g7023ddf169_0_54"/>
          <p:cNvPicPr preferRelativeResize="0"/>
          <p:nvPr/>
        </p:nvPicPr>
        <p:blipFill>
          <a:blip r:embed="rId4">
            <a:alphaModFix/>
          </a:blip>
          <a:stretch>
            <a:fillRect/>
          </a:stretch>
        </p:blipFill>
        <p:spPr>
          <a:xfrm>
            <a:off x="7641175" y="1824975"/>
            <a:ext cx="1288275" cy="1288275"/>
          </a:xfrm>
          <a:prstGeom prst="rect">
            <a:avLst/>
          </a:prstGeom>
          <a:noFill/>
          <a:ln>
            <a:noFill/>
          </a:ln>
        </p:spPr>
      </p:pic>
      <p:pic>
        <p:nvPicPr>
          <p:cNvPr id="206" name="Google Shape;206;g7023ddf169_0_54"/>
          <p:cNvPicPr preferRelativeResize="0"/>
          <p:nvPr/>
        </p:nvPicPr>
        <p:blipFill rotWithShape="1">
          <a:blip r:embed="rId5">
            <a:alphaModFix/>
          </a:blip>
          <a:srcRect b="69304" l="18618" r="61858" t="5006"/>
          <a:stretch/>
        </p:blipFill>
        <p:spPr>
          <a:xfrm>
            <a:off x="10256350" y="2121262"/>
            <a:ext cx="831501" cy="695700"/>
          </a:xfrm>
          <a:prstGeom prst="rect">
            <a:avLst/>
          </a:prstGeom>
          <a:noFill/>
          <a:ln>
            <a:noFill/>
          </a:ln>
        </p:spPr>
      </p:pic>
      <p:pic>
        <p:nvPicPr>
          <p:cNvPr id="207" name="Google Shape;207;g7023ddf169_0_54"/>
          <p:cNvPicPr preferRelativeResize="0"/>
          <p:nvPr/>
        </p:nvPicPr>
        <p:blipFill rotWithShape="1">
          <a:blip r:embed="rId5">
            <a:alphaModFix/>
          </a:blip>
          <a:srcRect b="67554" l="40677" r="41320" t="1662"/>
          <a:stretch/>
        </p:blipFill>
        <p:spPr>
          <a:xfrm>
            <a:off x="9209537" y="3313237"/>
            <a:ext cx="766726" cy="833663"/>
          </a:xfrm>
          <a:prstGeom prst="rect">
            <a:avLst/>
          </a:prstGeom>
          <a:noFill/>
          <a:ln>
            <a:noFill/>
          </a:ln>
        </p:spPr>
      </p:pic>
      <p:cxnSp>
        <p:nvCxnSpPr>
          <p:cNvPr id="208" name="Google Shape;208;g7023ddf169_0_54"/>
          <p:cNvCxnSpPr>
            <a:stCxn id="205" idx="3"/>
            <a:endCxn id="206" idx="1"/>
          </p:cNvCxnSpPr>
          <p:nvPr/>
        </p:nvCxnSpPr>
        <p:spPr>
          <a:xfrm>
            <a:off x="8929450" y="2469113"/>
            <a:ext cx="1326900" cy="0"/>
          </a:xfrm>
          <a:prstGeom prst="straightConnector1">
            <a:avLst/>
          </a:prstGeom>
          <a:noFill/>
          <a:ln cap="flat" cmpd="sng" w="9525">
            <a:solidFill>
              <a:schemeClr val="dk2"/>
            </a:solidFill>
            <a:prstDash val="solid"/>
            <a:round/>
            <a:headEnd len="med" w="med" type="none"/>
            <a:tailEnd len="med" w="med" type="triangle"/>
          </a:ln>
        </p:spPr>
      </p:cxnSp>
      <p:cxnSp>
        <p:nvCxnSpPr>
          <p:cNvPr id="209" name="Google Shape;209;g7023ddf169_0_54"/>
          <p:cNvCxnSpPr>
            <a:endCxn id="207" idx="3"/>
          </p:cNvCxnSpPr>
          <p:nvPr/>
        </p:nvCxnSpPr>
        <p:spPr>
          <a:xfrm flipH="1">
            <a:off x="9976263" y="2872969"/>
            <a:ext cx="609900" cy="857100"/>
          </a:xfrm>
          <a:prstGeom prst="straightConnector1">
            <a:avLst/>
          </a:prstGeom>
          <a:noFill/>
          <a:ln cap="flat" cmpd="sng" w="9525">
            <a:solidFill>
              <a:schemeClr val="dk2"/>
            </a:solidFill>
            <a:prstDash val="dash"/>
            <a:round/>
            <a:headEnd len="med" w="med" type="none"/>
            <a:tailEnd len="med" w="med" type="triangle"/>
          </a:ln>
        </p:spPr>
      </p:cxnSp>
      <p:cxnSp>
        <p:nvCxnSpPr>
          <p:cNvPr id="210" name="Google Shape;210;g7023ddf169_0_54"/>
          <p:cNvCxnSpPr/>
          <p:nvPr/>
        </p:nvCxnSpPr>
        <p:spPr>
          <a:xfrm flipH="1" rot="10800000">
            <a:off x="10538075" y="2816950"/>
            <a:ext cx="99600" cy="117900"/>
          </a:xfrm>
          <a:prstGeom prst="straightConnector1">
            <a:avLst/>
          </a:prstGeom>
          <a:noFill/>
          <a:ln cap="flat" cmpd="sng" w="9525">
            <a:solidFill>
              <a:schemeClr val="dk2"/>
            </a:solidFill>
            <a:prstDash val="dash"/>
            <a:round/>
            <a:headEnd len="med" w="med" type="none"/>
            <a:tailEnd len="med" w="med" type="triangle"/>
          </a:ln>
        </p:spPr>
      </p:cxnSp>
      <p:cxnSp>
        <p:nvCxnSpPr>
          <p:cNvPr id="211" name="Google Shape;211;g7023ddf169_0_54"/>
          <p:cNvCxnSpPr>
            <a:endCxn id="207" idx="1"/>
          </p:cNvCxnSpPr>
          <p:nvPr/>
        </p:nvCxnSpPr>
        <p:spPr>
          <a:xfrm>
            <a:off x="8263337" y="3172669"/>
            <a:ext cx="946200" cy="557400"/>
          </a:xfrm>
          <a:prstGeom prst="bentConnector3">
            <a:avLst>
              <a:gd fmla="val -1003" name="adj1"/>
            </a:avLst>
          </a:prstGeom>
          <a:noFill/>
          <a:ln cap="flat" cmpd="sng" w="9525">
            <a:solidFill>
              <a:schemeClr val="dk2"/>
            </a:solidFill>
            <a:prstDash val="solid"/>
            <a:round/>
            <a:headEnd len="med" w="med" type="none"/>
            <a:tailEnd len="med" w="med" type="none"/>
          </a:ln>
        </p:spPr>
      </p:cxnSp>
      <p:cxnSp>
        <p:nvCxnSpPr>
          <p:cNvPr id="212" name="Google Shape;212;g7023ddf169_0_54"/>
          <p:cNvCxnSpPr>
            <a:endCxn id="207" idx="1"/>
          </p:cNvCxnSpPr>
          <p:nvPr/>
        </p:nvCxnSpPr>
        <p:spPr>
          <a:xfrm>
            <a:off x="9091937" y="3727069"/>
            <a:ext cx="117600" cy="3000"/>
          </a:xfrm>
          <a:prstGeom prst="straightConnector1">
            <a:avLst/>
          </a:prstGeom>
          <a:noFill/>
          <a:ln cap="flat" cmpd="sng" w="9525">
            <a:solidFill>
              <a:schemeClr val="dk2"/>
            </a:solidFill>
            <a:prstDash val="solid"/>
            <a:round/>
            <a:headEnd len="med" w="med" type="none"/>
            <a:tailEnd len="med" w="med" type="triangle"/>
          </a:ln>
        </p:spPr>
      </p:cxnSp>
      <p:sp>
        <p:nvSpPr>
          <p:cNvPr id="213" name="Google Shape;213;g7023ddf169_0_54"/>
          <p:cNvSpPr txBox="1"/>
          <p:nvPr/>
        </p:nvSpPr>
        <p:spPr>
          <a:xfrm>
            <a:off x="10256350" y="3208213"/>
            <a:ext cx="4758000" cy="555000"/>
          </a:xfrm>
          <a:prstGeom prst="rect">
            <a:avLst/>
          </a:prstGeom>
          <a:noFill/>
          <a:ln>
            <a:noFill/>
          </a:ln>
        </p:spPr>
        <p:txBody>
          <a:bodyPr anchorCtr="0" anchor="t" bIns="91425" lIns="91425" spcFirstLastPara="1" rIns="91425" wrap="square" tIns="91425">
            <a:noAutofit/>
          </a:bodyPr>
          <a:lstStyle/>
          <a:p>
            <a:pPr indent="0" lvl="0" marL="0" rtl="0" algn="l">
              <a:spcBef>
                <a:spcPts val="0"/>
              </a:spcBef>
              <a:spcAft>
                <a:spcPts val="0"/>
              </a:spcAft>
              <a:buNone/>
            </a:pPr>
            <a:r>
              <a:rPr lang="en-US" sz="900"/>
              <a:t>similar</a:t>
            </a:r>
            <a:endParaRPr sz="900"/>
          </a:p>
        </p:txBody>
      </p:sp>
      <p:sp>
        <p:nvSpPr>
          <p:cNvPr id="214" name="Google Shape;214;g7023ddf169_0_54"/>
          <p:cNvSpPr txBox="1"/>
          <p:nvPr/>
        </p:nvSpPr>
        <p:spPr>
          <a:xfrm>
            <a:off x="9091800" y="2056100"/>
            <a:ext cx="831600" cy="555000"/>
          </a:xfrm>
          <a:prstGeom prst="rect">
            <a:avLst/>
          </a:prstGeom>
          <a:noFill/>
          <a:ln>
            <a:noFill/>
          </a:ln>
        </p:spPr>
        <p:txBody>
          <a:bodyPr anchorCtr="0" anchor="t" bIns="91425" lIns="91425" spcFirstLastPara="1" rIns="91425" wrap="square" tIns="91425">
            <a:noAutofit/>
          </a:bodyPr>
          <a:lstStyle/>
          <a:p>
            <a:pPr indent="0" lvl="0" marL="0" rtl="0" algn="ctr">
              <a:spcBef>
                <a:spcPts val="0"/>
              </a:spcBef>
              <a:spcAft>
                <a:spcPts val="0"/>
              </a:spcAft>
              <a:buNone/>
            </a:pPr>
            <a:r>
              <a:rPr lang="en-US" sz="900"/>
              <a:t>currently </a:t>
            </a:r>
            <a:endParaRPr sz="900"/>
          </a:p>
          <a:p>
            <a:pPr indent="0" lvl="0" marL="0" rtl="0" algn="ctr">
              <a:spcBef>
                <a:spcPts val="0"/>
              </a:spcBef>
              <a:spcAft>
                <a:spcPts val="0"/>
              </a:spcAft>
              <a:buNone/>
            </a:pPr>
            <a:r>
              <a:rPr lang="en-US" sz="900"/>
              <a:t>playing</a:t>
            </a:r>
            <a:endParaRPr sz="900"/>
          </a:p>
        </p:txBody>
      </p:sp>
      <p:sp>
        <p:nvSpPr>
          <p:cNvPr id="215" name="Google Shape;215;g7023ddf169_0_54"/>
          <p:cNvSpPr txBox="1"/>
          <p:nvPr/>
        </p:nvSpPr>
        <p:spPr>
          <a:xfrm>
            <a:off x="7869500" y="3727100"/>
            <a:ext cx="831600" cy="555000"/>
          </a:xfrm>
          <a:prstGeom prst="rect">
            <a:avLst/>
          </a:prstGeom>
          <a:noFill/>
          <a:ln>
            <a:noFill/>
          </a:ln>
        </p:spPr>
        <p:txBody>
          <a:bodyPr anchorCtr="0" anchor="t" bIns="91425" lIns="91425" spcFirstLastPara="1" rIns="91425" wrap="square" tIns="91425">
            <a:noAutofit/>
          </a:bodyPr>
          <a:lstStyle/>
          <a:p>
            <a:pPr indent="0" lvl="0" marL="0" rtl="0" algn="ctr">
              <a:spcBef>
                <a:spcPts val="0"/>
              </a:spcBef>
              <a:spcAft>
                <a:spcPts val="0"/>
              </a:spcAft>
              <a:buNone/>
            </a:pPr>
            <a:r>
              <a:rPr lang="en-US" sz="900"/>
              <a:t>likely to </a:t>
            </a:r>
            <a:endParaRPr sz="900"/>
          </a:p>
          <a:p>
            <a:pPr indent="0" lvl="0" marL="0" rtl="0" algn="ctr">
              <a:spcBef>
                <a:spcPts val="0"/>
              </a:spcBef>
              <a:spcAft>
                <a:spcPts val="0"/>
              </a:spcAft>
              <a:buNone/>
            </a:pPr>
            <a:r>
              <a:rPr lang="en-US" sz="900"/>
              <a:t>buy</a:t>
            </a:r>
            <a:endParaRPr sz="900"/>
          </a:p>
        </p:txBody>
      </p:sp>
    </p:spTree>
  </p:cSld>
  <p:clrMapOvr>
    <a:masterClrMapping/>
  </p:clrMapOvr>
</p:sld>
</file>

<file path=ppt/slides/slide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220" name="Shape 220"/>
        <p:cNvGrpSpPr/>
        <p:nvPr/>
      </p:nvGrpSpPr>
      <p:grpSpPr>
        <a:xfrm>
          <a:off x="0" y="0"/>
          <a:ext cx="0" cy="0"/>
          <a:chOff x="0" y="0"/>
          <a:chExt cx="0" cy="0"/>
        </a:xfrm>
      </p:grpSpPr>
      <p:sp>
        <p:nvSpPr>
          <p:cNvPr id="221" name="Google Shape;221;g7023ddf169_0_87"/>
          <p:cNvSpPr txBox="1"/>
          <p:nvPr>
            <p:ph type="title"/>
          </p:nvPr>
        </p:nvSpPr>
        <p:spPr>
          <a:xfrm>
            <a:off x="838200" y="365125"/>
            <a:ext cx="10515600" cy="480000"/>
          </a:xfrm>
          <a:prstGeom prst="rect">
            <a:avLst/>
          </a:prstGeom>
          <a:noFill/>
          <a:ln>
            <a:noFill/>
          </a:ln>
        </p:spPr>
        <p:txBody>
          <a:bodyPr anchorCtr="0" anchor="t" bIns="45700" lIns="0" spcFirstLastPara="1" rIns="0" wrap="square" tIns="45700">
            <a:noAutofit/>
          </a:bodyPr>
          <a:lstStyle/>
          <a:p>
            <a:pPr indent="0" lvl="0" marL="0" rtl="0" algn="l">
              <a:lnSpc>
                <a:spcPct val="90000"/>
              </a:lnSpc>
              <a:spcBef>
                <a:spcPts val="0"/>
              </a:spcBef>
              <a:spcAft>
                <a:spcPts val="0"/>
              </a:spcAft>
              <a:buClr>
                <a:srgbClr val="C5093B"/>
              </a:buClr>
              <a:buSzPts val="2800"/>
              <a:buFont typeface="Arial"/>
              <a:buNone/>
            </a:pPr>
            <a:r>
              <a:rPr lang="en-US"/>
              <a:t>Building Recommendation System</a:t>
            </a:r>
            <a:r>
              <a:rPr lang="en-US"/>
              <a:t>: Content-based approach</a:t>
            </a:r>
            <a:endParaRPr/>
          </a:p>
        </p:txBody>
      </p:sp>
      <p:sp>
        <p:nvSpPr>
          <p:cNvPr id="222" name="Google Shape;222;g7023ddf169_0_87"/>
          <p:cNvSpPr txBox="1"/>
          <p:nvPr>
            <p:ph idx="11" type="ftr"/>
          </p:nvPr>
        </p:nvSpPr>
        <p:spPr>
          <a:xfrm>
            <a:off x="7928904" y="6513308"/>
            <a:ext cx="4114800" cy="365100"/>
          </a:xfrm>
          <a:prstGeom prst="rect">
            <a:avLst/>
          </a:prstGeom>
          <a:noFill/>
          <a:ln>
            <a:noFill/>
          </a:ln>
        </p:spPr>
        <p:txBody>
          <a:bodyPr anchorCtr="0" anchor="ctr" bIns="45700" lIns="91425" spcFirstLastPara="1" rIns="91425" wrap="square" tIns="45700">
            <a:noAutofit/>
          </a:bodyPr>
          <a:lstStyle/>
          <a:p>
            <a:pPr indent="0" lvl="0" marL="0" rtl="0" algn="r">
              <a:spcBef>
                <a:spcPts val="0"/>
              </a:spcBef>
              <a:spcAft>
                <a:spcPts val="0"/>
              </a:spcAft>
              <a:buNone/>
            </a:pPr>
            <a:r>
              <a:rPr lang="en-US"/>
              <a:t>Name of Initiative</a:t>
            </a:r>
            <a:endParaRPr/>
          </a:p>
        </p:txBody>
      </p:sp>
      <p:sp>
        <p:nvSpPr>
          <p:cNvPr id="223" name="Google Shape;223;g7023ddf169_0_87"/>
          <p:cNvSpPr txBox="1"/>
          <p:nvPr>
            <p:ph idx="12" type="sldNum"/>
          </p:nvPr>
        </p:nvSpPr>
        <p:spPr>
          <a:xfrm>
            <a:off x="9300504" y="6126298"/>
            <a:ext cx="2743200" cy="365100"/>
          </a:xfrm>
          <a:prstGeom prst="rect">
            <a:avLst/>
          </a:prstGeom>
          <a:noFill/>
          <a:ln>
            <a:noFill/>
          </a:ln>
        </p:spPr>
        <p:txBody>
          <a:bodyPr anchorCtr="0" anchor="ctr"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
        <p:nvSpPr>
          <p:cNvPr id="224" name="Google Shape;224;g7023ddf169_0_87"/>
          <p:cNvSpPr txBox="1"/>
          <p:nvPr/>
        </p:nvSpPr>
        <p:spPr>
          <a:xfrm>
            <a:off x="838198" y="987207"/>
            <a:ext cx="10676100" cy="695700"/>
          </a:xfrm>
          <a:prstGeom prst="rect">
            <a:avLst/>
          </a:prstGeom>
          <a:noFill/>
          <a:ln>
            <a:noFill/>
          </a:ln>
        </p:spPr>
        <p:txBody>
          <a:bodyPr anchorCtr="0" anchor="t" bIns="0" lIns="0" spcFirstLastPara="1" rIns="0" wrap="square" tIns="0">
            <a:noAutofit/>
          </a:bodyPr>
          <a:lstStyle/>
          <a:p>
            <a:pPr indent="0" lvl="0" marL="0" marR="0" rtl="0" algn="l">
              <a:lnSpc>
                <a:spcPct val="90000"/>
              </a:lnSpc>
              <a:spcBef>
                <a:spcPts val="0"/>
              </a:spcBef>
              <a:spcAft>
                <a:spcPts val="0"/>
              </a:spcAft>
              <a:buClr>
                <a:schemeClr val="dk2"/>
              </a:buClr>
              <a:buSzPts val="1600"/>
              <a:buFont typeface="Arial"/>
              <a:buNone/>
            </a:pPr>
            <a:r>
              <a:rPr lang="en-US" sz="1600">
                <a:solidFill>
                  <a:schemeClr val="dk2"/>
                </a:solidFill>
              </a:rPr>
              <a:t>To encourage subscriptions, we might want to give higher priorities for candidate video  games that are already  in the game vault.</a:t>
            </a:r>
            <a:endParaRPr/>
          </a:p>
        </p:txBody>
      </p:sp>
      <p:pic>
        <p:nvPicPr>
          <p:cNvPr id="225" name="Google Shape;225;g7023ddf169_0_87"/>
          <p:cNvPicPr preferRelativeResize="0"/>
          <p:nvPr/>
        </p:nvPicPr>
        <p:blipFill rotWithShape="1">
          <a:blip r:embed="rId3">
            <a:alphaModFix/>
          </a:blip>
          <a:srcRect b="0" l="0" r="0" t="0"/>
          <a:stretch/>
        </p:blipFill>
        <p:spPr>
          <a:xfrm>
            <a:off x="9300496" y="1489408"/>
            <a:ext cx="360844" cy="360844"/>
          </a:xfrm>
          <a:prstGeom prst="rect">
            <a:avLst/>
          </a:prstGeom>
          <a:noFill/>
          <a:ln>
            <a:noFill/>
          </a:ln>
        </p:spPr>
      </p:pic>
      <p:pic>
        <p:nvPicPr>
          <p:cNvPr id="226" name="Google Shape;226;g7023ddf169_0_87"/>
          <p:cNvPicPr preferRelativeResize="0"/>
          <p:nvPr/>
        </p:nvPicPr>
        <p:blipFill>
          <a:blip r:embed="rId4">
            <a:alphaModFix/>
          </a:blip>
          <a:stretch>
            <a:fillRect/>
          </a:stretch>
        </p:blipFill>
        <p:spPr>
          <a:xfrm>
            <a:off x="2068700" y="3211449"/>
            <a:ext cx="3312297" cy="2137926"/>
          </a:xfrm>
          <a:prstGeom prst="rect">
            <a:avLst/>
          </a:prstGeom>
          <a:noFill/>
          <a:ln>
            <a:noFill/>
          </a:ln>
        </p:spPr>
      </p:pic>
      <p:pic>
        <p:nvPicPr>
          <p:cNvPr id="227" name="Google Shape;227;g7023ddf169_0_87"/>
          <p:cNvPicPr preferRelativeResize="0"/>
          <p:nvPr/>
        </p:nvPicPr>
        <p:blipFill>
          <a:blip r:embed="rId5">
            <a:alphaModFix/>
          </a:blip>
          <a:stretch>
            <a:fillRect/>
          </a:stretch>
        </p:blipFill>
        <p:spPr>
          <a:xfrm>
            <a:off x="6811003" y="3139400"/>
            <a:ext cx="3312297" cy="2137926"/>
          </a:xfrm>
          <a:prstGeom prst="rect">
            <a:avLst/>
          </a:prstGeom>
          <a:noFill/>
          <a:ln>
            <a:noFill/>
          </a:ln>
        </p:spPr>
      </p:pic>
      <p:sp>
        <p:nvSpPr>
          <p:cNvPr id="228" name="Google Shape;228;g7023ddf169_0_87"/>
          <p:cNvSpPr txBox="1"/>
          <p:nvPr/>
        </p:nvSpPr>
        <p:spPr>
          <a:xfrm>
            <a:off x="2068700" y="5549400"/>
            <a:ext cx="3312300" cy="555000"/>
          </a:xfrm>
          <a:prstGeom prst="rect">
            <a:avLst/>
          </a:prstGeom>
          <a:noFill/>
          <a:ln>
            <a:noFill/>
          </a:ln>
        </p:spPr>
        <p:txBody>
          <a:bodyPr anchorCtr="0" anchor="t" bIns="91425" lIns="91425" spcFirstLastPara="1" rIns="91425" wrap="square" tIns="91425">
            <a:noAutofit/>
          </a:bodyPr>
          <a:lstStyle/>
          <a:p>
            <a:pPr indent="0" lvl="0" marL="0" rtl="0" algn="ctr">
              <a:spcBef>
                <a:spcPts val="0"/>
              </a:spcBef>
              <a:spcAft>
                <a:spcPts val="0"/>
              </a:spcAft>
              <a:buNone/>
            </a:pPr>
            <a:r>
              <a:rPr lang="en-US"/>
              <a:t>Final Fantasy VII Original </a:t>
            </a:r>
            <a:endParaRPr/>
          </a:p>
          <a:p>
            <a:pPr indent="0" lvl="0" marL="0" rtl="0" algn="ctr">
              <a:spcBef>
                <a:spcPts val="0"/>
              </a:spcBef>
              <a:spcAft>
                <a:spcPts val="0"/>
              </a:spcAft>
              <a:buNone/>
            </a:pPr>
            <a:r>
              <a:rPr lang="en-US"/>
              <a:t>(1997)</a:t>
            </a:r>
            <a:endParaRPr/>
          </a:p>
        </p:txBody>
      </p:sp>
      <p:sp>
        <p:nvSpPr>
          <p:cNvPr id="229" name="Google Shape;229;g7023ddf169_0_87"/>
          <p:cNvSpPr txBox="1"/>
          <p:nvPr/>
        </p:nvSpPr>
        <p:spPr>
          <a:xfrm>
            <a:off x="6811000" y="5549400"/>
            <a:ext cx="3312300" cy="555000"/>
          </a:xfrm>
          <a:prstGeom prst="rect">
            <a:avLst/>
          </a:prstGeom>
          <a:noFill/>
          <a:ln>
            <a:noFill/>
          </a:ln>
        </p:spPr>
        <p:txBody>
          <a:bodyPr anchorCtr="0" anchor="t" bIns="91425" lIns="91425" spcFirstLastPara="1" rIns="91425" wrap="square" tIns="91425">
            <a:noAutofit/>
          </a:bodyPr>
          <a:lstStyle/>
          <a:p>
            <a:pPr indent="0" lvl="0" marL="0" rtl="0" algn="ctr">
              <a:spcBef>
                <a:spcPts val="0"/>
              </a:spcBef>
              <a:spcAft>
                <a:spcPts val="0"/>
              </a:spcAft>
              <a:buNone/>
            </a:pPr>
            <a:r>
              <a:rPr lang="en-US"/>
              <a:t>Final Fantasy Remake</a:t>
            </a:r>
            <a:endParaRPr/>
          </a:p>
          <a:p>
            <a:pPr indent="0" lvl="0" marL="0" rtl="0" algn="ctr">
              <a:spcBef>
                <a:spcPts val="0"/>
              </a:spcBef>
              <a:spcAft>
                <a:spcPts val="0"/>
              </a:spcAft>
              <a:buNone/>
            </a:pPr>
            <a:r>
              <a:rPr lang="en-US"/>
              <a:t>(2020)</a:t>
            </a:r>
            <a:endParaRPr/>
          </a:p>
        </p:txBody>
      </p:sp>
      <p:sp>
        <p:nvSpPr>
          <p:cNvPr id="230" name="Google Shape;230;g7023ddf169_0_87"/>
          <p:cNvSpPr txBox="1"/>
          <p:nvPr/>
        </p:nvSpPr>
        <p:spPr>
          <a:xfrm>
            <a:off x="838200" y="1587500"/>
            <a:ext cx="10676100" cy="1250700"/>
          </a:xfrm>
          <a:prstGeom prst="rect">
            <a:avLst/>
          </a:prstGeom>
          <a:noFill/>
          <a:ln>
            <a:noFill/>
          </a:ln>
        </p:spPr>
        <p:txBody>
          <a:bodyPr anchorCtr="0" anchor="t" bIns="91425" lIns="91425" spcFirstLastPara="1" rIns="91425" wrap="square" tIns="91425">
            <a:noAutofit/>
          </a:bodyPr>
          <a:lstStyle/>
          <a:p>
            <a:pPr indent="-317500" lvl="0" marL="457200" rtl="0" algn="l">
              <a:lnSpc>
                <a:spcPct val="115000"/>
              </a:lnSpc>
              <a:spcBef>
                <a:spcPts val="0"/>
              </a:spcBef>
              <a:spcAft>
                <a:spcPts val="0"/>
              </a:spcAft>
              <a:buSzPts val="1400"/>
              <a:buFont typeface="Georgia"/>
              <a:buChar char="●"/>
            </a:pPr>
            <a:r>
              <a:rPr b="1" lang="en-US">
                <a:highlight>
                  <a:schemeClr val="lt1"/>
                </a:highlight>
              </a:rPr>
              <a:t>Release Date</a:t>
            </a:r>
            <a:r>
              <a:rPr lang="en-US">
                <a:highlight>
                  <a:schemeClr val="lt1"/>
                </a:highlight>
              </a:rPr>
              <a:t>: E</a:t>
            </a:r>
            <a:r>
              <a:rPr lang="en-US">
                <a:highlight>
                  <a:schemeClr val="lt1"/>
                </a:highlight>
              </a:rPr>
              <a:t>ven video games from same franchise releasing at different times could have significant variations on art styles, game play, etc.</a:t>
            </a:r>
            <a:endParaRPr>
              <a:highlight>
                <a:schemeClr val="lt1"/>
              </a:highlight>
            </a:endParaRPr>
          </a:p>
          <a:p>
            <a:pPr indent="-317500" lvl="0" marL="457200" rtl="0" algn="l">
              <a:lnSpc>
                <a:spcPct val="115000"/>
              </a:lnSpc>
              <a:spcBef>
                <a:spcPts val="0"/>
              </a:spcBef>
              <a:spcAft>
                <a:spcPts val="0"/>
              </a:spcAft>
              <a:buSzPts val="1400"/>
              <a:buFont typeface="Georgia"/>
              <a:buChar char="●"/>
            </a:pPr>
            <a:r>
              <a:rPr b="1" lang="en-US">
                <a:solidFill>
                  <a:srgbClr val="252627"/>
                </a:solidFill>
                <a:highlight>
                  <a:schemeClr val="lt1"/>
                </a:highlight>
              </a:rPr>
              <a:t>Review Scores</a:t>
            </a:r>
            <a:r>
              <a:rPr lang="en-US">
                <a:solidFill>
                  <a:srgbClr val="222222"/>
                </a:solidFill>
                <a:highlight>
                  <a:schemeClr val="lt1"/>
                </a:highlight>
              </a:rPr>
              <a:t>: </a:t>
            </a:r>
            <a:endParaRPr>
              <a:solidFill>
                <a:srgbClr val="222222"/>
              </a:solidFill>
              <a:highlight>
                <a:schemeClr val="lt1"/>
              </a:highlight>
            </a:endParaRPr>
          </a:p>
          <a:p>
            <a:pPr indent="-317500" lvl="1" marL="914400" rtl="0" algn="l">
              <a:lnSpc>
                <a:spcPct val="115000"/>
              </a:lnSpc>
              <a:spcBef>
                <a:spcPts val="0"/>
              </a:spcBef>
              <a:spcAft>
                <a:spcPts val="0"/>
              </a:spcAft>
              <a:buSzPts val="1400"/>
              <a:buChar char="○"/>
            </a:pPr>
            <a:r>
              <a:rPr lang="en-US">
                <a:solidFill>
                  <a:srgbClr val="252627"/>
                </a:solidFill>
                <a:highlight>
                  <a:schemeClr val="lt1"/>
                </a:highlight>
              </a:rPr>
              <a:t>Game Review Sites,e.g, IGN,metacritic - gamewise</a:t>
            </a:r>
            <a:endParaRPr>
              <a:solidFill>
                <a:srgbClr val="252627"/>
              </a:solidFill>
              <a:highlight>
                <a:schemeClr val="lt1"/>
              </a:highlight>
            </a:endParaRPr>
          </a:p>
          <a:p>
            <a:pPr indent="-317500" lvl="1" marL="914400" rtl="0" algn="l">
              <a:lnSpc>
                <a:spcPct val="115000"/>
              </a:lnSpc>
              <a:spcBef>
                <a:spcPts val="0"/>
              </a:spcBef>
              <a:spcAft>
                <a:spcPts val="0"/>
              </a:spcAft>
              <a:buSzPts val="1400"/>
              <a:buChar char="○"/>
            </a:pPr>
            <a:r>
              <a:rPr lang="en-US">
                <a:solidFill>
                  <a:srgbClr val="252627"/>
                </a:solidFill>
                <a:highlight>
                  <a:schemeClr val="lt1"/>
                </a:highlight>
              </a:rPr>
              <a:t>Retailer website: Target, amazon - product wise</a:t>
            </a:r>
            <a:endParaRPr>
              <a:highlight>
                <a:schemeClr val="lt1"/>
              </a:highlight>
            </a:endParaRPr>
          </a:p>
        </p:txBody>
      </p:sp>
    </p:spTree>
  </p:cSld>
  <p:clrMapOvr>
    <a:masterClrMapping/>
  </p:clrMapOvr>
</p:sld>
</file>

<file path=ppt/slides/slide1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235" name="Shape 235"/>
        <p:cNvGrpSpPr/>
        <p:nvPr/>
      </p:nvGrpSpPr>
      <p:grpSpPr>
        <a:xfrm>
          <a:off x="0" y="0"/>
          <a:ext cx="0" cy="0"/>
          <a:chOff x="0" y="0"/>
          <a:chExt cx="0" cy="0"/>
        </a:xfrm>
      </p:grpSpPr>
      <p:sp>
        <p:nvSpPr>
          <p:cNvPr id="236" name="Google Shape;236;g7023ddf169_0_116"/>
          <p:cNvSpPr txBox="1"/>
          <p:nvPr>
            <p:ph type="title"/>
          </p:nvPr>
        </p:nvSpPr>
        <p:spPr>
          <a:xfrm>
            <a:off x="838200" y="365125"/>
            <a:ext cx="10515600" cy="480000"/>
          </a:xfrm>
          <a:prstGeom prst="rect">
            <a:avLst/>
          </a:prstGeom>
          <a:noFill/>
          <a:ln>
            <a:noFill/>
          </a:ln>
        </p:spPr>
        <p:txBody>
          <a:bodyPr anchorCtr="0" anchor="t" bIns="45700" lIns="0" spcFirstLastPara="1" rIns="0" wrap="square" tIns="45700">
            <a:noAutofit/>
          </a:bodyPr>
          <a:lstStyle/>
          <a:p>
            <a:pPr indent="0" lvl="0" marL="0" rtl="0" algn="l">
              <a:lnSpc>
                <a:spcPct val="90000"/>
              </a:lnSpc>
              <a:spcBef>
                <a:spcPts val="0"/>
              </a:spcBef>
              <a:spcAft>
                <a:spcPts val="0"/>
              </a:spcAft>
              <a:buClr>
                <a:srgbClr val="C5093B"/>
              </a:buClr>
              <a:buSzPts val="2800"/>
              <a:buFont typeface="Arial"/>
              <a:buNone/>
            </a:pPr>
            <a:r>
              <a:rPr lang="en-US"/>
              <a:t>Example of two similar games</a:t>
            </a:r>
            <a:r>
              <a:rPr lang="en-US"/>
              <a:t>: Content-based approach</a:t>
            </a:r>
            <a:endParaRPr/>
          </a:p>
        </p:txBody>
      </p:sp>
      <p:sp>
        <p:nvSpPr>
          <p:cNvPr id="237" name="Google Shape;237;g7023ddf169_0_116"/>
          <p:cNvSpPr txBox="1"/>
          <p:nvPr>
            <p:ph idx="11" type="ftr"/>
          </p:nvPr>
        </p:nvSpPr>
        <p:spPr>
          <a:xfrm>
            <a:off x="7928904" y="6513308"/>
            <a:ext cx="4114800" cy="365100"/>
          </a:xfrm>
          <a:prstGeom prst="rect">
            <a:avLst/>
          </a:prstGeom>
          <a:noFill/>
          <a:ln>
            <a:noFill/>
          </a:ln>
        </p:spPr>
        <p:txBody>
          <a:bodyPr anchorCtr="0" anchor="ctr" bIns="45700" lIns="91425" spcFirstLastPara="1" rIns="91425" wrap="square" tIns="45700">
            <a:noAutofit/>
          </a:bodyPr>
          <a:lstStyle/>
          <a:p>
            <a:pPr indent="0" lvl="0" marL="0" rtl="0" algn="r">
              <a:spcBef>
                <a:spcPts val="0"/>
              </a:spcBef>
              <a:spcAft>
                <a:spcPts val="0"/>
              </a:spcAft>
              <a:buNone/>
            </a:pPr>
            <a:r>
              <a:rPr lang="en-US"/>
              <a:t>Name of Initiative</a:t>
            </a:r>
            <a:endParaRPr/>
          </a:p>
        </p:txBody>
      </p:sp>
      <p:sp>
        <p:nvSpPr>
          <p:cNvPr id="238" name="Google Shape;238;g7023ddf169_0_116"/>
          <p:cNvSpPr txBox="1"/>
          <p:nvPr>
            <p:ph idx="12" type="sldNum"/>
          </p:nvPr>
        </p:nvSpPr>
        <p:spPr>
          <a:xfrm>
            <a:off x="9300504" y="6126298"/>
            <a:ext cx="2743200" cy="365100"/>
          </a:xfrm>
          <a:prstGeom prst="rect">
            <a:avLst/>
          </a:prstGeom>
          <a:noFill/>
          <a:ln>
            <a:noFill/>
          </a:ln>
        </p:spPr>
        <p:txBody>
          <a:bodyPr anchorCtr="0" anchor="ctr"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
        <p:nvSpPr>
          <p:cNvPr id="239" name="Google Shape;239;g7023ddf169_0_116"/>
          <p:cNvSpPr txBox="1"/>
          <p:nvPr/>
        </p:nvSpPr>
        <p:spPr>
          <a:xfrm>
            <a:off x="838198" y="987207"/>
            <a:ext cx="10676100" cy="695700"/>
          </a:xfrm>
          <a:prstGeom prst="rect">
            <a:avLst/>
          </a:prstGeom>
          <a:noFill/>
          <a:ln>
            <a:noFill/>
          </a:ln>
        </p:spPr>
        <p:txBody>
          <a:bodyPr anchorCtr="0" anchor="t" bIns="0" lIns="0" spcFirstLastPara="1" rIns="0" wrap="square" tIns="0">
            <a:noAutofit/>
          </a:bodyPr>
          <a:lstStyle/>
          <a:p>
            <a:pPr indent="0" lvl="0" marL="0" marR="0" rtl="0" algn="l">
              <a:lnSpc>
                <a:spcPct val="90000"/>
              </a:lnSpc>
              <a:spcBef>
                <a:spcPts val="0"/>
              </a:spcBef>
              <a:spcAft>
                <a:spcPts val="0"/>
              </a:spcAft>
              <a:buClr>
                <a:schemeClr val="dk2"/>
              </a:buClr>
              <a:buSzPts val="1600"/>
              <a:buFont typeface="Arial"/>
              <a:buNone/>
            </a:pPr>
            <a:r>
              <a:rPr lang="en-US" sz="1600">
                <a:solidFill>
                  <a:schemeClr val="dk2"/>
                </a:solidFill>
              </a:rPr>
              <a:t>To encourage subscriptions, we might want to give higher priorities for candidate video  games that are already  in the game vault.</a:t>
            </a:r>
            <a:endParaRPr/>
          </a:p>
        </p:txBody>
      </p:sp>
      <p:pic>
        <p:nvPicPr>
          <p:cNvPr id="240" name="Google Shape;240;g7023ddf169_0_116"/>
          <p:cNvPicPr preferRelativeResize="0"/>
          <p:nvPr/>
        </p:nvPicPr>
        <p:blipFill rotWithShape="1">
          <a:blip r:embed="rId3">
            <a:alphaModFix/>
          </a:blip>
          <a:srcRect b="0" l="0" r="0" t="0"/>
          <a:stretch/>
        </p:blipFill>
        <p:spPr>
          <a:xfrm>
            <a:off x="9300496" y="1489408"/>
            <a:ext cx="360844" cy="360844"/>
          </a:xfrm>
          <a:prstGeom prst="rect">
            <a:avLst/>
          </a:prstGeom>
          <a:noFill/>
          <a:ln>
            <a:noFill/>
          </a:ln>
        </p:spPr>
      </p:pic>
      <p:pic>
        <p:nvPicPr>
          <p:cNvPr id="241" name="Google Shape;241;g7023ddf169_0_116"/>
          <p:cNvPicPr preferRelativeResize="0"/>
          <p:nvPr/>
        </p:nvPicPr>
        <p:blipFill>
          <a:blip r:embed="rId4">
            <a:alphaModFix/>
          </a:blip>
          <a:stretch>
            <a:fillRect/>
          </a:stretch>
        </p:blipFill>
        <p:spPr>
          <a:xfrm>
            <a:off x="1347588" y="2494525"/>
            <a:ext cx="9496824" cy="1756700"/>
          </a:xfrm>
          <a:prstGeom prst="rect">
            <a:avLst/>
          </a:prstGeom>
          <a:noFill/>
          <a:ln>
            <a:noFill/>
          </a:ln>
        </p:spPr>
      </p:pic>
    </p:spTree>
  </p:cSld>
  <p:clrMapOvr>
    <a:masterClrMapping/>
  </p:clrMapOvr>
</p:sld>
</file>

<file path=ppt/slides/slide1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246" name="Shape 246"/>
        <p:cNvGrpSpPr/>
        <p:nvPr/>
      </p:nvGrpSpPr>
      <p:grpSpPr>
        <a:xfrm>
          <a:off x="0" y="0"/>
          <a:ext cx="0" cy="0"/>
          <a:chOff x="0" y="0"/>
          <a:chExt cx="0" cy="0"/>
        </a:xfrm>
      </p:grpSpPr>
      <p:sp>
        <p:nvSpPr>
          <p:cNvPr id="247" name="Google Shape;247;g7023ddf169_0_131"/>
          <p:cNvSpPr txBox="1"/>
          <p:nvPr>
            <p:ph type="title"/>
          </p:nvPr>
        </p:nvSpPr>
        <p:spPr>
          <a:xfrm>
            <a:off x="838200" y="365125"/>
            <a:ext cx="10515600" cy="480000"/>
          </a:xfrm>
          <a:prstGeom prst="rect">
            <a:avLst/>
          </a:prstGeom>
          <a:noFill/>
          <a:ln>
            <a:noFill/>
          </a:ln>
        </p:spPr>
        <p:txBody>
          <a:bodyPr anchorCtr="0" anchor="t" bIns="45700" lIns="0" spcFirstLastPara="1" rIns="0" wrap="square" tIns="45700">
            <a:noAutofit/>
          </a:bodyPr>
          <a:lstStyle/>
          <a:p>
            <a:pPr indent="0" lvl="0" marL="0" rtl="0" algn="l">
              <a:lnSpc>
                <a:spcPct val="90000"/>
              </a:lnSpc>
              <a:spcBef>
                <a:spcPts val="0"/>
              </a:spcBef>
              <a:spcAft>
                <a:spcPts val="0"/>
              </a:spcAft>
              <a:buClr>
                <a:srgbClr val="C5093B"/>
              </a:buClr>
              <a:buSzPts val="2800"/>
              <a:buFont typeface="Arial"/>
              <a:buNone/>
            </a:pPr>
            <a:r>
              <a:rPr lang="en-US"/>
              <a:t>Building Recommendation System: User-based approach</a:t>
            </a:r>
            <a:endParaRPr/>
          </a:p>
        </p:txBody>
      </p:sp>
      <p:sp>
        <p:nvSpPr>
          <p:cNvPr id="248" name="Google Shape;248;g7023ddf169_0_131"/>
          <p:cNvSpPr txBox="1"/>
          <p:nvPr>
            <p:ph idx="11" type="ftr"/>
          </p:nvPr>
        </p:nvSpPr>
        <p:spPr>
          <a:xfrm>
            <a:off x="7928904" y="6513308"/>
            <a:ext cx="4114800" cy="365100"/>
          </a:xfrm>
          <a:prstGeom prst="rect">
            <a:avLst/>
          </a:prstGeom>
          <a:noFill/>
          <a:ln>
            <a:noFill/>
          </a:ln>
        </p:spPr>
        <p:txBody>
          <a:bodyPr anchorCtr="0" anchor="ctr" bIns="45700" lIns="91425" spcFirstLastPara="1" rIns="91425" wrap="square" tIns="45700">
            <a:noAutofit/>
          </a:bodyPr>
          <a:lstStyle/>
          <a:p>
            <a:pPr indent="0" lvl="0" marL="0" rtl="0" algn="r">
              <a:spcBef>
                <a:spcPts val="0"/>
              </a:spcBef>
              <a:spcAft>
                <a:spcPts val="0"/>
              </a:spcAft>
              <a:buNone/>
            </a:pPr>
            <a:r>
              <a:rPr lang="en-US"/>
              <a:t>Name of Initiative</a:t>
            </a:r>
            <a:endParaRPr/>
          </a:p>
        </p:txBody>
      </p:sp>
      <p:sp>
        <p:nvSpPr>
          <p:cNvPr id="249" name="Google Shape;249;g7023ddf169_0_131"/>
          <p:cNvSpPr txBox="1"/>
          <p:nvPr/>
        </p:nvSpPr>
        <p:spPr>
          <a:xfrm>
            <a:off x="838198" y="987207"/>
            <a:ext cx="10676100" cy="695700"/>
          </a:xfrm>
          <a:prstGeom prst="rect">
            <a:avLst/>
          </a:prstGeom>
          <a:noFill/>
          <a:ln>
            <a:noFill/>
          </a:ln>
        </p:spPr>
        <p:txBody>
          <a:bodyPr anchorCtr="0" anchor="t" bIns="0" lIns="0" spcFirstLastPara="1" rIns="0" wrap="square" tIns="0">
            <a:noAutofit/>
          </a:bodyPr>
          <a:lstStyle/>
          <a:p>
            <a:pPr indent="0" lvl="0" marL="0" marR="0" rtl="0" algn="l">
              <a:lnSpc>
                <a:spcPct val="90000"/>
              </a:lnSpc>
              <a:spcBef>
                <a:spcPts val="0"/>
              </a:spcBef>
              <a:spcAft>
                <a:spcPts val="0"/>
              </a:spcAft>
              <a:buClr>
                <a:schemeClr val="dk2"/>
              </a:buClr>
              <a:buSzPts val="1600"/>
              <a:buFont typeface="Arial"/>
              <a:buNone/>
            </a:pPr>
            <a:r>
              <a:rPr lang="en-US" sz="1600">
                <a:solidFill>
                  <a:schemeClr val="dk2"/>
                </a:solidFill>
              </a:rPr>
              <a:t>To encourage subscriptions, we might want to give higher priorities for candidate video  games that are already  in the game vault.</a:t>
            </a:r>
            <a:endParaRPr/>
          </a:p>
        </p:txBody>
      </p:sp>
      <p:sp>
        <p:nvSpPr>
          <p:cNvPr id="250" name="Google Shape;250;g7023ddf169_0_131"/>
          <p:cNvSpPr txBox="1"/>
          <p:nvPr/>
        </p:nvSpPr>
        <p:spPr>
          <a:xfrm>
            <a:off x="838200" y="1824975"/>
            <a:ext cx="10676100" cy="3000000"/>
          </a:xfrm>
          <a:prstGeom prst="rect">
            <a:avLst/>
          </a:prstGeom>
          <a:noFill/>
          <a:ln>
            <a:noFill/>
          </a:ln>
        </p:spPr>
        <p:txBody>
          <a:bodyPr anchorCtr="0" anchor="t" bIns="91425" lIns="91425" spcFirstLastPara="1" rIns="91425" wrap="square" tIns="91425">
            <a:noAutofit/>
          </a:bodyPr>
          <a:lstStyle/>
          <a:p>
            <a:pPr indent="0" lvl="0" marL="0" rtl="0" algn="l">
              <a:spcBef>
                <a:spcPts val="0"/>
              </a:spcBef>
              <a:spcAft>
                <a:spcPts val="0"/>
              </a:spcAft>
              <a:buNone/>
            </a:pPr>
            <a:r>
              <a:rPr b="1" lang="en-US"/>
              <a:t>Method:</a:t>
            </a:r>
            <a:endParaRPr b="1"/>
          </a:p>
          <a:p>
            <a:pPr indent="0" lvl="0" marL="0" rtl="0" algn="l">
              <a:spcBef>
                <a:spcPts val="0"/>
              </a:spcBef>
              <a:spcAft>
                <a:spcPts val="0"/>
              </a:spcAft>
              <a:buNone/>
            </a:pPr>
            <a:r>
              <a:rPr b="1" lang="en-US"/>
              <a:t>Nearest Neighborhood:</a:t>
            </a:r>
            <a:endParaRPr b="1"/>
          </a:p>
          <a:p>
            <a:pPr indent="-317500" lvl="0" marL="457200" rtl="0" algn="l">
              <a:spcBef>
                <a:spcPts val="0"/>
              </a:spcBef>
              <a:spcAft>
                <a:spcPts val="0"/>
              </a:spcAft>
              <a:buSzPts val="1400"/>
              <a:buChar char="-"/>
            </a:pPr>
            <a:r>
              <a:rPr lang="en-US"/>
              <a:t>Uses franchises to compute Jaccard similarity</a:t>
            </a:r>
            <a:endParaRPr/>
          </a:p>
          <a:p>
            <a:pPr indent="-317500" lvl="0" marL="457200" rtl="0" algn="l">
              <a:spcBef>
                <a:spcPts val="0"/>
              </a:spcBef>
              <a:spcAft>
                <a:spcPts val="0"/>
              </a:spcAft>
              <a:buSzPts val="1400"/>
              <a:buChar char="-"/>
            </a:pPr>
            <a:r>
              <a:rPr lang="en-US"/>
              <a:t>Find union of similar users’ games which has not been played by players</a:t>
            </a:r>
            <a:endParaRPr/>
          </a:p>
          <a:p>
            <a:pPr indent="0" lvl="0" marL="0" rtl="0" algn="l">
              <a:spcBef>
                <a:spcPts val="0"/>
              </a:spcBef>
              <a:spcAft>
                <a:spcPts val="0"/>
              </a:spcAft>
              <a:buNone/>
            </a:pPr>
            <a:r>
              <a:t/>
            </a:r>
            <a:endParaRPr/>
          </a:p>
          <a:p>
            <a:pPr indent="0" lvl="0" marL="0" rtl="0" algn="l">
              <a:spcBef>
                <a:spcPts val="0"/>
              </a:spcBef>
              <a:spcAft>
                <a:spcPts val="0"/>
              </a:spcAft>
              <a:buNone/>
            </a:pPr>
            <a:r>
              <a:rPr b="1" lang="en-US"/>
              <a:t>Problem:</a:t>
            </a:r>
            <a:endParaRPr b="1"/>
          </a:p>
          <a:p>
            <a:pPr indent="-317500" lvl="0" marL="457200" rtl="0" algn="l">
              <a:spcBef>
                <a:spcPts val="0"/>
              </a:spcBef>
              <a:spcAft>
                <a:spcPts val="0"/>
              </a:spcAft>
              <a:buSzPts val="1400"/>
              <a:buChar char="-"/>
            </a:pPr>
            <a:r>
              <a:rPr lang="en-US"/>
              <a:t>Does not handle sparsity well when no one in the neighborhood rated an item, that is when users just focus on one type of game</a:t>
            </a:r>
            <a:endParaRPr/>
          </a:p>
          <a:p>
            <a:pPr indent="-317500" lvl="0" marL="457200" rtl="0" algn="l">
              <a:spcBef>
                <a:spcPts val="0"/>
              </a:spcBef>
              <a:spcAft>
                <a:spcPts val="0"/>
              </a:spcAft>
              <a:buSzPts val="1400"/>
              <a:buChar char="-"/>
            </a:pPr>
            <a:r>
              <a:rPr lang="en-US"/>
              <a:t>Solution: content-based approach</a:t>
            </a:r>
            <a:endParaRPr/>
          </a:p>
          <a:p>
            <a:pPr indent="0" lvl="0" marL="0" rtl="0" algn="l">
              <a:spcBef>
                <a:spcPts val="0"/>
              </a:spcBef>
              <a:spcAft>
                <a:spcPts val="0"/>
              </a:spcAft>
              <a:buNone/>
            </a:pPr>
            <a:r>
              <a:t/>
            </a:r>
            <a:endParaRPr/>
          </a:p>
          <a:p>
            <a:pPr indent="0" lvl="0" marL="0" rtl="0" algn="l">
              <a:spcBef>
                <a:spcPts val="0"/>
              </a:spcBef>
              <a:spcAft>
                <a:spcPts val="0"/>
              </a:spcAft>
              <a:buNone/>
            </a:pPr>
            <a:r>
              <a:t/>
            </a:r>
            <a:endParaRPr/>
          </a:p>
        </p:txBody>
      </p:sp>
      <p:pic>
        <p:nvPicPr>
          <p:cNvPr id="251" name="Google Shape;251;g7023ddf169_0_131"/>
          <p:cNvPicPr preferRelativeResize="0"/>
          <p:nvPr/>
        </p:nvPicPr>
        <p:blipFill>
          <a:blip r:embed="rId3">
            <a:alphaModFix/>
          </a:blip>
          <a:stretch>
            <a:fillRect/>
          </a:stretch>
        </p:blipFill>
        <p:spPr>
          <a:xfrm>
            <a:off x="4385775" y="4358625"/>
            <a:ext cx="1288275" cy="1288275"/>
          </a:xfrm>
          <a:prstGeom prst="rect">
            <a:avLst/>
          </a:prstGeom>
          <a:noFill/>
          <a:ln>
            <a:noFill/>
          </a:ln>
        </p:spPr>
      </p:pic>
      <p:pic>
        <p:nvPicPr>
          <p:cNvPr id="252" name="Google Shape;252;g7023ddf169_0_131"/>
          <p:cNvPicPr preferRelativeResize="0"/>
          <p:nvPr/>
        </p:nvPicPr>
        <p:blipFill>
          <a:blip r:embed="rId3">
            <a:alphaModFix/>
          </a:blip>
          <a:stretch>
            <a:fillRect/>
          </a:stretch>
        </p:blipFill>
        <p:spPr>
          <a:xfrm>
            <a:off x="6517938" y="4358625"/>
            <a:ext cx="1288275" cy="1288275"/>
          </a:xfrm>
          <a:prstGeom prst="rect">
            <a:avLst/>
          </a:prstGeom>
          <a:noFill/>
          <a:ln>
            <a:noFill/>
          </a:ln>
        </p:spPr>
      </p:pic>
      <p:pic>
        <p:nvPicPr>
          <p:cNvPr id="253" name="Google Shape;253;g7023ddf169_0_131"/>
          <p:cNvPicPr preferRelativeResize="0"/>
          <p:nvPr/>
        </p:nvPicPr>
        <p:blipFill rotWithShape="1">
          <a:blip r:embed="rId4">
            <a:alphaModFix/>
          </a:blip>
          <a:srcRect b="69304" l="18618" r="61858" t="5006"/>
          <a:stretch/>
        </p:blipFill>
        <p:spPr>
          <a:xfrm>
            <a:off x="8722825" y="4759687"/>
            <a:ext cx="831501" cy="695700"/>
          </a:xfrm>
          <a:prstGeom prst="rect">
            <a:avLst/>
          </a:prstGeom>
          <a:noFill/>
          <a:ln>
            <a:noFill/>
          </a:ln>
        </p:spPr>
      </p:pic>
      <p:pic>
        <p:nvPicPr>
          <p:cNvPr id="254" name="Google Shape;254;g7023ddf169_0_131"/>
          <p:cNvPicPr preferRelativeResize="0"/>
          <p:nvPr/>
        </p:nvPicPr>
        <p:blipFill rotWithShape="1">
          <a:blip r:embed="rId4">
            <a:alphaModFix/>
          </a:blip>
          <a:srcRect b="69304" l="18618" r="61858" t="5006"/>
          <a:stretch/>
        </p:blipFill>
        <p:spPr>
          <a:xfrm>
            <a:off x="8722825" y="3950062"/>
            <a:ext cx="831501" cy="695700"/>
          </a:xfrm>
          <a:prstGeom prst="rect">
            <a:avLst/>
          </a:prstGeom>
          <a:noFill/>
          <a:ln>
            <a:noFill/>
          </a:ln>
        </p:spPr>
      </p:pic>
      <p:pic>
        <p:nvPicPr>
          <p:cNvPr id="255" name="Google Shape;255;g7023ddf169_0_131"/>
          <p:cNvPicPr preferRelativeResize="0"/>
          <p:nvPr/>
        </p:nvPicPr>
        <p:blipFill rotWithShape="1">
          <a:blip r:embed="rId4">
            <a:alphaModFix/>
          </a:blip>
          <a:srcRect b="69304" l="18618" r="61858" t="5006"/>
          <a:stretch/>
        </p:blipFill>
        <p:spPr>
          <a:xfrm>
            <a:off x="8722825" y="5569312"/>
            <a:ext cx="831501" cy="695700"/>
          </a:xfrm>
          <a:prstGeom prst="rect">
            <a:avLst/>
          </a:prstGeom>
          <a:noFill/>
          <a:ln>
            <a:noFill/>
          </a:ln>
        </p:spPr>
      </p:pic>
      <p:pic>
        <p:nvPicPr>
          <p:cNvPr id="256" name="Google Shape;256;g7023ddf169_0_131"/>
          <p:cNvPicPr preferRelativeResize="0"/>
          <p:nvPr/>
        </p:nvPicPr>
        <p:blipFill rotWithShape="1">
          <a:blip r:embed="rId4">
            <a:alphaModFix/>
          </a:blip>
          <a:srcRect b="69304" l="18618" r="61858" t="5006"/>
          <a:stretch/>
        </p:blipFill>
        <p:spPr>
          <a:xfrm>
            <a:off x="2645875" y="4063987"/>
            <a:ext cx="831501" cy="695700"/>
          </a:xfrm>
          <a:prstGeom prst="rect">
            <a:avLst/>
          </a:prstGeom>
          <a:noFill/>
          <a:ln>
            <a:noFill/>
          </a:ln>
        </p:spPr>
      </p:pic>
      <p:pic>
        <p:nvPicPr>
          <p:cNvPr id="257" name="Google Shape;257;g7023ddf169_0_131"/>
          <p:cNvPicPr preferRelativeResize="0"/>
          <p:nvPr/>
        </p:nvPicPr>
        <p:blipFill rotWithShape="1">
          <a:blip r:embed="rId4">
            <a:alphaModFix/>
          </a:blip>
          <a:srcRect b="69304" l="18618" r="61858" t="5006"/>
          <a:stretch/>
        </p:blipFill>
        <p:spPr>
          <a:xfrm>
            <a:off x="2645875" y="4824987"/>
            <a:ext cx="831501" cy="695700"/>
          </a:xfrm>
          <a:prstGeom prst="rect">
            <a:avLst/>
          </a:prstGeom>
          <a:noFill/>
          <a:ln>
            <a:noFill/>
          </a:ln>
        </p:spPr>
      </p:pic>
      <p:cxnSp>
        <p:nvCxnSpPr>
          <p:cNvPr id="258" name="Google Shape;258;g7023ddf169_0_131"/>
          <p:cNvCxnSpPr/>
          <p:nvPr/>
        </p:nvCxnSpPr>
        <p:spPr>
          <a:xfrm flipH="1" rot="10800000">
            <a:off x="5867550" y="5002675"/>
            <a:ext cx="473400" cy="8400"/>
          </a:xfrm>
          <a:prstGeom prst="straightConnector1">
            <a:avLst/>
          </a:prstGeom>
          <a:noFill/>
          <a:ln cap="flat" cmpd="sng" w="9525">
            <a:solidFill>
              <a:schemeClr val="dk2"/>
            </a:solidFill>
            <a:prstDash val="dash"/>
            <a:round/>
            <a:headEnd len="med" w="med" type="none"/>
            <a:tailEnd len="med" w="med" type="none"/>
          </a:ln>
        </p:spPr>
      </p:cxnSp>
      <p:cxnSp>
        <p:nvCxnSpPr>
          <p:cNvPr id="259" name="Google Shape;259;g7023ddf169_0_131"/>
          <p:cNvCxnSpPr>
            <a:stCxn id="251" idx="1"/>
            <a:endCxn id="256" idx="3"/>
          </p:cNvCxnSpPr>
          <p:nvPr/>
        </p:nvCxnSpPr>
        <p:spPr>
          <a:xfrm rot="10800000">
            <a:off x="3477375" y="4411763"/>
            <a:ext cx="908400" cy="591000"/>
          </a:xfrm>
          <a:prstGeom prst="straightConnector1">
            <a:avLst/>
          </a:prstGeom>
          <a:noFill/>
          <a:ln cap="flat" cmpd="sng" w="9525">
            <a:solidFill>
              <a:schemeClr val="dk2"/>
            </a:solidFill>
            <a:prstDash val="solid"/>
            <a:round/>
            <a:headEnd len="med" w="med" type="none"/>
            <a:tailEnd len="med" w="med" type="triangle"/>
          </a:ln>
        </p:spPr>
      </p:cxnSp>
      <p:cxnSp>
        <p:nvCxnSpPr>
          <p:cNvPr id="260" name="Google Shape;260;g7023ddf169_0_131"/>
          <p:cNvCxnSpPr>
            <a:stCxn id="251" idx="1"/>
            <a:endCxn id="257" idx="3"/>
          </p:cNvCxnSpPr>
          <p:nvPr/>
        </p:nvCxnSpPr>
        <p:spPr>
          <a:xfrm flipH="1">
            <a:off x="3477375" y="5002763"/>
            <a:ext cx="908400" cy="170100"/>
          </a:xfrm>
          <a:prstGeom prst="straightConnector1">
            <a:avLst/>
          </a:prstGeom>
          <a:noFill/>
          <a:ln cap="flat" cmpd="sng" w="9525">
            <a:solidFill>
              <a:schemeClr val="dk2"/>
            </a:solidFill>
            <a:prstDash val="solid"/>
            <a:round/>
            <a:headEnd len="med" w="med" type="none"/>
            <a:tailEnd len="med" w="med" type="triangle"/>
          </a:ln>
        </p:spPr>
      </p:cxnSp>
      <p:cxnSp>
        <p:nvCxnSpPr>
          <p:cNvPr id="261" name="Google Shape;261;g7023ddf169_0_131"/>
          <p:cNvCxnSpPr>
            <a:stCxn id="252" idx="3"/>
            <a:endCxn id="254" idx="1"/>
          </p:cNvCxnSpPr>
          <p:nvPr/>
        </p:nvCxnSpPr>
        <p:spPr>
          <a:xfrm flipH="1" rot="10800000">
            <a:off x="7806213" y="4297763"/>
            <a:ext cx="916500" cy="705000"/>
          </a:xfrm>
          <a:prstGeom prst="straightConnector1">
            <a:avLst/>
          </a:prstGeom>
          <a:noFill/>
          <a:ln cap="flat" cmpd="sng" w="9525">
            <a:solidFill>
              <a:schemeClr val="dk2"/>
            </a:solidFill>
            <a:prstDash val="solid"/>
            <a:round/>
            <a:headEnd len="med" w="med" type="none"/>
            <a:tailEnd len="med" w="med" type="triangle"/>
          </a:ln>
        </p:spPr>
      </p:cxnSp>
      <p:cxnSp>
        <p:nvCxnSpPr>
          <p:cNvPr id="262" name="Google Shape;262;g7023ddf169_0_131"/>
          <p:cNvCxnSpPr>
            <a:stCxn id="252" idx="3"/>
            <a:endCxn id="253" idx="1"/>
          </p:cNvCxnSpPr>
          <p:nvPr/>
        </p:nvCxnSpPr>
        <p:spPr>
          <a:xfrm>
            <a:off x="7806213" y="5002763"/>
            <a:ext cx="916500" cy="104700"/>
          </a:xfrm>
          <a:prstGeom prst="straightConnector1">
            <a:avLst/>
          </a:prstGeom>
          <a:noFill/>
          <a:ln cap="flat" cmpd="sng" w="9525">
            <a:solidFill>
              <a:schemeClr val="dk2"/>
            </a:solidFill>
            <a:prstDash val="solid"/>
            <a:round/>
            <a:headEnd len="med" w="med" type="none"/>
            <a:tailEnd len="med" w="med" type="triangle"/>
          </a:ln>
        </p:spPr>
      </p:cxnSp>
      <p:cxnSp>
        <p:nvCxnSpPr>
          <p:cNvPr id="263" name="Google Shape;263;g7023ddf169_0_131"/>
          <p:cNvCxnSpPr>
            <a:stCxn id="252" idx="3"/>
            <a:endCxn id="255" idx="1"/>
          </p:cNvCxnSpPr>
          <p:nvPr/>
        </p:nvCxnSpPr>
        <p:spPr>
          <a:xfrm>
            <a:off x="7806213" y="5002763"/>
            <a:ext cx="916500" cy="914400"/>
          </a:xfrm>
          <a:prstGeom prst="straightConnector1">
            <a:avLst/>
          </a:prstGeom>
          <a:noFill/>
          <a:ln cap="flat" cmpd="sng" w="9525">
            <a:solidFill>
              <a:schemeClr val="dk2"/>
            </a:solidFill>
            <a:prstDash val="solid"/>
            <a:round/>
            <a:headEnd len="med" w="med" type="none"/>
            <a:tailEnd len="med" w="med" type="triangle"/>
          </a:ln>
        </p:spPr>
      </p:cxnSp>
      <p:cxnSp>
        <p:nvCxnSpPr>
          <p:cNvPr id="264" name="Google Shape;264;g7023ddf169_0_131"/>
          <p:cNvCxnSpPr>
            <a:stCxn id="251" idx="2"/>
            <a:endCxn id="255" idx="1"/>
          </p:cNvCxnSpPr>
          <p:nvPr/>
        </p:nvCxnSpPr>
        <p:spPr>
          <a:xfrm flipH="1" rot="-5400000">
            <a:off x="6741263" y="3935551"/>
            <a:ext cx="270300" cy="3693000"/>
          </a:xfrm>
          <a:prstGeom prst="bentConnector2">
            <a:avLst/>
          </a:prstGeom>
          <a:noFill/>
          <a:ln cap="flat" cmpd="sng" w="9525">
            <a:solidFill>
              <a:schemeClr val="dk2"/>
            </a:solidFill>
            <a:prstDash val="dash"/>
            <a:round/>
            <a:headEnd len="med" w="med" type="none"/>
            <a:tailEnd len="med" w="med" type="none"/>
          </a:ln>
        </p:spPr>
      </p:cxnSp>
      <p:cxnSp>
        <p:nvCxnSpPr>
          <p:cNvPr id="265" name="Google Shape;265;g7023ddf169_0_131"/>
          <p:cNvCxnSpPr>
            <a:endCxn id="255" idx="1"/>
          </p:cNvCxnSpPr>
          <p:nvPr/>
        </p:nvCxnSpPr>
        <p:spPr>
          <a:xfrm>
            <a:off x="8229625" y="5915962"/>
            <a:ext cx="493200" cy="1200"/>
          </a:xfrm>
          <a:prstGeom prst="straightConnector1">
            <a:avLst/>
          </a:prstGeom>
          <a:noFill/>
          <a:ln cap="flat" cmpd="sng" w="9525">
            <a:solidFill>
              <a:schemeClr val="dk2"/>
            </a:solidFill>
            <a:prstDash val="dash"/>
            <a:round/>
            <a:headEnd len="med" w="med" type="none"/>
            <a:tailEnd len="med" w="med" type="triangle"/>
          </a:ln>
        </p:spPr>
      </p:cxnSp>
      <p:sp>
        <p:nvSpPr>
          <p:cNvPr id="266" name="Google Shape;266;g7023ddf169_0_131"/>
          <p:cNvSpPr txBox="1"/>
          <p:nvPr/>
        </p:nvSpPr>
        <p:spPr>
          <a:xfrm>
            <a:off x="3610125" y="4759675"/>
            <a:ext cx="409500" cy="270300"/>
          </a:xfrm>
          <a:prstGeom prst="rect">
            <a:avLst/>
          </a:prstGeom>
          <a:noFill/>
          <a:ln>
            <a:noFill/>
          </a:ln>
        </p:spPr>
        <p:txBody>
          <a:bodyPr anchorCtr="0" anchor="t" bIns="91425" lIns="91425" spcFirstLastPara="1" rIns="91425" wrap="square" tIns="91425">
            <a:noAutofit/>
          </a:bodyPr>
          <a:lstStyle/>
          <a:p>
            <a:pPr indent="0" lvl="0" marL="0" rtl="0" algn="l">
              <a:spcBef>
                <a:spcPts val="0"/>
              </a:spcBef>
              <a:spcAft>
                <a:spcPts val="0"/>
              </a:spcAft>
              <a:buNone/>
            </a:pPr>
            <a:r>
              <a:rPr lang="en-US" sz="1000"/>
              <a:t>buy</a:t>
            </a:r>
            <a:endParaRPr sz="1000"/>
          </a:p>
        </p:txBody>
      </p:sp>
      <p:sp>
        <p:nvSpPr>
          <p:cNvPr id="267" name="Google Shape;267;g7023ddf169_0_131"/>
          <p:cNvSpPr txBox="1"/>
          <p:nvPr/>
        </p:nvSpPr>
        <p:spPr>
          <a:xfrm>
            <a:off x="7983225" y="4780500"/>
            <a:ext cx="409500" cy="270300"/>
          </a:xfrm>
          <a:prstGeom prst="rect">
            <a:avLst/>
          </a:prstGeom>
          <a:noFill/>
          <a:ln>
            <a:noFill/>
          </a:ln>
        </p:spPr>
        <p:txBody>
          <a:bodyPr anchorCtr="0" anchor="t" bIns="91425" lIns="91425" spcFirstLastPara="1" rIns="91425" wrap="square" tIns="91425">
            <a:noAutofit/>
          </a:bodyPr>
          <a:lstStyle/>
          <a:p>
            <a:pPr indent="0" lvl="0" marL="0" rtl="0" algn="l">
              <a:spcBef>
                <a:spcPts val="0"/>
              </a:spcBef>
              <a:spcAft>
                <a:spcPts val="0"/>
              </a:spcAft>
              <a:buNone/>
            </a:pPr>
            <a:r>
              <a:rPr lang="en-US" sz="1000"/>
              <a:t>buy</a:t>
            </a:r>
            <a:endParaRPr sz="1000"/>
          </a:p>
        </p:txBody>
      </p:sp>
      <p:sp>
        <p:nvSpPr>
          <p:cNvPr id="268" name="Google Shape;268;g7023ddf169_0_131"/>
          <p:cNvSpPr txBox="1"/>
          <p:nvPr/>
        </p:nvSpPr>
        <p:spPr>
          <a:xfrm>
            <a:off x="5748300" y="4740775"/>
            <a:ext cx="695400" cy="270300"/>
          </a:xfrm>
          <a:prstGeom prst="rect">
            <a:avLst/>
          </a:prstGeom>
          <a:noFill/>
          <a:ln>
            <a:noFill/>
          </a:ln>
        </p:spPr>
        <p:txBody>
          <a:bodyPr anchorCtr="0" anchor="t" bIns="91425" lIns="91425" spcFirstLastPara="1" rIns="91425" wrap="square" tIns="91425">
            <a:noAutofit/>
          </a:bodyPr>
          <a:lstStyle/>
          <a:p>
            <a:pPr indent="0" lvl="0" marL="0" rtl="0" algn="ctr">
              <a:spcBef>
                <a:spcPts val="0"/>
              </a:spcBef>
              <a:spcAft>
                <a:spcPts val="0"/>
              </a:spcAft>
              <a:buNone/>
            </a:pPr>
            <a:r>
              <a:rPr lang="en-US" sz="1000"/>
              <a:t>similar</a:t>
            </a:r>
            <a:endParaRPr sz="1000"/>
          </a:p>
        </p:txBody>
      </p:sp>
      <p:sp>
        <p:nvSpPr>
          <p:cNvPr id="269" name="Google Shape;269;g7023ddf169_0_131"/>
          <p:cNvSpPr txBox="1"/>
          <p:nvPr/>
        </p:nvSpPr>
        <p:spPr>
          <a:xfrm>
            <a:off x="5804850" y="5915950"/>
            <a:ext cx="1428600" cy="270300"/>
          </a:xfrm>
          <a:prstGeom prst="rect">
            <a:avLst/>
          </a:prstGeom>
          <a:noFill/>
          <a:ln>
            <a:noFill/>
          </a:ln>
        </p:spPr>
        <p:txBody>
          <a:bodyPr anchorCtr="0" anchor="t" bIns="91425" lIns="91425" spcFirstLastPara="1" rIns="91425" wrap="square" tIns="91425">
            <a:noAutofit/>
          </a:bodyPr>
          <a:lstStyle/>
          <a:p>
            <a:pPr indent="0" lvl="0" marL="0" rtl="0" algn="ctr">
              <a:spcBef>
                <a:spcPts val="0"/>
              </a:spcBef>
              <a:spcAft>
                <a:spcPts val="0"/>
              </a:spcAft>
              <a:buNone/>
            </a:pPr>
            <a:r>
              <a:rPr lang="en-US" sz="1000"/>
              <a:t>likely to buy</a:t>
            </a:r>
            <a:endParaRPr sz="1000"/>
          </a:p>
        </p:txBody>
      </p:sp>
    </p:spTree>
  </p:cSld>
  <p:clrMapOvr>
    <a:masterClrMapping/>
  </p:clrMapOvr>
</p:sld>
</file>

<file path=ppt/slides/slide1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274" name="Shape 274"/>
        <p:cNvGrpSpPr/>
        <p:nvPr/>
      </p:nvGrpSpPr>
      <p:grpSpPr>
        <a:xfrm>
          <a:off x="0" y="0"/>
          <a:ext cx="0" cy="0"/>
          <a:chOff x="0" y="0"/>
          <a:chExt cx="0" cy="0"/>
        </a:xfrm>
      </p:grpSpPr>
      <p:sp>
        <p:nvSpPr>
          <p:cNvPr id="275" name="Google Shape;275;g7023ddf169_0_172"/>
          <p:cNvSpPr txBox="1"/>
          <p:nvPr>
            <p:ph type="title"/>
          </p:nvPr>
        </p:nvSpPr>
        <p:spPr>
          <a:xfrm>
            <a:off x="838200" y="365125"/>
            <a:ext cx="10515600" cy="480000"/>
          </a:xfrm>
          <a:prstGeom prst="rect">
            <a:avLst/>
          </a:prstGeom>
          <a:noFill/>
          <a:ln>
            <a:noFill/>
          </a:ln>
        </p:spPr>
        <p:txBody>
          <a:bodyPr anchorCtr="0" anchor="t" bIns="45700" lIns="0" spcFirstLastPara="1" rIns="0" wrap="square" tIns="45700">
            <a:noAutofit/>
          </a:bodyPr>
          <a:lstStyle/>
          <a:p>
            <a:pPr indent="0" lvl="0" marL="0" rtl="0" algn="l">
              <a:lnSpc>
                <a:spcPct val="90000"/>
              </a:lnSpc>
              <a:spcBef>
                <a:spcPts val="0"/>
              </a:spcBef>
              <a:spcAft>
                <a:spcPts val="0"/>
              </a:spcAft>
              <a:buClr>
                <a:srgbClr val="C5093B"/>
              </a:buClr>
              <a:buSzPts val="2800"/>
              <a:buFont typeface="Arial"/>
              <a:buNone/>
            </a:pPr>
            <a:r>
              <a:rPr lang="en-US"/>
              <a:t>Building Recommendation System: User-based approach</a:t>
            </a:r>
            <a:endParaRPr/>
          </a:p>
        </p:txBody>
      </p:sp>
      <p:sp>
        <p:nvSpPr>
          <p:cNvPr id="276" name="Google Shape;276;g7023ddf169_0_172"/>
          <p:cNvSpPr txBox="1"/>
          <p:nvPr/>
        </p:nvSpPr>
        <p:spPr>
          <a:xfrm>
            <a:off x="838198" y="987207"/>
            <a:ext cx="10676100" cy="695700"/>
          </a:xfrm>
          <a:prstGeom prst="rect">
            <a:avLst/>
          </a:prstGeom>
          <a:noFill/>
          <a:ln>
            <a:noFill/>
          </a:ln>
        </p:spPr>
        <p:txBody>
          <a:bodyPr anchorCtr="0" anchor="t" bIns="0" lIns="0" spcFirstLastPara="1" rIns="0" wrap="square" tIns="0">
            <a:noAutofit/>
          </a:bodyPr>
          <a:lstStyle/>
          <a:p>
            <a:pPr indent="0" lvl="0" marL="0" marR="0" rtl="0" algn="l">
              <a:lnSpc>
                <a:spcPct val="90000"/>
              </a:lnSpc>
              <a:spcBef>
                <a:spcPts val="0"/>
              </a:spcBef>
              <a:spcAft>
                <a:spcPts val="0"/>
              </a:spcAft>
              <a:buClr>
                <a:schemeClr val="dk2"/>
              </a:buClr>
              <a:buSzPts val="1600"/>
              <a:buFont typeface="Arial"/>
              <a:buNone/>
            </a:pPr>
            <a:r>
              <a:rPr lang="en-US" sz="1600">
                <a:solidFill>
                  <a:schemeClr val="dk2"/>
                </a:solidFill>
              </a:rPr>
              <a:t>Top 6 similar users based on franchise</a:t>
            </a:r>
            <a:endParaRPr/>
          </a:p>
        </p:txBody>
      </p:sp>
      <p:pic>
        <p:nvPicPr>
          <p:cNvPr id="277" name="Google Shape;277;g7023ddf169_0_172"/>
          <p:cNvPicPr preferRelativeResize="0"/>
          <p:nvPr/>
        </p:nvPicPr>
        <p:blipFill>
          <a:blip r:embed="rId3">
            <a:alphaModFix/>
          </a:blip>
          <a:stretch>
            <a:fillRect/>
          </a:stretch>
        </p:blipFill>
        <p:spPr>
          <a:xfrm>
            <a:off x="1524000" y="1582596"/>
            <a:ext cx="9144000" cy="4075558"/>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282" name="Shape 282"/>
        <p:cNvGrpSpPr/>
        <p:nvPr/>
      </p:nvGrpSpPr>
      <p:grpSpPr>
        <a:xfrm>
          <a:off x="0" y="0"/>
          <a:ext cx="0" cy="0"/>
          <a:chOff x="0" y="0"/>
          <a:chExt cx="0" cy="0"/>
        </a:xfrm>
      </p:grpSpPr>
      <p:sp>
        <p:nvSpPr>
          <p:cNvPr id="283" name="Google Shape;283;g7023ddf169_0_209"/>
          <p:cNvSpPr txBox="1"/>
          <p:nvPr>
            <p:ph type="title"/>
          </p:nvPr>
        </p:nvSpPr>
        <p:spPr>
          <a:xfrm>
            <a:off x="838200" y="365125"/>
            <a:ext cx="10515600" cy="480000"/>
          </a:xfrm>
          <a:prstGeom prst="rect">
            <a:avLst/>
          </a:prstGeom>
          <a:noFill/>
          <a:ln>
            <a:noFill/>
          </a:ln>
        </p:spPr>
        <p:txBody>
          <a:bodyPr anchorCtr="0" anchor="t" bIns="45700" lIns="0" spcFirstLastPara="1" rIns="0" wrap="square" tIns="45700">
            <a:noAutofit/>
          </a:bodyPr>
          <a:lstStyle/>
          <a:p>
            <a:pPr indent="0" lvl="0" marL="0" rtl="0" algn="l">
              <a:lnSpc>
                <a:spcPct val="90000"/>
              </a:lnSpc>
              <a:spcBef>
                <a:spcPts val="0"/>
              </a:spcBef>
              <a:spcAft>
                <a:spcPts val="0"/>
              </a:spcAft>
              <a:buClr>
                <a:srgbClr val="C5093B"/>
              </a:buClr>
              <a:buSzPts val="2800"/>
              <a:buFont typeface="Arial"/>
              <a:buNone/>
            </a:pPr>
            <a:r>
              <a:rPr lang="en-US"/>
              <a:t>Workstream 2: External Resources</a:t>
            </a:r>
            <a:endParaRPr/>
          </a:p>
        </p:txBody>
      </p:sp>
      <p:sp>
        <p:nvSpPr>
          <p:cNvPr id="284" name="Google Shape;284;g7023ddf169_0_209"/>
          <p:cNvSpPr txBox="1"/>
          <p:nvPr/>
        </p:nvSpPr>
        <p:spPr>
          <a:xfrm>
            <a:off x="838198" y="987207"/>
            <a:ext cx="10676100" cy="695700"/>
          </a:xfrm>
          <a:prstGeom prst="rect">
            <a:avLst/>
          </a:prstGeom>
          <a:noFill/>
          <a:ln>
            <a:noFill/>
          </a:ln>
        </p:spPr>
        <p:txBody>
          <a:bodyPr anchorCtr="0" anchor="t" bIns="0" lIns="0" spcFirstLastPara="1" rIns="0" wrap="square" tIns="0">
            <a:noAutofit/>
          </a:bodyPr>
          <a:lstStyle/>
          <a:p>
            <a:pPr indent="0" lvl="0" marL="0" marR="0" rtl="0" algn="l">
              <a:lnSpc>
                <a:spcPct val="90000"/>
              </a:lnSpc>
              <a:spcBef>
                <a:spcPts val="0"/>
              </a:spcBef>
              <a:spcAft>
                <a:spcPts val="0"/>
              </a:spcAft>
              <a:buClr>
                <a:schemeClr val="dk2"/>
              </a:buClr>
              <a:buSzPts val="1600"/>
              <a:buFont typeface="Arial"/>
              <a:buNone/>
            </a:pPr>
            <a:r>
              <a:rPr lang="en-US" sz="1600">
                <a:solidFill>
                  <a:schemeClr val="dk2"/>
                </a:solidFill>
              </a:rPr>
              <a:t>Goal: Obtaining insights into customers’ opinions and experience with EA</a:t>
            </a:r>
            <a:endParaRPr/>
          </a:p>
        </p:txBody>
      </p:sp>
      <p:sp>
        <p:nvSpPr>
          <p:cNvPr id="285" name="Google Shape;285;g7023ddf169_0_209"/>
          <p:cNvSpPr txBox="1"/>
          <p:nvPr/>
        </p:nvSpPr>
        <p:spPr>
          <a:xfrm>
            <a:off x="838200" y="1492400"/>
            <a:ext cx="10515600" cy="3000000"/>
          </a:xfrm>
          <a:prstGeom prst="rect">
            <a:avLst/>
          </a:prstGeom>
          <a:noFill/>
          <a:ln>
            <a:noFill/>
          </a:ln>
        </p:spPr>
        <p:txBody>
          <a:bodyPr anchorCtr="0" anchor="t" bIns="91425" lIns="91425" spcFirstLastPara="1" rIns="91425" wrap="square" tIns="91425">
            <a:noAutofit/>
          </a:bodyPr>
          <a:lstStyle/>
          <a:p>
            <a:pPr indent="0" lvl="0" marL="0" rtl="0" algn="l">
              <a:spcBef>
                <a:spcPts val="0"/>
              </a:spcBef>
              <a:spcAft>
                <a:spcPts val="0"/>
              </a:spcAft>
              <a:buNone/>
            </a:pPr>
            <a:r>
              <a:rPr lang="en-US"/>
              <a:t>Web scraping</a:t>
            </a:r>
            <a:endParaRPr/>
          </a:p>
          <a:p>
            <a:pPr indent="-317500" lvl="0" marL="457200" rtl="0" algn="l">
              <a:spcBef>
                <a:spcPts val="0"/>
              </a:spcBef>
              <a:spcAft>
                <a:spcPts val="0"/>
              </a:spcAft>
              <a:buSzPts val="1400"/>
              <a:buChar char="●"/>
            </a:pPr>
            <a:r>
              <a:rPr lang="en-US"/>
              <a:t>Scraped with BeautifulSoup:</a:t>
            </a:r>
            <a:endParaRPr/>
          </a:p>
          <a:p>
            <a:pPr indent="-317500" lvl="1" marL="914400" rtl="0" algn="l">
              <a:spcBef>
                <a:spcPts val="0"/>
              </a:spcBef>
              <a:spcAft>
                <a:spcPts val="0"/>
              </a:spcAft>
              <a:buSzPts val="1400"/>
              <a:buChar char="○"/>
            </a:pPr>
            <a:r>
              <a:rPr lang="en-US"/>
              <a:t>2000 Amazon reviews and ratings on 9 most popular games</a:t>
            </a:r>
            <a:endParaRPr/>
          </a:p>
          <a:p>
            <a:pPr indent="-317500" lvl="0" marL="457200" rtl="0" algn="l">
              <a:spcBef>
                <a:spcPts val="0"/>
              </a:spcBef>
              <a:spcAft>
                <a:spcPts val="0"/>
              </a:spcAft>
              <a:buSzPts val="1400"/>
              <a:buChar char="●"/>
            </a:pPr>
            <a:r>
              <a:rPr lang="en-US"/>
              <a:t>Cleaned and processed reviews with Python’s nltk/spacy</a:t>
            </a:r>
            <a:endParaRPr/>
          </a:p>
          <a:p>
            <a:pPr indent="-317500" lvl="0" marL="457200" rtl="0" algn="l">
              <a:spcBef>
                <a:spcPts val="0"/>
              </a:spcBef>
              <a:spcAft>
                <a:spcPts val="0"/>
              </a:spcAft>
              <a:buSzPts val="1400"/>
              <a:buChar char="●"/>
            </a:pPr>
            <a:r>
              <a:rPr lang="en-US"/>
              <a:t>Implemented pyLDAvis to visualize topic modeling through an interactive map</a:t>
            </a:r>
            <a:endParaRPr/>
          </a:p>
        </p:txBody>
      </p:sp>
    </p:spTree>
  </p:cSld>
  <p:clrMapOvr>
    <a:masterClrMapping/>
  </p:clrMapOvr>
</p:sld>
</file>

<file path=ppt/slides/slide1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290" name="Shape 290"/>
        <p:cNvGrpSpPr/>
        <p:nvPr/>
      </p:nvGrpSpPr>
      <p:grpSpPr>
        <a:xfrm>
          <a:off x="0" y="0"/>
          <a:ext cx="0" cy="0"/>
          <a:chOff x="0" y="0"/>
          <a:chExt cx="0" cy="0"/>
        </a:xfrm>
      </p:grpSpPr>
      <p:sp>
        <p:nvSpPr>
          <p:cNvPr id="291" name="Google Shape;291;g7023ddf169_0_200"/>
          <p:cNvSpPr txBox="1"/>
          <p:nvPr>
            <p:ph type="title"/>
          </p:nvPr>
        </p:nvSpPr>
        <p:spPr>
          <a:xfrm>
            <a:off x="838200" y="365125"/>
            <a:ext cx="10515600" cy="480000"/>
          </a:xfrm>
          <a:prstGeom prst="rect">
            <a:avLst/>
          </a:prstGeom>
          <a:noFill/>
          <a:ln>
            <a:noFill/>
          </a:ln>
        </p:spPr>
        <p:txBody>
          <a:bodyPr anchorCtr="0" anchor="t" bIns="45700" lIns="0" spcFirstLastPara="1" rIns="0" wrap="square" tIns="45700">
            <a:noAutofit/>
          </a:bodyPr>
          <a:lstStyle/>
          <a:p>
            <a:pPr indent="0" lvl="0" marL="0" rtl="0" algn="l">
              <a:lnSpc>
                <a:spcPct val="90000"/>
              </a:lnSpc>
              <a:spcBef>
                <a:spcPts val="0"/>
              </a:spcBef>
              <a:spcAft>
                <a:spcPts val="0"/>
              </a:spcAft>
              <a:buClr>
                <a:srgbClr val="C5093B"/>
              </a:buClr>
              <a:buSzPts val="2800"/>
              <a:buFont typeface="Arial"/>
              <a:buNone/>
            </a:pPr>
            <a:r>
              <a:rPr lang="en-US"/>
              <a:t>Perception on games over time</a:t>
            </a:r>
            <a:endParaRPr/>
          </a:p>
        </p:txBody>
      </p:sp>
      <p:pic>
        <p:nvPicPr>
          <p:cNvPr id="292" name="Google Shape;292;g7023ddf169_0_200"/>
          <p:cNvPicPr preferRelativeResize="0"/>
          <p:nvPr/>
        </p:nvPicPr>
        <p:blipFill>
          <a:blip r:embed="rId3">
            <a:alphaModFix/>
          </a:blip>
          <a:stretch>
            <a:fillRect/>
          </a:stretch>
        </p:blipFill>
        <p:spPr>
          <a:xfrm>
            <a:off x="838200" y="972950"/>
            <a:ext cx="4874649" cy="5218775"/>
          </a:xfrm>
          <a:prstGeom prst="rect">
            <a:avLst/>
          </a:prstGeom>
          <a:noFill/>
          <a:ln>
            <a:noFill/>
          </a:ln>
        </p:spPr>
      </p:pic>
      <p:pic>
        <p:nvPicPr>
          <p:cNvPr id="293" name="Google Shape;293;g7023ddf169_0_200"/>
          <p:cNvPicPr preferRelativeResize="0"/>
          <p:nvPr/>
        </p:nvPicPr>
        <p:blipFill>
          <a:blip r:embed="rId4">
            <a:alphaModFix/>
          </a:blip>
          <a:stretch>
            <a:fillRect/>
          </a:stretch>
        </p:blipFill>
        <p:spPr>
          <a:xfrm>
            <a:off x="6103350" y="2040138"/>
            <a:ext cx="5250450" cy="2187175"/>
          </a:xfrm>
          <a:prstGeom prst="rect">
            <a:avLst/>
          </a:prstGeom>
          <a:noFill/>
          <a:ln>
            <a:noFill/>
          </a:ln>
        </p:spPr>
      </p:pic>
      <p:sp>
        <p:nvSpPr>
          <p:cNvPr id="294" name="Google Shape;294;g7023ddf169_0_200"/>
          <p:cNvSpPr txBox="1"/>
          <p:nvPr/>
        </p:nvSpPr>
        <p:spPr>
          <a:xfrm>
            <a:off x="6886750" y="1616150"/>
            <a:ext cx="4381500" cy="180900"/>
          </a:xfrm>
          <a:prstGeom prst="rect">
            <a:avLst/>
          </a:prstGeom>
          <a:noFill/>
          <a:ln>
            <a:noFill/>
          </a:ln>
        </p:spPr>
        <p:txBody>
          <a:bodyPr anchorCtr="0" anchor="t" bIns="91425" lIns="91425" spcFirstLastPara="1" rIns="91425" wrap="square" tIns="91425">
            <a:noAutofit/>
          </a:bodyPr>
          <a:lstStyle/>
          <a:p>
            <a:pPr indent="0" lvl="0" marL="0" rtl="0" algn="ctr">
              <a:spcBef>
                <a:spcPts val="0"/>
              </a:spcBef>
              <a:spcAft>
                <a:spcPts val="0"/>
              </a:spcAft>
              <a:buNone/>
            </a:pPr>
            <a:r>
              <a:rPr lang="en-US"/>
              <a:t>Number of Amazon reviews for each game</a:t>
            </a:r>
            <a:endParaRPr/>
          </a:p>
        </p:txBody>
      </p:sp>
    </p:spTree>
  </p:cSld>
  <p:clrMapOvr>
    <a:masterClrMapping/>
  </p:clrMapOvr>
</p:sld>
</file>

<file path=ppt/slides/slide1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299" name="Shape 299"/>
        <p:cNvGrpSpPr/>
        <p:nvPr/>
      </p:nvGrpSpPr>
      <p:grpSpPr>
        <a:xfrm>
          <a:off x="0" y="0"/>
          <a:ext cx="0" cy="0"/>
          <a:chOff x="0" y="0"/>
          <a:chExt cx="0" cy="0"/>
        </a:xfrm>
      </p:grpSpPr>
      <p:sp>
        <p:nvSpPr>
          <p:cNvPr id="300" name="Google Shape;300;g7023ddf169_0_222"/>
          <p:cNvSpPr txBox="1"/>
          <p:nvPr>
            <p:ph type="title"/>
          </p:nvPr>
        </p:nvSpPr>
        <p:spPr>
          <a:xfrm>
            <a:off x="838200" y="365125"/>
            <a:ext cx="10515600" cy="480000"/>
          </a:xfrm>
          <a:prstGeom prst="rect">
            <a:avLst/>
          </a:prstGeom>
          <a:noFill/>
          <a:ln>
            <a:noFill/>
          </a:ln>
        </p:spPr>
        <p:txBody>
          <a:bodyPr anchorCtr="0" anchor="t" bIns="45700" lIns="0" spcFirstLastPara="1" rIns="0" wrap="square" tIns="45700">
            <a:noAutofit/>
          </a:bodyPr>
          <a:lstStyle/>
          <a:p>
            <a:pPr indent="0" lvl="0" marL="0" rtl="0" algn="l">
              <a:lnSpc>
                <a:spcPct val="90000"/>
              </a:lnSpc>
              <a:spcBef>
                <a:spcPts val="0"/>
              </a:spcBef>
              <a:spcAft>
                <a:spcPts val="0"/>
              </a:spcAft>
              <a:buClr>
                <a:srgbClr val="C5093B"/>
              </a:buClr>
              <a:buSzPts val="2800"/>
              <a:buFont typeface="Arial"/>
              <a:buNone/>
            </a:pPr>
            <a:r>
              <a:rPr lang="en-US"/>
              <a:t>Users’ opinions of EA Games</a:t>
            </a:r>
            <a:endParaRPr/>
          </a:p>
        </p:txBody>
      </p:sp>
      <p:sp>
        <p:nvSpPr>
          <p:cNvPr id="301" name="Google Shape;301;g7023ddf169_0_222"/>
          <p:cNvSpPr txBox="1"/>
          <p:nvPr/>
        </p:nvSpPr>
        <p:spPr>
          <a:xfrm>
            <a:off x="838198" y="987207"/>
            <a:ext cx="10676100" cy="695700"/>
          </a:xfrm>
          <a:prstGeom prst="rect">
            <a:avLst/>
          </a:prstGeom>
          <a:noFill/>
          <a:ln>
            <a:noFill/>
          </a:ln>
        </p:spPr>
        <p:txBody>
          <a:bodyPr anchorCtr="0" anchor="t" bIns="0" lIns="0" spcFirstLastPara="1" rIns="0" wrap="square" tIns="0">
            <a:noAutofit/>
          </a:bodyPr>
          <a:lstStyle/>
          <a:p>
            <a:pPr indent="0" lvl="0" marL="0" marR="0" rtl="0" algn="l">
              <a:lnSpc>
                <a:spcPct val="90000"/>
              </a:lnSpc>
              <a:spcBef>
                <a:spcPts val="0"/>
              </a:spcBef>
              <a:spcAft>
                <a:spcPts val="0"/>
              </a:spcAft>
              <a:buClr>
                <a:schemeClr val="dk2"/>
              </a:buClr>
              <a:buSzPts val="1600"/>
              <a:buFont typeface="Arial"/>
              <a:buNone/>
            </a:pPr>
            <a:r>
              <a:rPr lang="en-US" sz="1600">
                <a:solidFill>
                  <a:schemeClr val="dk2"/>
                </a:solidFill>
              </a:rPr>
              <a:t>Many praise the content and graphic quality. Franchise games play a great role in success of EA</a:t>
            </a:r>
            <a:endParaRPr/>
          </a:p>
        </p:txBody>
      </p:sp>
      <p:sp>
        <p:nvSpPr>
          <p:cNvPr id="302" name="Google Shape;302;g7023ddf169_0_222"/>
          <p:cNvSpPr txBox="1"/>
          <p:nvPr/>
        </p:nvSpPr>
        <p:spPr>
          <a:xfrm>
            <a:off x="838200" y="1492400"/>
            <a:ext cx="10515600" cy="3000000"/>
          </a:xfrm>
          <a:prstGeom prst="rect">
            <a:avLst/>
          </a:prstGeom>
          <a:noFill/>
          <a:ln>
            <a:noFill/>
          </a:ln>
        </p:spPr>
        <p:txBody>
          <a:bodyPr anchorCtr="0" anchor="t" bIns="91425" lIns="91425" spcFirstLastPara="1" rIns="91425" wrap="square" tIns="91425">
            <a:noAutofit/>
          </a:bodyPr>
          <a:lstStyle/>
          <a:p>
            <a:pPr indent="-317500" lvl="0" marL="457200" rtl="0" algn="l">
              <a:spcBef>
                <a:spcPts val="0"/>
              </a:spcBef>
              <a:spcAft>
                <a:spcPts val="0"/>
              </a:spcAft>
              <a:buSzPts val="1400"/>
              <a:buChar char="●"/>
            </a:pPr>
            <a:r>
              <a:rPr lang="en-US"/>
              <a:t>Preprocessing with tokenization, lemmatization, and stopwords removal</a:t>
            </a:r>
            <a:endParaRPr/>
          </a:p>
        </p:txBody>
      </p:sp>
      <p:pic>
        <p:nvPicPr>
          <p:cNvPr id="303" name="Google Shape;303;g7023ddf169_0_222"/>
          <p:cNvPicPr preferRelativeResize="0"/>
          <p:nvPr/>
        </p:nvPicPr>
        <p:blipFill>
          <a:blip r:embed="rId3">
            <a:alphaModFix/>
          </a:blip>
          <a:stretch>
            <a:fillRect/>
          </a:stretch>
        </p:blipFill>
        <p:spPr>
          <a:xfrm>
            <a:off x="2539400" y="2123550"/>
            <a:ext cx="7113200" cy="3556600"/>
          </a:xfrm>
          <a:prstGeom prst="rect">
            <a:avLst/>
          </a:prstGeom>
          <a:noFill/>
          <a:ln>
            <a:noFill/>
          </a:ln>
        </p:spPr>
      </p:pic>
    </p:spTree>
  </p:cSld>
  <p:clrMapOvr>
    <a:masterClrMapping/>
  </p:clrMapOvr>
</p:sld>
</file>

<file path=ppt/slides/slide1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308" name="Shape 308"/>
        <p:cNvGrpSpPr/>
        <p:nvPr/>
      </p:nvGrpSpPr>
      <p:grpSpPr>
        <a:xfrm>
          <a:off x="0" y="0"/>
          <a:ext cx="0" cy="0"/>
          <a:chOff x="0" y="0"/>
          <a:chExt cx="0" cy="0"/>
        </a:xfrm>
      </p:grpSpPr>
      <p:sp>
        <p:nvSpPr>
          <p:cNvPr id="309" name="Google Shape;309;g7023ddf169_0_230"/>
          <p:cNvSpPr txBox="1"/>
          <p:nvPr>
            <p:ph type="title"/>
          </p:nvPr>
        </p:nvSpPr>
        <p:spPr>
          <a:xfrm>
            <a:off x="838200" y="365125"/>
            <a:ext cx="10515600" cy="480000"/>
          </a:xfrm>
          <a:prstGeom prst="rect">
            <a:avLst/>
          </a:prstGeom>
          <a:noFill/>
          <a:ln>
            <a:noFill/>
          </a:ln>
        </p:spPr>
        <p:txBody>
          <a:bodyPr anchorCtr="0" anchor="t" bIns="45700" lIns="0" spcFirstLastPara="1" rIns="0" wrap="square" tIns="45700">
            <a:noAutofit/>
          </a:bodyPr>
          <a:lstStyle/>
          <a:p>
            <a:pPr indent="0" lvl="0" marL="0" rtl="0" algn="l">
              <a:lnSpc>
                <a:spcPct val="90000"/>
              </a:lnSpc>
              <a:spcBef>
                <a:spcPts val="0"/>
              </a:spcBef>
              <a:spcAft>
                <a:spcPts val="0"/>
              </a:spcAft>
              <a:buClr>
                <a:srgbClr val="C5093B"/>
              </a:buClr>
              <a:buSzPts val="2800"/>
              <a:buFont typeface="Arial"/>
              <a:buNone/>
            </a:pPr>
            <a:r>
              <a:rPr lang="en-US"/>
              <a:t>Positive and Negative Reviews</a:t>
            </a:r>
            <a:endParaRPr/>
          </a:p>
        </p:txBody>
      </p:sp>
      <p:sp>
        <p:nvSpPr>
          <p:cNvPr id="310" name="Google Shape;310;g7023ddf169_0_230"/>
          <p:cNvSpPr txBox="1"/>
          <p:nvPr/>
        </p:nvSpPr>
        <p:spPr>
          <a:xfrm>
            <a:off x="838198" y="987207"/>
            <a:ext cx="10676100" cy="695700"/>
          </a:xfrm>
          <a:prstGeom prst="rect">
            <a:avLst/>
          </a:prstGeom>
          <a:noFill/>
          <a:ln>
            <a:noFill/>
          </a:ln>
        </p:spPr>
        <p:txBody>
          <a:bodyPr anchorCtr="0" anchor="t" bIns="0" lIns="0" spcFirstLastPara="1" rIns="0" wrap="square" tIns="0">
            <a:noAutofit/>
          </a:bodyPr>
          <a:lstStyle/>
          <a:p>
            <a:pPr indent="0" lvl="0" marL="0" marR="0" rtl="0" algn="l">
              <a:lnSpc>
                <a:spcPct val="90000"/>
              </a:lnSpc>
              <a:spcBef>
                <a:spcPts val="0"/>
              </a:spcBef>
              <a:spcAft>
                <a:spcPts val="0"/>
              </a:spcAft>
              <a:buClr>
                <a:schemeClr val="dk2"/>
              </a:buClr>
              <a:buSzPts val="1600"/>
              <a:buFont typeface="Arial"/>
              <a:buNone/>
            </a:pPr>
            <a:r>
              <a:rPr lang="en-US" sz="1600">
                <a:solidFill>
                  <a:schemeClr val="dk2"/>
                </a:solidFill>
              </a:rPr>
              <a:t>We split the reviews into positive and negative based on ratings - if below 4, it’s negative. Else, it’s positive</a:t>
            </a:r>
            <a:endParaRPr/>
          </a:p>
        </p:txBody>
      </p:sp>
      <p:sp>
        <p:nvSpPr>
          <p:cNvPr id="311" name="Google Shape;311;g7023ddf169_0_230"/>
          <p:cNvSpPr txBox="1"/>
          <p:nvPr/>
        </p:nvSpPr>
        <p:spPr>
          <a:xfrm>
            <a:off x="838200" y="1492400"/>
            <a:ext cx="10515600" cy="3000000"/>
          </a:xfrm>
          <a:prstGeom prst="rect">
            <a:avLst/>
          </a:prstGeom>
          <a:noFill/>
          <a:ln>
            <a:noFill/>
          </a:ln>
        </p:spPr>
        <p:txBody>
          <a:bodyPr anchorCtr="0" anchor="t" bIns="91425" lIns="91425" spcFirstLastPara="1" rIns="91425" wrap="square" tIns="91425">
            <a:noAutofit/>
          </a:bodyPr>
          <a:lstStyle/>
          <a:p>
            <a:pPr indent="-317500" lvl="0" marL="457200" rtl="0" algn="l">
              <a:spcBef>
                <a:spcPts val="0"/>
              </a:spcBef>
              <a:spcAft>
                <a:spcPts val="0"/>
              </a:spcAft>
              <a:buSzPts val="1400"/>
              <a:buChar char="●"/>
            </a:pPr>
            <a:r>
              <a:rPr b="1" lang="en-US"/>
              <a:t>Key words in positive reviews:</a:t>
            </a:r>
            <a:endParaRPr b="1"/>
          </a:p>
          <a:p>
            <a:pPr indent="-317500" lvl="1" marL="914400" rtl="0" algn="l">
              <a:spcBef>
                <a:spcPts val="0"/>
              </a:spcBef>
              <a:spcAft>
                <a:spcPts val="0"/>
              </a:spcAft>
              <a:buSzPts val="1400"/>
              <a:buChar char="○"/>
            </a:pPr>
            <a:r>
              <a:rPr lang="en-US"/>
              <a:t>'experience', 'awesome', 'game', 'fifa20', 'finance', 'fill', 'file', 'fight', 'thank', 'better'</a:t>
            </a:r>
            <a:endParaRPr/>
          </a:p>
          <a:p>
            <a:pPr indent="-317500" lvl="0" marL="457200" rtl="0" algn="l">
              <a:spcBef>
                <a:spcPts val="0"/>
              </a:spcBef>
              <a:spcAft>
                <a:spcPts val="0"/>
              </a:spcAft>
              <a:buSzPts val="1400"/>
              <a:buChar char="●"/>
            </a:pPr>
            <a:r>
              <a:rPr b="1" lang="en-US"/>
              <a:t>Key words in negative reviews:</a:t>
            </a:r>
            <a:endParaRPr b="1"/>
          </a:p>
          <a:p>
            <a:pPr indent="-317500" lvl="1" marL="914400" rtl="0" algn="l">
              <a:spcBef>
                <a:spcPts val="0"/>
              </a:spcBef>
              <a:spcAft>
                <a:spcPts val="0"/>
              </a:spcAft>
              <a:buSzPts val="1400"/>
              <a:buChar char="○"/>
            </a:pPr>
            <a:r>
              <a:rPr lang="en-US"/>
              <a:t>'first', 'order', 'experience', 'bad', 'youtube', 'feel', 'fast2','fault', 'faulty', 'favor'</a:t>
            </a:r>
            <a:endParaRPr/>
          </a:p>
          <a:p>
            <a:pPr indent="0" lvl="0" marL="0" rtl="0" algn="l">
              <a:spcBef>
                <a:spcPts val="0"/>
              </a:spcBef>
              <a:spcAft>
                <a:spcPts val="0"/>
              </a:spcAft>
              <a:buNone/>
            </a:pPr>
            <a:r>
              <a:t/>
            </a:r>
            <a:endParaRPr/>
          </a:p>
        </p:txBody>
      </p:sp>
      <p:pic>
        <p:nvPicPr>
          <p:cNvPr id="312" name="Google Shape;312;g7023ddf169_0_230"/>
          <p:cNvPicPr preferRelativeResize="0"/>
          <p:nvPr/>
        </p:nvPicPr>
        <p:blipFill>
          <a:blip r:embed="rId3">
            <a:alphaModFix/>
          </a:blip>
          <a:stretch>
            <a:fillRect/>
          </a:stretch>
        </p:blipFill>
        <p:spPr>
          <a:xfrm>
            <a:off x="3247313" y="2738650"/>
            <a:ext cx="5857875" cy="3219450"/>
          </a:xfrm>
          <a:prstGeom prst="rect">
            <a:avLst/>
          </a:prstGeom>
          <a:noFill/>
          <a:ln>
            <a:noFill/>
          </a:ln>
        </p:spPr>
      </p:pic>
    </p:spTree>
  </p:cSld>
  <p:clrMapOvr>
    <a:masterClrMapping/>
  </p:clrMapOvr>
</p:sld>
</file>

<file path=ppt/slides/slide1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317" name="Shape 317"/>
        <p:cNvGrpSpPr/>
        <p:nvPr/>
      </p:nvGrpSpPr>
      <p:grpSpPr>
        <a:xfrm>
          <a:off x="0" y="0"/>
          <a:ext cx="0" cy="0"/>
          <a:chOff x="0" y="0"/>
          <a:chExt cx="0" cy="0"/>
        </a:xfrm>
      </p:grpSpPr>
      <p:sp>
        <p:nvSpPr>
          <p:cNvPr id="318" name="Google Shape;318;g7023ddf169_0_239"/>
          <p:cNvSpPr txBox="1"/>
          <p:nvPr>
            <p:ph type="title"/>
          </p:nvPr>
        </p:nvSpPr>
        <p:spPr>
          <a:xfrm>
            <a:off x="838200" y="365125"/>
            <a:ext cx="10515600" cy="480000"/>
          </a:xfrm>
          <a:prstGeom prst="rect">
            <a:avLst/>
          </a:prstGeom>
          <a:noFill/>
          <a:ln>
            <a:noFill/>
          </a:ln>
        </p:spPr>
        <p:txBody>
          <a:bodyPr anchorCtr="0" anchor="t" bIns="45700" lIns="0" spcFirstLastPara="1" rIns="0" wrap="square" tIns="45700">
            <a:noAutofit/>
          </a:bodyPr>
          <a:lstStyle/>
          <a:p>
            <a:pPr indent="0" lvl="0" marL="0" rtl="0" algn="l">
              <a:lnSpc>
                <a:spcPct val="90000"/>
              </a:lnSpc>
              <a:spcBef>
                <a:spcPts val="0"/>
              </a:spcBef>
              <a:spcAft>
                <a:spcPts val="0"/>
              </a:spcAft>
              <a:buClr>
                <a:srgbClr val="C5093B"/>
              </a:buClr>
              <a:buSzPts val="2800"/>
              <a:buFont typeface="Arial"/>
              <a:buNone/>
            </a:pPr>
            <a:r>
              <a:rPr lang="en-US"/>
              <a:t>Clustering analysis</a:t>
            </a:r>
            <a:endParaRPr/>
          </a:p>
        </p:txBody>
      </p:sp>
      <p:sp>
        <p:nvSpPr>
          <p:cNvPr id="319" name="Google Shape;319;g7023ddf169_0_239"/>
          <p:cNvSpPr txBox="1"/>
          <p:nvPr/>
        </p:nvSpPr>
        <p:spPr>
          <a:xfrm>
            <a:off x="838198" y="987207"/>
            <a:ext cx="10676100" cy="695700"/>
          </a:xfrm>
          <a:prstGeom prst="rect">
            <a:avLst/>
          </a:prstGeom>
          <a:noFill/>
          <a:ln>
            <a:noFill/>
          </a:ln>
        </p:spPr>
        <p:txBody>
          <a:bodyPr anchorCtr="0" anchor="t" bIns="0" lIns="0" spcFirstLastPara="1" rIns="0" wrap="square" tIns="0">
            <a:noAutofit/>
          </a:bodyPr>
          <a:lstStyle/>
          <a:p>
            <a:pPr indent="0" lvl="0" marL="0" marR="0" rtl="0" algn="l">
              <a:lnSpc>
                <a:spcPct val="90000"/>
              </a:lnSpc>
              <a:spcBef>
                <a:spcPts val="0"/>
              </a:spcBef>
              <a:spcAft>
                <a:spcPts val="0"/>
              </a:spcAft>
              <a:buClr>
                <a:schemeClr val="dk2"/>
              </a:buClr>
              <a:buSzPts val="1600"/>
              <a:buFont typeface="Arial"/>
              <a:buNone/>
            </a:pPr>
            <a:r>
              <a:rPr lang="en-US" sz="1600">
                <a:solidFill>
                  <a:schemeClr val="dk2"/>
                </a:solidFill>
              </a:rPr>
              <a:t>Performing minibatch K-means and obtain 10 categories in the reviews. Must look specifically into the comments to obtain further underlying analysis</a:t>
            </a:r>
            <a:endParaRPr/>
          </a:p>
        </p:txBody>
      </p:sp>
      <p:pic>
        <p:nvPicPr>
          <p:cNvPr id="320" name="Google Shape;320;g7023ddf169_0_239"/>
          <p:cNvPicPr preferRelativeResize="0"/>
          <p:nvPr/>
        </p:nvPicPr>
        <p:blipFill>
          <a:blip r:embed="rId3">
            <a:alphaModFix/>
          </a:blip>
          <a:stretch>
            <a:fillRect/>
          </a:stretch>
        </p:blipFill>
        <p:spPr>
          <a:xfrm>
            <a:off x="1387050" y="1824977"/>
            <a:ext cx="9417900" cy="3833502"/>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94" name="Shape 94"/>
        <p:cNvGrpSpPr/>
        <p:nvPr/>
      </p:nvGrpSpPr>
      <p:grpSpPr>
        <a:xfrm>
          <a:off x="0" y="0"/>
          <a:ext cx="0" cy="0"/>
          <a:chOff x="0" y="0"/>
          <a:chExt cx="0" cy="0"/>
        </a:xfrm>
      </p:grpSpPr>
      <p:sp>
        <p:nvSpPr>
          <p:cNvPr id="95" name="Google Shape;95;p3"/>
          <p:cNvSpPr txBox="1"/>
          <p:nvPr/>
        </p:nvSpPr>
        <p:spPr>
          <a:xfrm>
            <a:off x="1655650" y="1439577"/>
            <a:ext cx="8880701" cy="3754874"/>
          </a:xfrm>
          <a:prstGeom prst="rect">
            <a:avLst/>
          </a:prstGeom>
          <a:noFill/>
          <a:ln>
            <a:noFill/>
          </a:ln>
        </p:spPr>
        <p:txBody>
          <a:bodyPr anchorCtr="0" anchor="t" bIns="0" lIns="0" spcFirstLastPara="1" rIns="0" wrap="square" tIns="0">
            <a:spAutoFit/>
          </a:bodyPr>
          <a:lstStyle/>
          <a:p>
            <a:pPr indent="0" lvl="0" marL="0" marR="0" rtl="0" algn="ctr">
              <a:lnSpc>
                <a:spcPct val="100000"/>
              </a:lnSpc>
              <a:spcBef>
                <a:spcPts val="0"/>
              </a:spcBef>
              <a:spcAft>
                <a:spcPts val="0"/>
              </a:spcAft>
              <a:buClr>
                <a:schemeClr val="accent1"/>
              </a:buClr>
              <a:buSzPts val="4000"/>
              <a:buFont typeface="Noto Sans Symbols"/>
              <a:buNone/>
            </a:pPr>
            <a:r>
              <a:rPr b="0" i="0" lang="en-US" sz="3600" u="none" cap="none" strike="noStrike">
                <a:solidFill>
                  <a:schemeClr val="lt1"/>
                </a:solidFill>
                <a:latin typeface="Arial"/>
                <a:ea typeface="Arial"/>
                <a:cs typeface="Arial"/>
                <a:sym typeface="Arial"/>
              </a:rPr>
              <a:t>Our Mission:</a:t>
            </a:r>
            <a:endParaRPr sz="3600"/>
          </a:p>
          <a:p>
            <a:pPr indent="0" lvl="0" marL="0" marR="0" rtl="0" algn="ctr">
              <a:spcBef>
                <a:spcPts val="480"/>
              </a:spcBef>
              <a:spcAft>
                <a:spcPts val="0"/>
              </a:spcAft>
              <a:buNone/>
            </a:pPr>
            <a:r>
              <a:rPr b="0" i="0" lang="en-US" sz="1800" u="none" cap="none" strike="noStrike">
                <a:solidFill>
                  <a:schemeClr val="lt1"/>
                </a:solidFill>
                <a:latin typeface="Arial"/>
                <a:ea typeface="Arial"/>
                <a:cs typeface="Arial"/>
                <a:sym typeface="Arial"/>
              </a:rPr>
              <a:t>Enable E</a:t>
            </a:r>
            <a:r>
              <a:rPr lang="en-US" sz="1800">
                <a:solidFill>
                  <a:schemeClr val="lt1"/>
                </a:solidFill>
              </a:rPr>
              <a:t>A</a:t>
            </a:r>
            <a:r>
              <a:rPr b="0" i="0" lang="en-US" sz="1800" u="none" cap="none" strike="noStrike">
                <a:solidFill>
                  <a:schemeClr val="lt1"/>
                </a:solidFill>
                <a:latin typeface="Arial"/>
                <a:ea typeface="Arial"/>
                <a:cs typeface="Arial"/>
                <a:sym typeface="Arial"/>
              </a:rPr>
              <a:t> to understand user behaviors and opinions to make more informed product and marketing decisions</a:t>
            </a:r>
            <a:endParaRPr sz="1800"/>
          </a:p>
          <a:p>
            <a:pPr indent="0" lvl="0" marL="0" marR="0" rtl="0" algn="ctr">
              <a:spcBef>
                <a:spcPts val="480"/>
              </a:spcBef>
              <a:spcAft>
                <a:spcPts val="0"/>
              </a:spcAft>
              <a:buNone/>
            </a:pPr>
            <a:r>
              <a:rPr b="0" i="0" lang="en-US" sz="1800" u="none" cap="none" strike="noStrike">
                <a:solidFill>
                  <a:schemeClr val="lt1"/>
                </a:solidFill>
                <a:latin typeface="Arial"/>
                <a:ea typeface="Arial"/>
                <a:cs typeface="Arial"/>
                <a:sym typeface="Arial"/>
              </a:rPr>
              <a:t> </a:t>
            </a:r>
            <a:endParaRPr sz="1800"/>
          </a:p>
          <a:p>
            <a:pPr indent="0" lvl="0" marL="0" marR="0" rtl="0" algn="ctr">
              <a:spcBef>
                <a:spcPts val="800"/>
              </a:spcBef>
              <a:spcAft>
                <a:spcPts val="0"/>
              </a:spcAft>
              <a:buNone/>
            </a:pPr>
            <a:r>
              <a:rPr lang="en-US" sz="3600">
                <a:solidFill>
                  <a:schemeClr val="lt1"/>
                </a:solidFill>
              </a:rPr>
              <a:t>Data Obtained:</a:t>
            </a:r>
            <a:endParaRPr/>
          </a:p>
        </p:txBody>
      </p:sp>
      <p:sp>
        <p:nvSpPr>
          <p:cNvPr id="96" name="Google Shape;96;p3"/>
          <p:cNvSpPr/>
          <p:nvPr/>
        </p:nvSpPr>
        <p:spPr>
          <a:xfrm>
            <a:off x="5753100" y="581645"/>
            <a:ext cx="685800" cy="685800"/>
          </a:xfrm>
          <a:custGeom>
            <a:rect b="b" l="l" r="r" t="t"/>
            <a:pathLst>
              <a:path extrusionOk="0" h="685800" w="685800">
                <a:moveTo>
                  <a:pt x="342900" y="0"/>
                </a:moveTo>
                <a:lnTo>
                  <a:pt x="296369" y="3130"/>
                </a:lnTo>
                <a:lnTo>
                  <a:pt x="251742" y="12250"/>
                </a:lnTo>
                <a:lnTo>
                  <a:pt x="209426" y="26949"/>
                </a:lnTo>
                <a:lnTo>
                  <a:pt x="169830" y="46820"/>
                </a:lnTo>
                <a:lnTo>
                  <a:pt x="133362" y="71454"/>
                </a:lnTo>
                <a:lnTo>
                  <a:pt x="100431" y="100441"/>
                </a:lnTo>
                <a:lnTo>
                  <a:pt x="71446" y="133373"/>
                </a:lnTo>
                <a:lnTo>
                  <a:pt x="46815" y="169841"/>
                </a:lnTo>
                <a:lnTo>
                  <a:pt x="26946" y="209436"/>
                </a:lnTo>
                <a:lnTo>
                  <a:pt x="12248" y="251751"/>
                </a:lnTo>
                <a:lnTo>
                  <a:pt x="3130" y="296375"/>
                </a:lnTo>
                <a:lnTo>
                  <a:pt x="0" y="342900"/>
                </a:lnTo>
                <a:lnTo>
                  <a:pt x="3130" y="389424"/>
                </a:lnTo>
                <a:lnTo>
                  <a:pt x="12248" y="434048"/>
                </a:lnTo>
                <a:lnTo>
                  <a:pt x="26946" y="476363"/>
                </a:lnTo>
                <a:lnTo>
                  <a:pt x="46815" y="515958"/>
                </a:lnTo>
                <a:lnTo>
                  <a:pt x="71446" y="552426"/>
                </a:lnTo>
                <a:lnTo>
                  <a:pt x="100431" y="585358"/>
                </a:lnTo>
                <a:lnTo>
                  <a:pt x="133362" y="614345"/>
                </a:lnTo>
                <a:lnTo>
                  <a:pt x="169830" y="638979"/>
                </a:lnTo>
                <a:lnTo>
                  <a:pt x="209426" y="658850"/>
                </a:lnTo>
                <a:lnTo>
                  <a:pt x="251742" y="673549"/>
                </a:lnTo>
                <a:lnTo>
                  <a:pt x="296369" y="682669"/>
                </a:lnTo>
                <a:lnTo>
                  <a:pt x="342900" y="685800"/>
                </a:lnTo>
                <a:lnTo>
                  <a:pt x="389430" y="682669"/>
                </a:lnTo>
                <a:lnTo>
                  <a:pt x="434057" y="673549"/>
                </a:lnTo>
                <a:lnTo>
                  <a:pt x="476373" y="658850"/>
                </a:lnTo>
                <a:lnTo>
                  <a:pt x="515969" y="638979"/>
                </a:lnTo>
                <a:lnTo>
                  <a:pt x="552437" y="614345"/>
                </a:lnTo>
                <a:lnTo>
                  <a:pt x="585368" y="585358"/>
                </a:lnTo>
                <a:lnTo>
                  <a:pt x="614353" y="552426"/>
                </a:lnTo>
                <a:lnTo>
                  <a:pt x="638984" y="515958"/>
                </a:lnTo>
                <a:lnTo>
                  <a:pt x="658853" y="476363"/>
                </a:lnTo>
                <a:lnTo>
                  <a:pt x="673551" y="434048"/>
                </a:lnTo>
                <a:lnTo>
                  <a:pt x="682669" y="389424"/>
                </a:lnTo>
                <a:lnTo>
                  <a:pt x="685800" y="342900"/>
                </a:lnTo>
                <a:lnTo>
                  <a:pt x="682669" y="296375"/>
                </a:lnTo>
                <a:lnTo>
                  <a:pt x="673551" y="251751"/>
                </a:lnTo>
                <a:lnTo>
                  <a:pt x="658853" y="209436"/>
                </a:lnTo>
                <a:lnTo>
                  <a:pt x="638984" y="169841"/>
                </a:lnTo>
                <a:lnTo>
                  <a:pt x="614353" y="133373"/>
                </a:lnTo>
                <a:lnTo>
                  <a:pt x="585368" y="100441"/>
                </a:lnTo>
                <a:lnTo>
                  <a:pt x="552437" y="71454"/>
                </a:lnTo>
                <a:lnTo>
                  <a:pt x="515969" y="46820"/>
                </a:lnTo>
                <a:lnTo>
                  <a:pt x="476373" y="26949"/>
                </a:lnTo>
                <a:lnTo>
                  <a:pt x="434057" y="12250"/>
                </a:lnTo>
                <a:lnTo>
                  <a:pt x="389430" y="3130"/>
                </a:lnTo>
                <a:lnTo>
                  <a:pt x="342900" y="0"/>
                </a:lnTo>
                <a:close/>
              </a:path>
            </a:pathLst>
          </a:custGeom>
          <a:solidFill>
            <a:srgbClr val="FFFFFF"/>
          </a:solidFill>
          <a:ln>
            <a:noFill/>
          </a:ln>
        </p:spPr>
        <p:txBody>
          <a:bodyPr anchorCtr="0" anchor="t" bIns="0" lIns="0" spcFirstLastPara="1" rIns="0" wrap="square" tIns="0">
            <a:noAutofit/>
          </a:bodyPr>
          <a:lstStyle/>
          <a:p>
            <a:pPr indent="0" lvl="0" marL="0" marR="0" rtl="0" algn="l">
              <a:spcBef>
                <a:spcPts val="0"/>
              </a:spcBef>
              <a:spcAft>
                <a:spcPts val="0"/>
              </a:spcAft>
              <a:buNone/>
            </a:pPr>
            <a:r>
              <a:t/>
            </a:r>
            <a:endParaRPr sz="1800">
              <a:solidFill>
                <a:schemeClr val="dk1"/>
              </a:solidFill>
              <a:latin typeface="Arial"/>
              <a:ea typeface="Arial"/>
              <a:cs typeface="Arial"/>
              <a:sym typeface="Arial"/>
            </a:endParaRPr>
          </a:p>
        </p:txBody>
      </p:sp>
      <p:sp>
        <p:nvSpPr>
          <p:cNvPr id="97" name="Google Shape;97;p3"/>
          <p:cNvSpPr/>
          <p:nvPr/>
        </p:nvSpPr>
        <p:spPr>
          <a:xfrm>
            <a:off x="5897880" y="801843"/>
            <a:ext cx="396240" cy="245745"/>
          </a:xfrm>
          <a:custGeom>
            <a:rect b="b" l="l" r="r" t="t"/>
            <a:pathLst>
              <a:path extrusionOk="0" h="245744" w="396239">
                <a:moveTo>
                  <a:pt x="300728" y="188768"/>
                </a:moveTo>
                <a:lnTo>
                  <a:pt x="103238" y="188768"/>
                </a:lnTo>
                <a:lnTo>
                  <a:pt x="188633" y="245194"/>
                </a:lnTo>
                <a:lnTo>
                  <a:pt x="216585" y="226829"/>
                </a:lnTo>
                <a:lnTo>
                  <a:pt x="257062" y="226829"/>
                </a:lnTo>
                <a:lnTo>
                  <a:pt x="263652" y="217190"/>
                </a:lnTo>
                <a:lnTo>
                  <a:pt x="293067" y="217190"/>
                </a:lnTo>
                <a:lnTo>
                  <a:pt x="310769" y="198013"/>
                </a:lnTo>
                <a:lnTo>
                  <a:pt x="300728" y="188768"/>
                </a:lnTo>
                <a:close/>
              </a:path>
              <a:path extrusionOk="0" h="245744" w="396239">
                <a:moveTo>
                  <a:pt x="257062" y="226829"/>
                </a:moveTo>
                <a:lnTo>
                  <a:pt x="216585" y="226829"/>
                </a:lnTo>
                <a:lnTo>
                  <a:pt x="244881" y="244648"/>
                </a:lnTo>
                <a:lnTo>
                  <a:pt x="257062" y="226829"/>
                </a:lnTo>
                <a:close/>
              </a:path>
              <a:path extrusionOk="0" h="245744" w="396239">
                <a:moveTo>
                  <a:pt x="293067" y="217190"/>
                </a:moveTo>
                <a:lnTo>
                  <a:pt x="263652" y="217190"/>
                </a:lnTo>
                <a:lnTo>
                  <a:pt x="292785" y="217495"/>
                </a:lnTo>
                <a:lnTo>
                  <a:pt x="293067" y="217190"/>
                </a:lnTo>
                <a:close/>
              </a:path>
              <a:path extrusionOk="0" h="245744" w="396239">
                <a:moveTo>
                  <a:pt x="329406" y="66238"/>
                </a:moveTo>
                <a:lnTo>
                  <a:pt x="207060" y="66238"/>
                </a:lnTo>
                <a:lnTo>
                  <a:pt x="329552" y="188768"/>
                </a:lnTo>
                <a:lnTo>
                  <a:pt x="381939" y="188768"/>
                </a:lnTo>
                <a:lnTo>
                  <a:pt x="395719" y="188945"/>
                </a:lnTo>
                <a:lnTo>
                  <a:pt x="395719" y="66962"/>
                </a:lnTo>
                <a:lnTo>
                  <a:pt x="381406" y="66441"/>
                </a:lnTo>
                <a:lnTo>
                  <a:pt x="329844" y="66441"/>
                </a:lnTo>
                <a:lnTo>
                  <a:pt x="329406" y="66238"/>
                </a:lnTo>
                <a:close/>
              </a:path>
              <a:path extrusionOk="0" h="245744" w="396239">
                <a:moveTo>
                  <a:pt x="155311" y="0"/>
                </a:moveTo>
                <a:lnTo>
                  <a:pt x="151176" y="70"/>
                </a:lnTo>
                <a:lnTo>
                  <a:pt x="150558" y="325"/>
                </a:lnTo>
                <a:lnTo>
                  <a:pt x="83871" y="41169"/>
                </a:lnTo>
                <a:lnTo>
                  <a:pt x="73126" y="47531"/>
                </a:lnTo>
                <a:lnTo>
                  <a:pt x="14655" y="47531"/>
                </a:lnTo>
                <a:lnTo>
                  <a:pt x="0" y="47925"/>
                </a:lnTo>
                <a:lnTo>
                  <a:pt x="0" y="188780"/>
                </a:lnTo>
                <a:lnTo>
                  <a:pt x="300728" y="188768"/>
                </a:lnTo>
                <a:lnTo>
                  <a:pt x="208598" y="103932"/>
                </a:lnTo>
                <a:lnTo>
                  <a:pt x="132067" y="103932"/>
                </a:lnTo>
                <a:lnTo>
                  <a:pt x="112725" y="84501"/>
                </a:lnTo>
                <a:lnTo>
                  <a:pt x="113055" y="57335"/>
                </a:lnTo>
                <a:lnTo>
                  <a:pt x="198132" y="9736"/>
                </a:lnTo>
                <a:lnTo>
                  <a:pt x="188277" y="465"/>
                </a:lnTo>
                <a:lnTo>
                  <a:pt x="155311" y="0"/>
                </a:lnTo>
                <a:close/>
              </a:path>
              <a:path extrusionOk="0" h="245744" w="396239">
                <a:moveTo>
                  <a:pt x="197840" y="94026"/>
                </a:moveTo>
                <a:lnTo>
                  <a:pt x="159956" y="103779"/>
                </a:lnTo>
                <a:lnTo>
                  <a:pt x="132067" y="103932"/>
                </a:lnTo>
                <a:lnTo>
                  <a:pt x="208598" y="103932"/>
                </a:lnTo>
                <a:lnTo>
                  <a:pt x="197840" y="94026"/>
                </a:lnTo>
                <a:close/>
              </a:path>
              <a:path extrusionOk="0" h="245744" w="396239">
                <a:moveTo>
                  <a:pt x="225348" y="17991"/>
                </a:moveTo>
                <a:lnTo>
                  <a:pt x="131838" y="66162"/>
                </a:lnTo>
                <a:lnTo>
                  <a:pt x="131787" y="76500"/>
                </a:lnTo>
                <a:lnTo>
                  <a:pt x="141287" y="84907"/>
                </a:lnTo>
                <a:lnTo>
                  <a:pt x="160439" y="84869"/>
                </a:lnTo>
                <a:lnTo>
                  <a:pt x="207060" y="66238"/>
                </a:lnTo>
                <a:lnTo>
                  <a:pt x="329406" y="66238"/>
                </a:lnTo>
                <a:lnTo>
                  <a:pt x="225348" y="17991"/>
                </a:lnTo>
                <a:close/>
              </a:path>
            </a:pathLst>
          </a:custGeom>
          <a:solidFill>
            <a:schemeClr val="accent1"/>
          </a:solidFill>
          <a:ln>
            <a:noFill/>
          </a:ln>
        </p:spPr>
        <p:txBody>
          <a:bodyPr anchorCtr="0" anchor="t" bIns="0" lIns="0" spcFirstLastPara="1" rIns="0" wrap="square" tIns="0">
            <a:noAutofit/>
          </a:bodyPr>
          <a:lstStyle/>
          <a:p>
            <a:pPr indent="0" lvl="0" marL="0" marR="0" rtl="0" algn="l">
              <a:spcBef>
                <a:spcPts val="0"/>
              </a:spcBef>
              <a:spcAft>
                <a:spcPts val="0"/>
              </a:spcAft>
              <a:buNone/>
            </a:pPr>
            <a:r>
              <a:t/>
            </a:r>
            <a:endParaRPr sz="1800">
              <a:solidFill>
                <a:schemeClr val="dk1"/>
              </a:solidFill>
              <a:latin typeface="Arial"/>
              <a:ea typeface="Arial"/>
              <a:cs typeface="Arial"/>
              <a:sym typeface="Arial"/>
            </a:endParaRPr>
          </a:p>
        </p:txBody>
      </p:sp>
      <p:graphicFrame>
        <p:nvGraphicFramePr>
          <p:cNvPr id="98" name="Google Shape;98;p3"/>
          <p:cNvGraphicFramePr/>
          <p:nvPr/>
        </p:nvGraphicFramePr>
        <p:xfrm>
          <a:off x="3368438" y="3675208"/>
          <a:ext cx="3000000" cy="3000000"/>
        </p:xfrm>
        <a:graphic>
          <a:graphicData uri="http://schemas.openxmlformats.org/drawingml/2006/table">
            <a:tbl>
              <a:tblPr bandRow="1" firstRow="1">
                <a:noFill/>
                <a:tableStyleId>{AC5D65F7-AA4B-48DB-8A8D-4A46BA5F0523}</a:tableStyleId>
              </a:tblPr>
              <a:tblGrid>
                <a:gridCol w="2938575"/>
                <a:gridCol w="2516550"/>
              </a:tblGrid>
              <a:tr h="370850">
                <a:tc>
                  <a:txBody>
                    <a:bodyPr/>
                    <a:lstStyle/>
                    <a:p>
                      <a:pPr indent="-342900" lvl="0" marL="457200" marR="0" rtl="0" algn="l">
                        <a:lnSpc>
                          <a:spcPct val="100000"/>
                        </a:lnSpc>
                        <a:spcBef>
                          <a:spcPts val="0"/>
                        </a:spcBef>
                        <a:spcAft>
                          <a:spcPts val="0"/>
                        </a:spcAft>
                        <a:buClr>
                          <a:srgbClr val="FFFFFF"/>
                        </a:buClr>
                        <a:buSzPts val="1800"/>
                        <a:buAutoNum type="arabicPeriod"/>
                      </a:pPr>
                      <a:r>
                        <a:rPr lang="en-US" sz="1800"/>
                        <a:t>Internal Sources:</a:t>
                      </a:r>
                      <a:endParaRPr sz="1800"/>
                    </a:p>
                    <a:p>
                      <a:pPr indent="-342900" lvl="0" marL="457200" marR="0" rtl="0" algn="l">
                        <a:spcBef>
                          <a:spcPts val="0"/>
                        </a:spcBef>
                        <a:spcAft>
                          <a:spcPts val="0"/>
                        </a:spcAft>
                        <a:buClr>
                          <a:srgbClr val="B7B7B7"/>
                        </a:buClr>
                        <a:buSzPts val="1800"/>
                        <a:buAutoNum type="alphaLcPeriod"/>
                      </a:pPr>
                      <a:r>
                        <a:rPr b="0" lang="en-US" sz="1800">
                          <a:solidFill>
                            <a:srgbClr val="B7B7B7"/>
                          </a:solidFill>
                        </a:rPr>
                        <a:t>Entitlements</a:t>
                      </a:r>
                      <a:endParaRPr b="0" sz="1800">
                        <a:solidFill>
                          <a:srgbClr val="B7B7B7"/>
                        </a:solidFill>
                      </a:endParaRPr>
                    </a:p>
                    <a:p>
                      <a:pPr indent="-342900" lvl="0" marL="457200" marR="0" rtl="0" algn="l">
                        <a:spcBef>
                          <a:spcPts val="0"/>
                        </a:spcBef>
                        <a:spcAft>
                          <a:spcPts val="0"/>
                        </a:spcAft>
                        <a:buClr>
                          <a:srgbClr val="B7B7B7"/>
                        </a:buClr>
                        <a:buSzPts val="1800"/>
                        <a:buAutoNum type="alphaLcPeriod"/>
                      </a:pPr>
                      <a:r>
                        <a:rPr b="0" lang="en-US" sz="1800">
                          <a:solidFill>
                            <a:srgbClr val="B7B7B7"/>
                          </a:solidFill>
                        </a:rPr>
                        <a:t>Game Launch</a:t>
                      </a:r>
                      <a:endParaRPr b="0" sz="1800">
                        <a:solidFill>
                          <a:srgbClr val="B7B7B7"/>
                        </a:solidFill>
                      </a:endParaRPr>
                    </a:p>
                    <a:p>
                      <a:pPr indent="-342900" lvl="0" marL="457200" marR="0" rtl="0" algn="l">
                        <a:spcBef>
                          <a:spcPts val="0"/>
                        </a:spcBef>
                        <a:spcAft>
                          <a:spcPts val="0"/>
                        </a:spcAft>
                        <a:buClr>
                          <a:srgbClr val="B7B7B7"/>
                        </a:buClr>
                        <a:buSzPts val="1800"/>
                        <a:buAutoNum type="alphaLcPeriod"/>
                      </a:pPr>
                      <a:r>
                        <a:rPr b="0" lang="en-US" sz="1800">
                          <a:solidFill>
                            <a:srgbClr val="B7B7B7"/>
                          </a:solidFill>
                        </a:rPr>
                        <a:t>Games</a:t>
                      </a:r>
                      <a:endParaRPr b="0" sz="1800">
                        <a:solidFill>
                          <a:srgbClr val="B7B7B7"/>
                        </a:solidFill>
                      </a:endParaRPr>
                    </a:p>
                    <a:p>
                      <a:pPr indent="-342900" lvl="0" marL="457200" marR="0" rtl="0" algn="l">
                        <a:spcBef>
                          <a:spcPts val="0"/>
                        </a:spcBef>
                        <a:spcAft>
                          <a:spcPts val="0"/>
                        </a:spcAft>
                        <a:buClr>
                          <a:srgbClr val="B7B7B7"/>
                        </a:buClr>
                        <a:buSzPts val="1800"/>
                        <a:buAutoNum type="alphaLcPeriod"/>
                      </a:pPr>
                      <a:r>
                        <a:rPr b="0" lang="en-US" sz="1800">
                          <a:solidFill>
                            <a:srgbClr val="B7B7B7"/>
                          </a:solidFill>
                        </a:rPr>
                        <a:t>Sessions</a:t>
                      </a:r>
                      <a:endParaRPr b="0" sz="1800">
                        <a:solidFill>
                          <a:srgbClr val="B7B7B7"/>
                        </a:solidFill>
                      </a:endParaRPr>
                    </a:p>
                    <a:p>
                      <a:pPr indent="-342900" lvl="0" marL="457200" marR="0" rtl="0" algn="l">
                        <a:spcBef>
                          <a:spcPts val="0"/>
                        </a:spcBef>
                        <a:spcAft>
                          <a:spcPts val="0"/>
                        </a:spcAft>
                        <a:buClr>
                          <a:srgbClr val="B7B7B7"/>
                        </a:buClr>
                        <a:buSzPts val="1800"/>
                        <a:buAutoNum type="alphaLcPeriod"/>
                      </a:pPr>
                      <a:r>
                        <a:rPr b="0" lang="en-US" sz="1800">
                          <a:solidFill>
                            <a:srgbClr val="B7B7B7"/>
                          </a:solidFill>
                        </a:rPr>
                        <a:t>Subscription</a:t>
                      </a:r>
                      <a:endParaRPr b="0" sz="1800">
                        <a:solidFill>
                          <a:srgbClr val="B7B7B7"/>
                        </a:solidFill>
                      </a:endParaRPr>
                    </a:p>
                  </a:txBody>
                  <a:tcPr marT="45725" marB="45725" marR="91450" marL="91450">
                    <a:lnL cap="flat" cmpd="sng" w="9525">
                      <a:solidFill>
                        <a:srgbClr val="000000">
                          <a:alpha val="0"/>
                        </a:srgbClr>
                      </a:solidFill>
                      <a:prstDash val="solid"/>
                      <a:round/>
                      <a:headEnd len="sm" w="sm" type="none"/>
                      <a:tailEnd len="sm" w="sm" type="none"/>
                    </a:lnL>
                    <a:lnR cap="flat" cmpd="sng" w="9525">
                      <a:solidFill>
                        <a:srgbClr val="FFFFFF"/>
                      </a:solidFill>
                      <a:prstDash val="solid"/>
                      <a:round/>
                      <a:headEnd len="sm" w="sm" type="none"/>
                      <a:tailEnd len="sm" w="sm" type="none"/>
                    </a:lnR>
                    <a:lnT cap="flat" cmpd="sng" w="9525">
                      <a:solidFill>
                        <a:srgbClr val="000000">
                          <a:alpha val="0"/>
                        </a:srgbClr>
                      </a:solidFill>
                      <a:prstDash val="solid"/>
                      <a:round/>
                      <a:headEnd len="sm" w="sm" type="none"/>
                      <a:tailEnd len="sm" w="sm" type="none"/>
                    </a:lnT>
                    <a:lnB cap="flat" cmpd="sng" w="9525">
                      <a:solidFill>
                        <a:srgbClr val="000000">
                          <a:alpha val="0"/>
                        </a:srgbClr>
                      </a:solidFill>
                      <a:prstDash val="solid"/>
                      <a:round/>
                      <a:headEnd len="sm" w="sm" type="none"/>
                      <a:tailEnd len="sm" w="sm" type="none"/>
                    </a:lnB>
                  </a:tcPr>
                </a:tc>
                <a:tc>
                  <a:txBody>
                    <a:bodyPr/>
                    <a:lstStyle/>
                    <a:p>
                      <a:pPr indent="0" lvl="0" marL="0" marR="0" rtl="0" algn="l">
                        <a:spcBef>
                          <a:spcPts val="0"/>
                        </a:spcBef>
                        <a:spcAft>
                          <a:spcPts val="0"/>
                        </a:spcAft>
                        <a:buNone/>
                      </a:pPr>
                      <a:r>
                        <a:rPr b="1" lang="en-US" sz="1800">
                          <a:solidFill>
                            <a:schemeClr val="lt1"/>
                          </a:solidFill>
                          <a:latin typeface="Arial"/>
                          <a:ea typeface="Arial"/>
                          <a:cs typeface="Arial"/>
                          <a:sym typeface="Arial"/>
                        </a:rPr>
                        <a:t>2. </a:t>
                      </a:r>
                      <a:r>
                        <a:rPr lang="en-US" sz="1800"/>
                        <a:t>External Sources:</a:t>
                      </a:r>
                      <a:endParaRPr sz="1800"/>
                    </a:p>
                    <a:p>
                      <a:pPr indent="-342900" lvl="0" marL="457200" marR="0" rtl="0" algn="l">
                        <a:spcBef>
                          <a:spcPts val="0"/>
                        </a:spcBef>
                        <a:spcAft>
                          <a:spcPts val="0"/>
                        </a:spcAft>
                        <a:buClr>
                          <a:srgbClr val="999999"/>
                        </a:buClr>
                        <a:buSzPts val="1800"/>
                        <a:buAutoNum type="alphaLcPeriod"/>
                      </a:pPr>
                      <a:r>
                        <a:rPr b="0" lang="en-US" sz="1800">
                          <a:solidFill>
                            <a:srgbClr val="999999"/>
                          </a:solidFill>
                        </a:rPr>
                        <a:t>Amazon Product Reviews for Top 9 Games</a:t>
                      </a:r>
                      <a:endParaRPr b="0" sz="1800">
                        <a:solidFill>
                          <a:srgbClr val="999999"/>
                        </a:solidFill>
                      </a:endParaRPr>
                    </a:p>
                  </a:txBody>
                  <a:tcPr marT="45725" marB="45725" marR="91450" marL="91450">
                    <a:lnL cap="flat" cmpd="sng" w="9525">
                      <a:solidFill>
                        <a:srgbClr val="FFFFFF"/>
                      </a:solidFill>
                      <a:prstDash val="solid"/>
                      <a:round/>
                      <a:headEnd len="sm" w="sm" type="none"/>
                      <a:tailEnd len="sm" w="sm" type="none"/>
                    </a:lnL>
                    <a:lnR cap="flat" cmpd="sng" w="9525">
                      <a:solidFill>
                        <a:srgbClr val="000000">
                          <a:alpha val="0"/>
                        </a:srgbClr>
                      </a:solidFill>
                      <a:prstDash val="solid"/>
                      <a:round/>
                      <a:headEnd len="sm" w="sm" type="none"/>
                      <a:tailEnd len="sm" w="sm" type="none"/>
                    </a:lnR>
                    <a:lnT cap="flat" cmpd="sng" w="9525">
                      <a:solidFill>
                        <a:srgbClr val="000000">
                          <a:alpha val="0"/>
                        </a:srgbClr>
                      </a:solidFill>
                      <a:prstDash val="solid"/>
                      <a:round/>
                      <a:headEnd len="sm" w="sm" type="none"/>
                      <a:tailEnd len="sm" w="sm" type="none"/>
                    </a:lnT>
                    <a:lnB cap="flat" cmpd="sng" w="9525">
                      <a:solidFill>
                        <a:srgbClr val="000000">
                          <a:alpha val="0"/>
                        </a:srgbClr>
                      </a:solidFill>
                      <a:prstDash val="solid"/>
                      <a:round/>
                      <a:headEnd len="sm" w="sm" type="none"/>
                      <a:tailEnd len="sm" w="sm" type="none"/>
                    </a:lnB>
                  </a:tcPr>
                </a:tc>
              </a:tr>
            </a:tbl>
          </a:graphicData>
        </a:graphic>
      </p:graphicFrame>
    </p:spTree>
  </p:cSld>
  <p:clrMapOvr>
    <a:masterClrMapping/>
  </p:clrMapOvr>
  <p:transition>
    <p:fade/>
  </p:transition>
</p:sld>
</file>

<file path=ppt/slides/slide2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325" name="Shape 325"/>
        <p:cNvGrpSpPr/>
        <p:nvPr/>
      </p:nvGrpSpPr>
      <p:grpSpPr>
        <a:xfrm>
          <a:off x="0" y="0"/>
          <a:ext cx="0" cy="0"/>
          <a:chOff x="0" y="0"/>
          <a:chExt cx="0" cy="0"/>
        </a:xfrm>
      </p:grpSpPr>
      <p:sp>
        <p:nvSpPr>
          <p:cNvPr id="326" name="Google Shape;326;g7023ddf169_0_248"/>
          <p:cNvSpPr txBox="1"/>
          <p:nvPr>
            <p:ph type="title"/>
          </p:nvPr>
        </p:nvSpPr>
        <p:spPr>
          <a:xfrm>
            <a:off x="838200" y="365125"/>
            <a:ext cx="10515600" cy="480000"/>
          </a:xfrm>
          <a:prstGeom prst="rect">
            <a:avLst/>
          </a:prstGeom>
          <a:noFill/>
          <a:ln>
            <a:noFill/>
          </a:ln>
        </p:spPr>
        <p:txBody>
          <a:bodyPr anchorCtr="0" anchor="t" bIns="45700" lIns="0" spcFirstLastPara="1" rIns="0" wrap="square" tIns="45700">
            <a:noAutofit/>
          </a:bodyPr>
          <a:lstStyle/>
          <a:p>
            <a:pPr indent="0" lvl="0" marL="0" rtl="0" algn="l">
              <a:lnSpc>
                <a:spcPct val="90000"/>
              </a:lnSpc>
              <a:spcBef>
                <a:spcPts val="0"/>
              </a:spcBef>
              <a:spcAft>
                <a:spcPts val="0"/>
              </a:spcAft>
              <a:buClr>
                <a:srgbClr val="C5093B"/>
              </a:buClr>
              <a:buSzPts val="2800"/>
              <a:buFont typeface="Arial"/>
              <a:buNone/>
            </a:pPr>
            <a:r>
              <a:rPr lang="en-US"/>
              <a:t>Clustering analysis</a:t>
            </a:r>
            <a:endParaRPr/>
          </a:p>
        </p:txBody>
      </p:sp>
      <p:sp>
        <p:nvSpPr>
          <p:cNvPr id="327" name="Google Shape;327;g7023ddf169_0_248"/>
          <p:cNvSpPr txBox="1"/>
          <p:nvPr/>
        </p:nvSpPr>
        <p:spPr>
          <a:xfrm>
            <a:off x="838198" y="987207"/>
            <a:ext cx="10676100" cy="695700"/>
          </a:xfrm>
          <a:prstGeom prst="rect">
            <a:avLst/>
          </a:prstGeom>
          <a:noFill/>
          <a:ln>
            <a:noFill/>
          </a:ln>
        </p:spPr>
        <p:txBody>
          <a:bodyPr anchorCtr="0" anchor="t" bIns="0" lIns="0" spcFirstLastPara="1" rIns="0" wrap="square" tIns="0">
            <a:noAutofit/>
          </a:bodyPr>
          <a:lstStyle/>
          <a:p>
            <a:pPr indent="0" lvl="0" marL="0" marR="0" rtl="0" algn="l">
              <a:lnSpc>
                <a:spcPct val="90000"/>
              </a:lnSpc>
              <a:spcBef>
                <a:spcPts val="0"/>
              </a:spcBef>
              <a:spcAft>
                <a:spcPts val="0"/>
              </a:spcAft>
              <a:buClr>
                <a:schemeClr val="dk2"/>
              </a:buClr>
              <a:buSzPts val="1600"/>
              <a:buFont typeface="Arial"/>
              <a:buNone/>
            </a:pPr>
            <a:r>
              <a:rPr lang="en-US" sz="1600">
                <a:solidFill>
                  <a:schemeClr val="dk2"/>
                </a:solidFill>
              </a:rPr>
              <a:t>The top 10 words in all clusters correspond to each of the mean rating levels. We derive that product reviews can be a mixture of comments about EA and Amazon’s services</a:t>
            </a:r>
            <a:endParaRPr/>
          </a:p>
        </p:txBody>
      </p:sp>
      <p:pic>
        <p:nvPicPr>
          <p:cNvPr id="328" name="Google Shape;328;g7023ddf169_0_248"/>
          <p:cNvPicPr preferRelativeResize="0"/>
          <p:nvPr/>
        </p:nvPicPr>
        <p:blipFill>
          <a:blip r:embed="rId3">
            <a:alphaModFix/>
          </a:blip>
          <a:stretch>
            <a:fillRect/>
          </a:stretch>
        </p:blipFill>
        <p:spPr>
          <a:xfrm>
            <a:off x="838200" y="1720800"/>
            <a:ext cx="5717873" cy="3814149"/>
          </a:xfrm>
          <a:prstGeom prst="rect">
            <a:avLst/>
          </a:prstGeom>
          <a:noFill/>
          <a:ln>
            <a:noFill/>
          </a:ln>
        </p:spPr>
      </p:pic>
      <p:pic>
        <p:nvPicPr>
          <p:cNvPr id="329" name="Google Shape;329;g7023ddf169_0_248"/>
          <p:cNvPicPr preferRelativeResize="0"/>
          <p:nvPr/>
        </p:nvPicPr>
        <p:blipFill>
          <a:blip r:embed="rId4">
            <a:alphaModFix/>
          </a:blip>
          <a:stretch>
            <a:fillRect/>
          </a:stretch>
        </p:blipFill>
        <p:spPr>
          <a:xfrm>
            <a:off x="7957975" y="1682902"/>
            <a:ext cx="3395826" cy="1423175"/>
          </a:xfrm>
          <a:prstGeom prst="rect">
            <a:avLst/>
          </a:prstGeom>
          <a:noFill/>
          <a:ln>
            <a:noFill/>
          </a:ln>
        </p:spPr>
      </p:pic>
    </p:spTree>
  </p:cSld>
  <p:clrMapOvr>
    <a:masterClrMapping/>
  </p:clrMapOvr>
</p:sld>
</file>

<file path=ppt/slides/slide2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334" name="Shape 334"/>
        <p:cNvGrpSpPr/>
        <p:nvPr/>
      </p:nvGrpSpPr>
      <p:grpSpPr>
        <a:xfrm>
          <a:off x="0" y="0"/>
          <a:ext cx="0" cy="0"/>
          <a:chOff x="0" y="0"/>
          <a:chExt cx="0" cy="0"/>
        </a:xfrm>
      </p:grpSpPr>
      <p:sp>
        <p:nvSpPr>
          <p:cNvPr id="335" name="Google Shape;335;g7023ddf169_0_257"/>
          <p:cNvSpPr txBox="1"/>
          <p:nvPr>
            <p:ph type="title"/>
          </p:nvPr>
        </p:nvSpPr>
        <p:spPr>
          <a:xfrm>
            <a:off x="838200" y="365125"/>
            <a:ext cx="10515600" cy="480000"/>
          </a:xfrm>
          <a:prstGeom prst="rect">
            <a:avLst/>
          </a:prstGeom>
          <a:noFill/>
          <a:ln>
            <a:noFill/>
          </a:ln>
        </p:spPr>
        <p:txBody>
          <a:bodyPr anchorCtr="0" anchor="t" bIns="45700" lIns="0" spcFirstLastPara="1" rIns="0" wrap="square" tIns="45700">
            <a:noAutofit/>
          </a:bodyPr>
          <a:lstStyle/>
          <a:p>
            <a:pPr indent="0" lvl="0" marL="0" rtl="0" algn="l">
              <a:lnSpc>
                <a:spcPct val="90000"/>
              </a:lnSpc>
              <a:spcBef>
                <a:spcPts val="0"/>
              </a:spcBef>
              <a:spcAft>
                <a:spcPts val="0"/>
              </a:spcAft>
              <a:buClr>
                <a:srgbClr val="C5093B"/>
              </a:buClr>
              <a:buSzPts val="2800"/>
              <a:buFont typeface="Arial"/>
              <a:buNone/>
            </a:pPr>
            <a:r>
              <a:rPr lang="en-US"/>
              <a:t>pyLDAvis: A more interactive way to summarize</a:t>
            </a:r>
            <a:endParaRPr/>
          </a:p>
        </p:txBody>
      </p:sp>
      <p:sp>
        <p:nvSpPr>
          <p:cNvPr id="336" name="Google Shape;336;g7023ddf169_0_257"/>
          <p:cNvSpPr txBox="1"/>
          <p:nvPr/>
        </p:nvSpPr>
        <p:spPr>
          <a:xfrm>
            <a:off x="838198" y="987207"/>
            <a:ext cx="10676100" cy="695700"/>
          </a:xfrm>
          <a:prstGeom prst="rect">
            <a:avLst/>
          </a:prstGeom>
          <a:noFill/>
          <a:ln>
            <a:noFill/>
          </a:ln>
        </p:spPr>
        <p:txBody>
          <a:bodyPr anchorCtr="0" anchor="t" bIns="0" lIns="0" spcFirstLastPara="1" rIns="0" wrap="square" tIns="0">
            <a:noAutofit/>
          </a:bodyPr>
          <a:lstStyle/>
          <a:p>
            <a:pPr indent="0" lvl="0" marL="0" marR="0" rtl="0" algn="l">
              <a:lnSpc>
                <a:spcPct val="90000"/>
              </a:lnSpc>
              <a:spcBef>
                <a:spcPts val="0"/>
              </a:spcBef>
              <a:spcAft>
                <a:spcPts val="0"/>
              </a:spcAft>
              <a:buClr>
                <a:schemeClr val="dk2"/>
              </a:buClr>
              <a:buSzPts val="1600"/>
              <a:buFont typeface="Arial"/>
              <a:buNone/>
            </a:pPr>
            <a:r>
              <a:rPr lang="en-US" sz="1600">
                <a:solidFill>
                  <a:schemeClr val="dk2"/>
                </a:solidFill>
              </a:rPr>
              <a:t>Apply topic modelling to derive more insights into the EA’s content and quality</a:t>
            </a:r>
            <a:endParaRPr/>
          </a:p>
        </p:txBody>
      </p:sp>
      <p:pic>
        <p:nvPicPr>
          <p:cNvPr id="337" name="Google Shape;337;g7023ddf169_0_257"/>
          <p:cNvPicPr preferRelativeResize="0"/>
          <p:nvPr/>
        </p:nvPicPr>
        <p:blipFill>
          <a:blip r:embed="rId3">
            <a:alphaModFix/>
          </a:blip>
          <a:stretch>
            <a:fillRect/>
          </a:stretch>
        </p:blipFill>
        <p:spPr>
          <a:xfrm>
            <a:off x="2597060" y="1550550"/>
            <a:ext cx="6997877" cy="4460651"/>
          </a:xfrm>
          <a:prstGeom prst="rect">
            <a:avLst/>
          </a:prstGeom>
          <a:noFill/>
          <a:ln>
            <a:noFill/>
          </a:ln>
        </p:spPr>
      </p:pic>
    </p:spTree>
  </p:cSld>
  <p:clrMapOvr>
    <a:masterClrMapping/>
  </p:clrMapOvr>
</p:sld>
</file>

<file path=ppt/slides/slide2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342" name="Shape 342"/>
        <p:cNvGrpSpPr/>
        <p:nvPr/>
      </p:nvGrpSpPr>
      <p:grpSpPr>
        <a:xfrm>
          <a:off x="0" y="0"/>
          <a:ext cx="0" cy="0"/>
          <a:chOff x="0" y="0"/>
          <a:chExt cx="0" cy="0"/>
        </a:xfrm>
      </p:grpSpPr>
      <p:sp>
        <p:nvSpPr>
          <p:cNvPr id="343" name="Google Shape;343;g7023ddf169_0_266"/>
          <p:cNvSpPr txBox="1"/>
          <p:nvPr>
            <p:ph type="title"/>
          </p:nvPr>
        </p:nvSpPr>
        <p:spPr>
          <a:xfrm>
            <a:off x="838200" y="365125"/>
            <a:ext cx="10515600" cy="480000"/>
          </a:xfrm>
          <a:prstGeom prst="rect">
            <a:avLst/>
          </a:prstGeom>
          <a:noFill/>
          <a:ln>
            <a:noFill/>
          </a:ln>
        </p:spPr>
        <p:txBody>
          <a:bodyPr anchorCtr="0" anchor="t" bIns="45700" lIns="0" spcFirstLastPara="1" rIns="0" wrap="square" tIns="45700">
            <a:noAutofit/>
          </a:bodyPr>
          <a:lstStyle/>
          <a:p>
            <a:pPr indent="0" lvl="0" marL="0" rtl="0" algn="l">
              <a:lnSpc>
                <a:spcPct val="90000"/>
              </a:lnSpc>
              <a:spcBef>
                <a:spcPts val="0"/>
              </a:spcBef>
              <a:spcAft>
                <a:spcPts val="0"/>
              </a:spcAft>
              <a:buClr>
                <a:srgbClr val="C5093B"/>
              </a:buClr>
              <a:buSzPts val="2800"/>
              <a:buFont typeface="Arial"/>
              <a:buNone/>
            </a:pPr>
            <a:r>
              <a:rPr lang="en-US"/>
              <a:t>Closing notes</a:t>
            </a:r>
            <a:endParaRPr/>
          </a:p>
        </p:txBody>
      </p:sp>
      <p:sp>
        <p:nvSpPr>
          <p:cNvPr id="344" name="Google Shape;344;g7023ddf169_0_266"/>
          <p:cNvSpPr txBox="1"/>
          <p:nvPr/>
        </p:nvSpPr>
        <p:spPr>
          <a:xfrm>
            <a:off x="838198" y="987207"/>
            <a:ext cx="10676100" cy="695700"/>
          </a:xfrm>
          <a:prstGeom prst="rect">
            <a:avLst/>
          </a:prstGeom>
          <a:noFill/>
          <a:ln>
            <a:noFill/>
          </a:ln>
        </p:spPr>
        <p:txBody>
          <a:bodyPr anchorCtr="0" anchor="t" bIns="0" lIns="0" spcFirstLastPara="1" rIns="0" wrap="square" tIns="0">
            <a:noAutofit/>
          </a:bodyPr>
          <a:lstStyle/>
          <a:p>
            <a:pPr indent="0" lvl="0" marL="0" marR="0" rtl="0" algn="l">
              <a:lnSpc>
                <a:spcPct val="90000"/>
              </a:lnSpc>
              <a:spcBef>
                <a:spcPts val="0"/>
              </a:spcBef>
              <a:spcAft>
                <a:spcPts val="0"/>
              </a:spcAft>
              <a:buClr>
                <a:schemeClr val="dk2"/>
              </a:buClr>
              <a:buSzPts val="1600"/>
              <a:buFont typeface="Arial"/>
              <a:buNone/>
            </a:pPr>
            <a:r>
              <a:rPr lang="en-US" sz="1600">
                <a:solidFill>
                  <a:schemeClr val="dk2"/>
                </a:solidFill>
              </a:rPr>
              <a:t>The two </a:t>
            </a:r>
            <a:r>
              <a:rPr lang="en-US" sz="1600">
                <a:solidFill>
                  <a:schemeClr val="dk2"/>
                </a:solidFill>
              </a:rPr>
              <a:t>work streams</a:t>
            </a:r>
            <a:r>
              <a:rPr lang="en-US" sz="1600">
                <a:solidFill>
                  <a:schemeClr val="dk2"/>
                </a:solidFill>
              </a:rPr>
              <a:t> aim to provide insights and suggestion on the recommendation systems and external sources that can support EA in data and customer analytics </a:t>
            </a:r>
            <a:endParaRPr/>
          </a:p>
        </p:txBody>
      </p:sp>
      <p:sp>
        <p:nvSpPr>
          <p:cNvPr id="345" name="Google Shape;345;g7023ddf169_0_266"/>
          <p:cNvSpPr txBox="1"/>
          <p:nvPr/>
        </p:nvSpPr>
        <p:spPr>
          <a:xfrm>
            <a:off x="838200" y="1492400"/>
            <a:ext cx="10515600" cy="3000000"/>
          </a:xfrm>
          <a:prstGeom prst="rect">
            <a:avLst/>
          </a:prstGeom>
          <a:noFill/>
          <a:ln>
            <a:noFill/>
          </a:ln>
        </p:spPr>
        <p:txBody>
          <a:bodyPr anchorCtr="0" anchor="t" bIns="91425" lIns="91425" spcFirstLastPara="1" rIns="91425" wrap="square" tIns="91425">
            <a:noAutofit/>
          </a:bodyPr>
          <a:lstStyle/>
          <a:p>
            <a:pPr indent="-317500" lvl="0" marL="457200" rtl="0" algn="l">
              <a:spcBef>
                <a:spcPts val="0"/>
              </a:spcBef>
              <a:spcAft>
                <a:spcPts val="0"/>
              </a:spcAft>
              <a:buSzPts val="1400"/>
              <a:buChar char="●"/>
            </a:pPr>
            <a:r>
              <a:rPr lang="en-US"/>
              <a:t>Content-based approach</a:t>
            </a:r>
            <a:endParaRPr/>
          </a:p>
          <a:p>
            <a:pPr indent="-317500" lvl="0" marL="457200" rtl="0" algn="l">
              <a:spcBef>
                <a:spcPts val="0"/>
              </a:spcBef>
              <a:spcAft>
                <a:spcPts val="0"/>
              </a:spcAft>
              <a:buSzPts val="1400"/>
              <a:buChar char="●"/>
            </a:pPr>
            <a:r>
              <a:rPr lang="en-US"/>
              <a:t>User-based approach</a:t>
            </a:r>
            <a:endParaRPr/>
          </a:p>
          <a:p>
            <a:pPr indent="-317500" lvl="0" marL="457200" rtl="0" algn="l">
              <a:spcBef>
                <a:spcPts val="0"/>
              </a:spcBef>
              <a:spcAft>
                <a:spcPts val="0"/>
              </a:spcAft>
              <a:buSzPts val="1400"/>
              <a:buChar char="●"/>
            </a:pPr>
            <a:r>
              <a:rPr lang="en-US"/>
              <a:t>Webscraping tool - Topic modeling</a:t>
            </a:r>
            <a:endParaRPr/>
          </a:p>
          <a:p>
            <a:pPr indent="0" lvl="0" marL="0" rtl="0" algn="l">
              <a:spcBef>
                <a:spcPts val="0"/>
              </a:spcBef>
              <a:spcAft>
                <a:spcPts val="0"/>
              </a:spcAft>
              <a:buNone/>
            </a:pPr>
            <a:r>
              <a:t/>
            </a:r>
            <a:endParaRPr/>
          </a:p>
          <a:p>
            <a:pPr indent="0" lvl="0" marL="0" rtl="0" algn="l">
              <a:spcBef>
                <a:spcPts val="0"/>
              </a:spcBef>
              <a:spcAft>
                <a:spcPts val="0"/>
              </a:spcAft>
              <a:buNone/>
            </a:pPr>
            <a:r>
              <a:rPr lang="en-US"/>
              <a:t>Other suggestions/ What we wish to have done more:</a:t>
            </a:r>
            <a:endParaRPr/>
          </a:p>
          <a:p>
            <a:pPr indent="-317500" lvl="0" marL="457200" rtl="0" algn="l">
              <a:spcBef>
                <a:spcPts val="0"/>
              </a:spcBef>
              <a:spcAft>
                <a:spcPts val="0"/>
              </a:spcAft>
              <a:buSzPts val="1400"/>
              <a:buChar char="●"/>
            </a:pPr>
            <a:r>
              <a:rPr lang="en-US"/>
              <a:t>Speech analysis to improve on call center</a:t>
            </a:r>
            <a:endParaRPr/>
          </a:p>
          <a:p>
            <a:pPr indent="-317500" lvl="0" marL="457200" rtl="0" algn="l">
              <a:spcBef>
                <a:spcPts val="0"/>
              </a:spcBef>
              <a:spcAft>
                <a:spcPts val="0"/>
              </a:spcAft>
              <a:buSzPts val="1400"/>
              <a:buChar char="●"/>
            </a:pPr>
            <a:r>
              <a:rPr lang="en-US"/>
              <a:t>Comparison with competitors to analyze the current and future trends</a:t>
            </a:r>
            <a:endParaRPr/>
          </a:p>
          <a:p>
            <a:pPr indent="-317500" lvl="0" marL="457200" rtl="0" algn="l">
              <a:spcBef>
                <a:spcPts val="0"/>
              </a:spcBef>
              <a:spcAft>
                <a:spcPts val="0"/>
              </a:spcAft>
              <a:buSzPts val="1400"/>
              <a:buChar char="●"/>
            </a:pPr>
            <a:r>
              <a:rPr lang="en-US"/>
              <a:t>Extract more reviews from Amazon</a:t>
            </a:r>
            <a:endParaRPr/>
          </a:p>
        </p:txBody>
      </p:sp>
    </p:spTree>
  </p:cSld>
  <p:clrMapOvr>
    <a:masterClrMapping/>
  </p:clrMapOvr>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103" name="Shape 103"/>
        <p:cNvGrpSpPr/>
        <p:nvPr/>
      </p:nvGrpSpPr>
      <p:grpSpPr>
        <a:xfrm>
          <a:off x="0" y="0"/>
          <a:ext cx="0" cy="0"/>
          <a:chOff x="0" y="0"/>
          <a:chExt cx="0" cy="0"/>
        </a:xfrm>
      </p:grpSpPr>
      <p:sp>
        <p:nvSpPr>
          <p:cNvPr id="104" name="Google Shape;104;p4"/>
          <p:cNvSpPr txBox="1"/>
          <p:nvPr>
            <p:ph idx="11" type="ftr"/>
          </p:nvPr>
        </p:nvSpPr>
        <p:spPr>
          <a:xfrm>
            <a:off x="7928904" y="6513308"/>
            <a:ext cx="4114800" cy="365125"/>
          </a:xfrm>
          <a:prstGeom prst="rect">
            <a:avLst/>
          </a:prstGeom>
          <a:noFill/>
          <a:ln>
            <a:noFill/>
          </a:ln>
        </p:spPr>
        <p:txBody>
          <a:bodyPr anchorCtr="0" anchor="ctr" bIns="45700" lIns="91425" spcFirstLastPara="1" rIns="91425" wrap="square" tIns="45700">
            <a:noAutofit/>
          </a:bodyPr>
          <a:lstStyle/>
          <a:p>
            <a:pPr indent="0" lvl="0" marL="0" rtl="0" algn="r">
              <a:spcBef>
                <a:spcPts val="0"/>
              </a:spcBef>
              <a:spcAft>
                <a:spcPts val="0"/>
              </a:spcAft>
              <a:buNone/>
            </a:pPr>
            <a:r>
              <a:rPr lang="en-US"/>
              <a:t>Name of Initiative</a:t>
            </a:r>
            <a:endParaRPr/>
          </a:p>
        </p:txBody>
      </p:sp>
      <p:sp>
        <p:nvSpPr>
          <p:cNvPr id="105" name="Google Shape;105;p4"/>
          <p:cNvSpPr txBox="1"/>
          <p:nvPr>
            <p:ph idx="12" type="sldNum"/>
          </p:nvPr>
        </p:nvSpPr>
        <p:spPr>
          <a:xfrm>
            <a:off x="9300504" y="6126298"/>
            <a:ext cx="2743200" cy="365125"/>
          </a:xfrm>
          <a:prstGeom prst="rect">
            <a:avLst/>
          </a:prstGeom>
          <a:noFill/>
          <a:ln>
            <a:noFill/>
          </a:ln>
        </p:spPr>
        <p:txBody>
          <a:bodyPr anchorCtr="0" anchor="ctr"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
        <p:nvSpPr>
          <p:cNvPr id="106" name="Google Shape;106;p4"/>
          <p:cNvSpPr txBox="1"/>
          <p:nvPr/>
        </p:nvSpPr>
        <p:spPr>
          <a:xfrm>
            <a:off x="838199" y="987207"/>
            <a:ext cx="10974573" cy="695819"/>
          </a:xfrm>
          <a:prstGeom prst="rect">
            <a:avLst/>
          </a:prstGeom>
          <a:noFill/>
          <a:ln>
            <a:noFill/>
          </a:ln>
        </p:spPr>
        <p:txBody>
          <a:bodyPr anchorCtr="0" anchor="t" bIns="0" lIns="0" spcFirstLastPara="1" rIns="0" wrap="square" tIns="0">
            <a:noAutofit/>
          </a:bodyPr>
          <a:lstStyle/>
          <a:p>
            <a:pPr indent="0" lvl="0" marL="0" marR="0" rtl="0" algn="l">
              <a:lnSpc>
                <a:spcPct val="90000"/>
              </a:lnSpc>
              <a:spcBef>
                <a:spcPts val="0"/>
              </a:spcBef>
              <a:spcAft>
                <a:spcPts val="0"/>
              </a:spcAft>
              <a:buClr>
                <a:srgbClr val="003563"/>
              </a:buClr>
              <a:buSzPts val="1600"/>
              <a:buFont typeface="Arial"/>
              <a:buNone/>
            </a:pPr>
            <a:r>
              <a:rPr lang="en-US" sz="1600">
                <a:solidFill>
                  <a:srgbClr val="003563"/>
                </a:solidFill>
                <a:latin typeface="Arial"/>
                <a:ea typeface="Arial"/>
                <a:cs typeface="Arial"/>
                <a:sym typeface="Arial"/>
              </a:rPr>
              <a:t>Goal: Enable </a:t>
            </a:r>
            <a:r>
              <a:rPr lang="en-US" sz="1600">
                <a:solidFill>
                  <a:srgbClr val="003563"/>
                </a:solidFill>
              </a:rPr>
              <a:t>EA to convert free-trial to paid subscribers and explore public datasets to support the data analytics process to optimize business decision making</a:t>
            </a:r>
            <a:endParaRPr/>
          </a:p>
        </p:txBody>
      </p:sp>
      <p:grpSp>
        <p:nvGrpSpPr>
          <p:cNvPr id="107" name="Google Shape;107;p4"/>
          <p:cNvGrpSpPr/>
          <p:nvPr/>
        </p:nvGrpSpPr>
        <p:grpSpPr>
          <a:xfrm>
            <a:off x="948000" y="1837012"/>
            <a:ext cx="10296001" cy="3562743"/>
            <a:chOff x="851571" y="1837012"/>
            <a:chExt cx="10296001" cy="3562743"/>
          </a:xfrm>
        </p:grpSpPr>
        <p:grpSp>
          <p:nvGrpSpPr>
            <p:cNvPr id="108" name="Google Shape;108;p4"/>
            <p:cNvGrpSpPr/>
            <p:nvPr/>
          </p:nvGrpSpPr>
          <p:grpSpPr>
            <a:xfrm>
              <a:off x="851571" y="1837012"/>
              <a:ext cx="5029200" cy="3562743"/>
              <a:chOff x="422585" y="1837011"/>
              <a:chExt cx="3108960" cy="3562743"/>
            </a:xfrm>
          </p:grpSpPr>
          <p:sp>
            <p:nvSpPr>
              <p:cNvPr id="109" name="Google Shape;109;p4"/>
              <p:cNvSpPr/>
              <p:nvPr/>
            </p:nvSpPr>
            <p:spPr>
              <a:xfrm>
                <a:off x="422585" y="2375969"/>
                <a:ext cx="3108960" cy="3023785"/>
              </a:xfrm>
              <a:prstGeom prst="rect">
                <a:avLst/>
              </a:prstGeom>
              <a:solidFill>
                <a:srgbClr val="D8D8D8"/>
              </a:solidFill>
              <a:ln>
                <a:noFill/>
              </a:ln>
            </p:spPr>
            <p:txBody>
              <a:bodyPr anchorCtr="0" anchor="t" bIns="182875" lIns="182875" spcFirstLastPara="1" rIns="182875" wrap="square" tIns="182875">
                <a:noAutofit/>
              </a:bodyPr>
              <a:lstStyle/>
              <a:p>
                <a:pPr indent="-285750" lvl="0" marL="285750" marR="0" rtl="0" algn="l">
                  <a:spcBef>
                    <a:spcPts val="0"/>
                  </a:spcBef>
                  <a:spcAft>
                    <a:spcPts val="0"/>
                  </a:spcAft>
                  <a:buClr>
                    <a:schemeClr val="dk2"/>
                  </a:buClr>
                  <a:buSzPts val="1800"/>
                  <a:buFont typeface="Arial"/>
                  <a:buChar char="•"/>
                </a:pPr>
                <a:r>
                  <a:rPr lang="en-US" sz="1800">
                    <a:solidFill>
                      <a:schemeClr val="dk2"/>
                    </a:solidFill>
                  </a:rPr>
                  <a:t>Data exploration and recommendation system:</a:t>
                </a:r>
                <a:endParaRPr sz="1800">
                  <a:solidFill>
                    <a:schemeClr val="dk2"/>
                  </a:solidFill>
                </a:endParaRPr>
              </a:p>
              <a:p>
                <a:pPr indent="-342900" lvl="1" marL="914400" marR="0" rtl="0" algn="l">
                  <a:spcBef>
                    <a:spcPts val="0"/>
                  </a:spcBef>
                  <a:spcAft>
                    <a:spcPts val="0"/>
                  </a:spcAft>
                  <a:buClr>
                    <a:schemeClr val="dk2"/>
                  </a:buClr>
                  <a:buSzPts val="1800"/>
                  <a:buFont typeface="Arial"/>
                  <a:buChar char="•"/>
                </a:pPr>
                <a:r>
                  <a:rPr lang="en-US" sz="1800">
                    <a:solidFill>
                      <a:schemeClr val="dk2"/>
                    </a:solidFill>
                  </a:rPr>
                  <a:t>Define the demographics of our subscribers and franchises</a:t>
                </a:r>
                <a:endParaRPr sz="1800">
                  <a:solidFill>
                    <a:schemeClr val="dk2"/>
                  </a:solidFill>
                </a:endParaRPr>
              </a:p>
              <a:p>
                <a:pPr indent="-342900" lvl="1" marL="914400" marR="0" rtl="0" algn="l">
                  <a:spcBef>
                    <a:spcPts val="0"/>
                  </a:spcBef>
                  <a:spcAft>
                    <a:spcPts val="0"/>
                  </a:spcAft>
                  <a:buClr>
                    <a:schemeClr val="dk2"/>
                  </a:buClr>
                  <a:buSzPts val="1800"/>
                  <a:buChar char="•"/>
                </a:pPr>
                <a:r>
                  <a:rPr lang="en-US" sz="1800">
                    <a:solidFill>
                      <a:schemeClr val="dk2"/>
                    </a:solidFill>
                  </a:rPr>
                  <a:t>Strategize recommendation system</a:t>
                </a:r>
                <a:endParaRPr sz="1800">
                  <a:solidFill>
                    <a:schemeClr val="dk2"/>
                  </a:solidFill>
                </a:endParaRPr>
              </a:p>
              <a:p>
                <a:pPr indent="-196850" lvl="1" marL="742950" marR="0" rtl="0" algn="l">
                  <a:spcBef>
                    <a:spcPts val="0"/>
                  </a:spcBef>
                  <a:spcAft>
                    <a:spcPts val="0"/>
                  </a:spcAft>
                  <a:buClr>
                    <a:schemeClr val="dk1"/>
                  </a:buClr>
                  <a:buSzPts val="1400"/>
                  <a:buFont typeface="Noto Sans Symbols"/>
                  <a:buNone/>
                </a:pPr>
                <a:r>
                  <a:t/>
                </a:r>
                <a:endParaRPr b="0" i="0" sz="1400" u="none" cap="none" strike="noStrike">
                  <a:solidFill>
                    <a:schemeClr val="dk2"/>
                  </a:solidFill>
                  <a:latin typeface="Arial"/>
                  <a:ea typeface="Arial"/>
                  <a:cs typeface="Arial"/>
                  <a:sym typeface="Arial"/>
                </a:endParaRPr>
              </a:p>
              <a:p>
                <a:pPr indent="0" lvl="1" marL="457200" marR="0" rtl="0" algn="l">
                  <a:spcBef>
                    <a:spcPts val="0"/>
                  </a:spcBef>
                  <a:spcAft>
                    <a:spcPts val="0"/>
                  </a:spcAft>
                  <a:buNone/>
                </a:pPr>
                <a:r>
                  <a:t/>
                </a:r>
                <a:endParaRPr b="0" i="0" sz="1400" u="none" cap="none" strike="noStrike">
                  <a:solidFill>
                    <a:schemeClr val="dk2"/>
                  </a:solidFill>
                  <a:latin typeface="Arial"/>
                  <a:ea typeface="Arial"/>
                  <a:cs typeface="Arial"/>
                  <a:sym typeface="Arial"/>
                </a:endParaRPr>
              </a:p>
            </p:txBody>
          </p:sp>
          <p:sp>
            <p:nvSpPr>
              <p:cNvPr id="110" name="Google Shape;110;p4"/>
              <p:cNvSpPr/>
              <p:nvPr/>
            </p:nvSpPr>
            <p:spPr>
              <a:xfrm>
                <a:off x="422587" y="1850929"/>
                <a:ext cx="3108958" cy="531637"/>
              </a:xfrm>
              <a:prstGeom prst="rect">
                <a:avLst/>
              </a:prstGeom>
              <a:solidFill>
                <a:schemeClr val="accent1"/>
              </a:solidFill>
              <a:ln>
                <a:noFill/>
              </a:ln>
            </p:spPr>
            <p:txBody>
              <a:bodyPr anchorCtr="0" anchor="ctr" bIns="91425" lIns="182875" spcFirstLastPara="1" rIns="182875" wrap="square" tIns="91425">
                <a:noAutofit/>
              </a:bodyPr>
              <a:lstStyle/>
              <a:p>
                <a:pPr indent="0" lvl="0" marL="0" marR="0" rtl="0" algn="l">
                  <a:spcBef>
                    <a:spcPts val="0"/>
                  </a:spcBef>
                  <a:spcAft>
                    <a:spcPts val="0"/>
                  </a:spcAft>
                  <a:buNone/>
                </a:pPr>
                <a:r>
                  <a:rPr b="1" lang="en-US" sz="1400" cap="none">
                    <a:solidFill>
                      <a:srgbClr val="FFFFFF"/>
                    </a:solidFill>
                    <a:latin typeface="Arial"/>
                    <a:ea typeface="Arial"/>
                    <a:cs typeface="Arial"/>
                    <a:sym typeface="Arial"/>
                  </a:rPr>
                  <a:t>WORKSTREAM</a:t>
                </a:r>
                <a:r>
                  <a:rPr b="1" lang="en-US" sz="1400" cap="none">
                    <a:solidFill>
                      <a:srgbClr val="FFFFFF"/>
                    </a:solidFill>
                    <a:latin typeface="Arial"/>
                    <a:ea typeface="Arial"/>
                    <a:cs typeface="Arial"/>
                    <a:sym typeface="Arial"/>
                  </a:rPr>
                  <a:t> 1: </a:t>
                </a:r>
                <a:r>
                  <a:rPr b="1" lang="en-US">
                    <a:solidFill>
                      <a:srgbClr val="FFFFFF"/>
                    </a:solidFill>
                  </a:rPr>
                  <a:t>EXPLORATION</a:t>
                </a:r>
                <a:r>
                  <a:rPr b="1" lang="en-US" sz="1400" cap="none">
                    <a:solidFill>
                      <a:srgbClr val="FFFFFF"/>
                    </a:solidFill>
                    <a:latin typeface="Arial"/>
                    <a:ea typeface="Arial"/>
                    <a:cs typeface="Arial"/>
                    <a:sym typeface="Arial"/>
                  </a:rPr>
                  <a:t> ANALYTICS</a:t>
                </a:r>
                <a:endParaRPr/>
              </a:p>
            </p:txBody>
          </p:sp>
          <p:grpSp>
            <p:nvGrpSpPr>
              <p:cNvPr id="111" name="Google Shape;111;p4"/>
              <p:cNvGrpSpPr/>
              <p:nvPr/>
            </p:nvGrpSpPr>
            <p:grpSpPr>
              <a:xfrm rot="10800000">
                <a:off x="2861931" y="1851462"/>
                <a:ext cx="669614" cy="530571"/>
                <a:chOff x="349709" y="1816845"/>
                <a:chExt cx="504963" cy="400110"/>
              </a:xfrm>
            </p:grpSpPr>
            <p:sp>
              <p:nvSpPr>
                <p:cNvPr id="112" name="Google Shape;112;p4"/>
                <p:cNvSpPr/>
                <p:nvPr/>
              </p:nvSpPr>
              <p:spPr>
                <a:xfrm>
                  <a:off x="736804" y="1816845"/>
                  <a:ext cx="117868" cy="400110"/>
                </a:xfrm>
                <a:prstGeom prst="triangle">
                  <a:avLst>
                    <a:gd fmla="val 0" name="adj"/>
                  </a:avLst>
                </a:prstGeom>
                <a:solidFill>
                  <a:srgbClr val="000000">
                    <a:alpha val="20000"/>
                  </a:srgbClr>
                </a:solidFill>
                <a:ln>
                  <a:noFill/>
                </a:ln>
              </p:spPr>
              <p:txBody>
                <a:bodyPr anchorCtr="0" anchor="ctr" bIns="45700" lIns="91425" spcFirstLastPara="1" rIns="91425" wrap="square" tIns="45700">
                  <a:noAutofit/>
                </a:bodyPr>
                <a:lstStyle/>
                <a:p>
                  <a:pPr indent="0" lvl="0" marL="0" marR="0" rtl="0" algn="ctr">
                    <a:spcBef>
                      <a:spcPts val="0"/>
                    </a:spcBef>
                    <a:spcAft>
                      <a:spcPts val="0"/>
                    </a:spcAft>
                    <a:buNone/>
                  </a:pPr>
                  <a:r>
                    <a:t/>
                  </a:r>
                  <a:endParaRPr sz="1800">
                    <a:solidFill>
                      <a:schemeClr val="lt1"/>
                    </a:solidFill>
                    <a:latin typeface="Arial"/>
                    <a:ea typeface="Arial"/>
                    <a:cs typeface="Arial"/>
                    <a:sym typeface="Arial"/>
                  </a:endParaRPr>
                </a:p>
              </p:txBody>
            </p:sp>
            <p:sp>
              <p:nvSpPr>
                <p:cNvPr id="113" name="Google Shape;113;p4"/>
                <p:cNvSpPr/>
                <p:nvPr/>
              </p:nvSpPr>
              <p:spPr>
                <a:xfrm>
                  <a:off x="349709" y="1816846"/>
                  <a:ext cx="387098" cy="399708"/>
                </a:xfrm>
                <a:prstGeom prst="rect">
                  <a:avLst/>
                </a:prstGeom>
                <a:solidFill>
                  <a:srgbClr val="000000">
                    <a:alpha val="20000"/>
                  </a:srgbClr>
                </a:solidFill>
                <a:ln>
                  <a:noFill/>
                </a:ln>
              </p:spPr>
              <p:txBody>
                <a:bodyPr anchorCtr="0" anchor="ctr" bIns="45700" lIns="91425" spcFirstLastPara="1" rIns="91425" wrap="square" tIns="45700">
                  <a:noAutofit/>
                </a:bodyPr>
                <a:lstStyle/>
                <a:p>
                  <a:pPr indent="0" lvl="0" marL="0" marR="0" rtl="0" algn="ctr">
                    <a:spcBef>
                      <a:spcPts val="0"/>
                    </a:spcBef>
                    <a:spcAft>
                      <a:spcPts val="0"/>
                    </a:spcAft>
                    <a:buNone/>
                  </a:pPr>
                  <a:r>
                    <a:t/>
                  </a:r>
                  <a:endParaRPr sz="1800">
                    <a:solidFill>
                      <a:schemeClr val="lt1"/>
                    </a:solidFill>
                    <a:latin typeface="Arial"/>
                    <a:ea typeface="Arial"/>
                    <a:cs typeface="Arial"/>
                    <a:sym typeface="Arial"/>
                  </a:endParaRPr>
                </a:p>
              </p:txBody>
            </p:sp>
          </p:grpSp>
          <p:pic>
            <p:nvPicPr>
              <p:cNvPr id="114" name="Google Shape;114;p4"/>
              <p:cNvPicPr preferRelativeResize="0"/>
              <p:nvPr/>
            </p:nvPicPr>
            <p:blipFill rotWithShape="1">
              <a:blip r:embed="rId3">
                <a:alphaModFix/>
              </a:blip>
              <a:srcRect b="0" l="0" r="0" t="0"/>
              <a:stretch/>
            </p:blipFill>
            <p:spPr>
              <a:xfrm>
                <a:off x="3138252" y="1837011"/>
                <a:ext cx="368202" cy="523974"/>
              </a:xfrm>
              <a:prstGeom prst="rect">
                <a:avLst/>
              </a:prstGeom>
              <a:noFill/>
              <a:ln>
                <a:noFill/>
              </a:ln>
            </p:spPr>
          </p:pic>
        </p:grpSp>
        <p:grpSp>
          <p:nvGrpSpPr>
            <p:cNvPr id="115" name="Google Shape;115;p4"/>
            <p:cNvGrpSpPr/>
            <p:nvPr/>
          </p:nvGrpSpPr>
          <p:grpSpPr>
            <a:xfrm>
              <a:off x="6118372" y="1850930"/>
              <a:ext cx="5029200" cy="3548825"/>
              <a:chOff x="3254495" y="1850929"/>
              <a:chExt cx="3108960" cy="3548825"/>
            </a:xfrm>
          </p:grpSpPr>
          <p:sp>
            <p:nvSpPr>
              <p:cNvPr id="116" name="Google Shape;116;p4"/>
              <p:cNvSpPr/>
              <p:nvPr/>
            </p:nvSpPr>
            <p:spPr>
              <a:xfrm>
                <a:off x="3254495" y="2375969"/>
                <a:ext cx="3108960" cy="3023785"/>
              </a:xfrm>
              <a:prstGeom prst="rect">
                <a:avLst/>
              </a:prstGeom>
              <a:solidFill>
                <a:srgbClr val="D8D8D8"/>
              </a:solidFill>
              <a:ln>
                <a:noFill/>
              </a:ln>
            </p:spPr>
            <p:txBody>
              <a:bodyPr anchorCtr="0" anchor="t" bIns="182875" lIns="182875" spcFirstLastPara="1" rIns="182875" wrap="square" tIns="182875">
                <a:noAutofit/>
              </a:bodyPr>
              <a:lstStyle/>
              <a:p>
                <a:pPr indent="-285750" lvl="0" marL="285750" marR="0" rtl="0" algn="l">
                  <a:spcBef>
                    <a:spcPts val="0"/>
                  </a:spcBef>
                  <a:spcAft>
                    <a:spcPts val="0"/>
                  </a:spcAft>
                  <a:buClr>
                    <a:schemeClr val="dk2"/>
                  </a:buClr>
                  <a:buSzPts val="1800"/>
                  <a:buFont typeface="Arial"/>
                  <a:buChar char="•"/>
                </a:pPr>
                <a:r>
                  <a:rPr lang="en-US" sz="1800">
                    <a:solidFill>
                      <a:schemeClr val="dk2"/>
                    </a:solidFill>
                  </a:rPr>
                  <a:t>External resources for opinion mining</a:t>
                </a:r>
                <a:endParaRPr/>
              </a:p>
              <a:p>
                <a:pPr indent="-171450" lvl="0" marL="285750" marR="0" rtl="0" algn="l">
                  <a:spcBef>
                    <a:spcPts val="0"/>
                  </a:spcBef>
                  <a:spcAft>
                    <a:spcPts val="0"/>
                  </a:spcAft>
                  <a:buClr>
                    <a:schemeClr val="dk1"/>
                  </a:buClr>
                  <a:buSzPts val="1800"/>
                  <a:buFont typeface="Arial"/>
                  <a:buNone/>
                </a:pPr>
                <a:r>
                  <a:t/>
                </a:r>
                <a:endParaRPr sz="1800">
                  <a:solidFill>
                    <a:schemeClr val="dk2"/>
                  </a:solidFill>
                  <a:latin typeface="Arial"/>
                  <a:ea typeface="Arial"/>
                  <a:cs typeface="Arial"/>
                  <a:sym typeface="Arial"/>
                </a:endParaRPr>
              </a:p>
              <a:p>
                <a:pPr indent="-285750" lvl="1" marL="742950" marR="0" rtl="0" algn="l">
                  <a:spcBef>
                    <a:spcPts val="0"/>
                  </a:spcBef>
                  <a:spcAft>
                    <a:spcPts val="0"/>
                  </a:spcAft>
                  <a:buClr>
                    <a:schemeClr val="dk2"/>
                  </a:buClr>
                  <a:buSzPts val="1800"/>
                  <a:buFont typeface="Arial"/>
                  <a:buChar char="•"/>
                </a:pPr>
                <a:r>
                  <a:rPr lang="en-US" sz="1800">
                    <a:solidFill>
                      <a:schemeClr val="dk2"/>
                    </a:solidFill>
                  </a:rPr>
                  <a:t>Web scrape data from Amazon</a:t>
                </a:r>
                <a:endParaRPr/>
              </a:p>
              <a:p>
                <a:pPr indent="-285750" lvl="1" marL="742950" marR="0" rtl="0" algn="l">
                  <a:spcBef>
                    <a:spcPts val="0"/>
                  </a:spcBef>
                  <a:spcAft>
                    <a:spcPts val="0"/>
                  </a:spcAft>
                  <a:buClr>
                    <a:schemeClr val="dk2"/>
                  </a:buClr>
                  <a:buSzPts val="1800"/>
                  <a:buFont typeface="Arial"/>
                  <a:buChar char="•"/>
                </a:pPr>
                <a:r>
                  <a:rPr lang="en-US" sz="1800">
                    <a:solidFill>
                      <a:schemeClr val="dk2"/>
                    </a:solidFill>
                  </a:rPr>
                  <a:t>Gain insights from customers’ opinions and reviews</a:t>
                </a:r>
                <a:endParaRPr/>
              </a:p>
              <a:p>
                <a:pPr indent="0" lvl="0" marL="0" marR="0" rtl="0" algn="l">
                  <a:spcBef>
                    <a:spcPts val="0"/>
                  </a:spcBef>
                  <a:spcAft>
                    <a:spcPts val="0"/>
                  </a:spcAft>
                  <a:buNone/>
                </a:pPr>
                <a:r>
                  <a:t/>
                </a:r>
                <a:endParaRPr sz="1800">
                  <a:solidFill>
                    <a:schemeClr val="dk2"/>
                  </a:solidFill>
                  <a:latin typeface="Arial"/>
                  <a:ea typeface="Arial"/>
                  <a:cs typeface="Arial"/>
                  <a:sym typeface="Arial"/>
                </a:endParaRPr>
              </a:p>
            </p:txBody>
          </p:sp>
          <p:sp>
            <p:nvSpPr>
              <p:cNvPr id="117" name="Google Shape;117;p4"/>
              <p:cNvSpPr/>
              <p:nvPr/>
            </p:nvSpPr>
            <p:spPr>
              <a:xfrm>
                <a:off x="3254495" y="1850929"/>
                <a:ext cx="3108960" cy="531637"/>
              </a:xfrm>
              <a:prstGeom prst="rect">
                <a:avLst/>
              </a:prstGeom>
              <a:solidFill>
                <a:schemeClr val="accent2"/>
              </a:solidFill>
              <a:ln>
                <a:noFill/>
              </a:ln>
            </p:spPr>
            <p:txBody>
              <a:bodyPr anchorCtr="0" anchor="ctr" bIns="91425" lIns="182875" spcFirstLastPara="1" rIns="182875" wrap="square" tIns="91425">
                <a:noAutofit/>
              </a:bodyPr>
              <a:lstStyle/>
              <a:p>
                <a:pPr indent="0" lvl="0" marL="0" marR="0" rtl="0" algn="l">
                  <a:spcBef>
                    <a:spcPts val="0"/>
                  </a:spcBef>
                  <a:spcAft>
                    <a:spcPts val="0"/>
                  </a:spcAft>
                  <a:buNone/>
                </a:pPr>
                <a:r>
                  <a:rPr b="1" lang="en-US" sz="1400" cap="none">
                    <a:solidFill>
                      <a:srgbClr val="FFFFFF"/>
                    </a:solidFill>
                    <a:latin typeface="Arial"/>
                    <a:ea typeface="Arial"/>
                    <a:cs typeface="Arial"/>
                    <a:sym typeface="Arial"/>
                  </a:rPr>
                  <a:t>WORKSTREAM 2: </a:t>
                </a:r>
                <a:r>
                  <a:rPr b="1" lang="en-US">
                    <a:solidFill>
                      <a:srgbClr val="FFFFFF"/>
                    </a:solidFill>
                  </a:rPr>
                  <a:t>CUSTOMER </a:t>
                </a:r>
                <a:r>
                  <a:rPr b="1" lang="en-US" sz="1400" cap="none">
                    <a:solidFill>
                      <a:srgbClr val="FFFFFF"/>
                    </a:solidFill>
                    <a:latin typeface="Arial"/>
                    <a:ea typeface="Arial"/>
                    <a:cs typeface="Arial"/>
                    <a:sym typeface="Arial"/>
                  </a:rPr>
                  <a:t>ANALYTICS</a:t>
                </a:r>
                <a:endParaRPr/>
              </a:p>
            </p:txBody>
          </p:sp>
          <p:grpSp>
            <p:nvGrpSpPr>
              <p:cNvPr id="118" name="Google Shape;118;p4"/>
              <p:cNvGrpSpPr/>
              <p:nvPr/>
            </p:nvGrpSpPr>
            <p:grpSpPr>
              <a:xfrm rot="10800000">
                <a:off x="5693376" y="1851462"/>
                <a:ext cx="669617" cy="530571"/>
                <a:chOff x="350057" y="1816844"/>
                <a:chExt cx="504966" cy="400110"/>
              </a:xfrm>
            </p:grpSpPr>
            <p:sp>
              <p:nvSpPr>
                <p:cNvPr id="119" name="Google Shape;119;p4"/>
                <p:cNvSpPr/>
                <p:nvPr/>
              </p:nvSpPr>
              <p:spPr>
                <a:xfrm>
                  <a:off x="737155" y="1816844"/>
                  <a:ext cx="117868" cy="400110"/>
                </a:xfrm>
                <a:prstGeom prst="triangle">
                  <a:avLst>
                    <a:gd fmla="val 0" name="adj"/>
                  </a:avLst>
                </a:prstGeom>
                <a:solidFill>
                  <a:srgbClr val="000000">
                    <a:alpha val="20000"/>
                  </a:srgbClr>
                </a:solidFill>
                <a:ln>
                  <a:noFill/>
                </a:ln>
              </p:spPr>
              <p:txBody>
                <a:bodyPr anchorCtr="0" anchor="ctr" bIns="45700" lIns="91425" spcFirstLastPara="1" rIns="91425" wrap="square" tIns="45700">
                  <a:noAutofit/>
                </a:bodyPr>
                <a:lstStyle/>
                <a:p>
                  <a:pPr indent="0" lvl="0" marL="0" marR="0" rtl="0" algn="ctr">
                    <a:spcBef>
                      <a:spcPts val="0"/>
                    </a:spcBef>
                    <a:spcAft>
                      <a:spcPts val="0"/>
                    </a:spcAft>
                    <a:buNone/>
                  </a:pPr>
                  <a:r>
                    <a:t/>
                  </a:r>
                  <a:endParaRPr sz="1800">
                    <a:solidFill>
                      <a:schemeClr val="lt1"/>
                    </a:solidFill>
                    <a:latin typeface="Arial"/>
                    <a:ea typeface="Arial"/>
                    <a:cs typeface="Arial"/>
                    <a:sym typeface="Arial"/>
                  </a:endParaRPr>
                </a:p>
              </p:txBody>
            </p:sp>
            <p:sp>
              <p:nvSpPr>
                <p:cNvPr id="120" name="Google Shape;120;p4"/>
                <p:cNvSpPr/>
                <p:nvPr/>
              </p:nvSpPr>
              <p:spPr>
                <a:xfrm>
                  <a:off x="350057" y="1816844"/>
                  <a:ext cx="387098" cy="399708"/>
                </a:xfrm>
                <a:prstGeom prst="rect">
                  <a:avLst/>
                </a:prstGeom>
                <a:solidFill>
                  <a:srgbClr val="000000">
                    <a:alpha val="20000"/>
                  </a:srgbClr>
                </a:solidFill>
                <a:ln>
                  <a:noFill/>
                </a:ln>
              </p:spPr>
              <p:txBody>
                <a:bodyPr anchorCtr="0" anchor="ctr" bIns="45700" lIns="91425" spcFirstLastPara="1" rIns="91425" wrap="square" tIns="45700">
                  <a:noAutofit/>
                </a:bodyPr>
                <a:lstStyle/>
                <a:p>
                  <a:pPr indent="0" lvl="0" marL="0" marR="0" rtl="0" algn="ctr">
                    <a:spcBef>
                      <a:spcPts val="0"/>
                    </a:spcBef>
                    <a:spcAft>
                      <a:spcPts val="0"/>
                    </a:spcAft>
                    <a:buNone/>
                  </a:pPr>
                  <a:r>
                    <a:t/>
                  </a:r>
                  <a:endParaRPr sz="1800">
                    <a:solidFill>
                      <a:schemeClr val="lt1"/>
                    </a:solidFill>
                    <a:latin typeface="Arial"/>
                    <a:ea typeface="Arial"/>
                    <a:cs typeface="Arial"/>
                    <a:sym typeface="Arial"/>
                  </a:endParaRPr>
                </a:p>
              </p:txBody>
            </p:sp>
          </p:grpSp>
          <p:pic>
            <p:nvPicPr>
              <p:cNvPr id="121" name="Google Shape;121;p4"/>
              <p:cNvPicPr preferRelativeResize="0"/>
              <p:nvPr/>
            </p:nvPicPr>
            <p:blipFill rotWithShape="1">
              <a:blip r:embed="rId4">
                <a:alphaModFix/>
              </a:blip>
              <a:srcRect b="0" l="0" r="0" t="0"/>
              <a:stretch/>
            </p:blipFill>
            <p:spPr>
              <a:xfrm>
                <a:off x="6019821" y="1937834"/>
                <a:ext cx="224196" cy="371280"/>
              </a:xfrm>
              <a:prstGeom prst="rect">
                <a:avLst/>
              </a:prstGeom>
              <a:noFill/>
              <a:ln>
                <a:noFill/>
              </a:ln>
            </p:spPr>
          </p:pic>
        </p:grpSp>
      </p:grpSp>
      <p:sp>
        <p:nvSpPr>
          <p:cNvPr id="122" name="Google Shape;122;p4"/>
          <p:cNvSpPr txBox="1"/>
          <p:nvPr>
            <p:ph type="title"/>
          </p:nvPr>
        </p:nvSpPr>
        <p:spPr>
          <a:xfrm>
            <a:off x="838200" y="365125"/>
            <a:ext cx="10515600" cy="480131"/>
          </a:xfrm>
          <a:prstGeom prst="rect">
            <a:avLst/>
          </a:prstGeom>
          <a:noFill/>
          <a:ln>
            <a:noFill/>
          </a:ln>
        </p:spPr>
        <p:txBody>
          <a:bodyPr anchorCtr="0" anchor="t" bIns="45700" lIns="0" spcFirstLastPara="1" rIns="0" wrap="square" tIns="45700">
            <a:spAutoFit/>
          </a:bodyPr>
          <a:lstStyle/>
          <a:p>
            <a:pPr indent="0" lvl="0" marL="0" rtl="0" algn="l">
              <a:lnSpc>
                <a:spcPct val="90000"/>
              </a:lnSpc>
              <a:spcBef>
                <a:spcPts val="0"/>
              </a:spcBef>
              <a:spcAft>
                <a:spcPts val="0"/>
              </a:spcAft>
              <a:buClr>
                <a:srgbClr val="C5093B"/>
              </a:buClr>
              <a:buSzPts val="2800"/>
              <a:buFont typeface="Arial"/>
              <a:buNone/>
            </a:pPr>
            <a:r>
              <a:rPr lang="en-US"/>
              <a:t>Project Workstreams</a:t>
            </a:r>
            <a:endParaRPr/>
          </a:p>
        </p:txBody>
      </p:sp>
    </p:spTree>
  </p:cSld>
  <p:clrMapOvr>
    <a:masterClrMapping/>
  </p:clrMapOvr>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126" name="Shape 126"/>
        <p:cNvGrpSpPr/>
        <p:nvPr/>
      </p:nvGrpSpPr>
      <p:grpSpPr>
        <a:xfrm>
          <a:off x="0" y="0"/>
          <a:ext cx="0" cy="0"/>
          <a:chOff x="0" y="0"/>
          <a:chExt cx="0" cy="0"/>
        </a:xfrm>
      </p:grpSpPr>
      <p:sp>
        <p:nvSpPr>
          <p:cNvPr descr="© INSCALE GmbH, 05.05.2010&#10;http://www.presentationload.com/" id="127" name="Google Shape;127;p21"/>
          <p:cNvSpPr/>
          <p:nvPr/>
        </p:nvSpPr>
        <p:spPr>
          <a:xfrm>
            <a:off x="-214308" y="371960"/>
            <a:ext cx="12618180" cy="6130441"/>
          </a:xfrm>
          <a:custGeom>
            <a:rect b="b" l="l" r="r" t="t"/>
            <a:pathLst>
              <a:path extrusionOk="0" h="7159" w="14677">
                <a:moveTo>
                  <a:pt x="12864" y="4079"/>
                </a:moveTo>
                <a:cubicBezTo>
                  <a:pt x="12879" y="4067"/>
                  <a:pt x="12873" y="4060"/>
                  <a:pt x="12860" y="4056"/>
                </a:cubicBezTo>
                <a:cubicBezTo>
                  <a:pt x="12847" y="4052"/>
                  <a:pt x="12841" y="4057"/>
                  <a:pt x="12841" y="4057"/>
                </a:cubicBezTo>
                <a:cubicBezTo>
                  <a:pt x="12841" y="4057"/>
                  <a:pt x="12856" y="4087"/>
                  <a:pt x="12864" y="4079"/>
                </a:cubicBezTo>
                <a:close/>
                <a:moveTo>
                  <a:pt x="12798" y="4178"/>
                </a:moveTo>
                <a:cubicBezTo>
                  <a:pt x="12801" y="4187"/>
                  <a:pt x="12790" y="4195"/>
                  <a:pt x="12798" y="4203"/>
                </a:cubicBezTo>
                <a:cubicBezTo>
                  <a:pt x="12807" y="4210"/>
                  <a:pt x="12845" y="4244"/>
                  <a:pt x="12854" y="4241"/>
                </a:cubicBezTo>
                <a:cubicBezTo>
                  <a:pt x="12863" y="4238"/>
                  <a:pt x="12853" y="4225"/>
                  <a:pt x="12842" y="4219"/>
                </a:cubicBezTo>
                <a:cubicBezTo>
                  <a:pt x="12832" y="4213"/>
                  <a:pt x="12826" y="4201"/>
                  <a:pt x="12836" y="4191"/>
                </a:cubicBezTo>
                <a:cubicBezTo>
                  <a:pt x="12847" y="4181"/>
                  <a:pt x="12866" y="4191"/>
                  <a:pt x="12866" y="4191"/>
                </a:cubicBezTo>
                <a:cubicBezTo>
                  <a:pt x="12875" y="4184"/>
                  <a:pt x="12875" y="4184"/>
                  <a:pt x="12875" y="4184"/>
                </a:cubicBezTo>
                <a:cubicBezTo>
                  <a:pt x="12858" y="4173"/>
                  <a:pt x="12858" y="4173"/>
                  <a:pt x="12858" y="4173"/>
                </a:cubicBezTo>
                <a:cubicBezTo>
                  <a:pt x="12858" y="4173"/>
                  <a:pt x="12872" y="4166"/>
                  <a:pt x="12875" y="4154"/>
                </a:cubicBezTo>
                <a:cubicBezTo>
                  <a:pt x="12878" y="4143"/>
                  <a:pt x="12863" y="4135"/>
                  <a:pt x="12853" y="4134"/>
                </a:cubicBezTo>
                <a:cubicBezTo>
                  <a:pt x="12842" y="4132"/>
                  <a:pt x="12832" y="4159"/>
                  <a:pt x="12820" y="4160"/>
                </a:cubicBezTo>
                <a:cubicBezTo>
                  <a:pt x="12809" y="4162"/>
                  <a:pt x="12812" y="4135"/>
                  <a:pt x="12812" y="4135"/>
                </a:cubicBezTo>
                <a:cubicBezTo>
                  <a:pt x="12812" y="4135"/>
                  <a:pt x="12822" y="4122"/>
                  <a:pt x="12825" y="4112"/>
                </a:cubicBezTo>
                <a:cubicBezTo>
                  <a:pt x="12828" y="4101"/>
                  <a:pt x="12822" y="4096"/>
                  <a:pt x="12822" y="4096"/>
                </a:cubicBezTo>
                <a:cubicBezTo>
                  <a:pt x="12831" y="4069"/>
                  <a:pt x="12831" y="4069"/>
                  <a:pt x="12831" y="4069"/>
                </a:cubicBezTo>
                <a:cubicBezTo>
                  <a:pt x="12803" y="4096"/>
                  <a:pt x="12803" y="4096"/>
                  <a:pt x="12803" y="4096"/>
                </a:cubicBezTo>
                <a:cubicBezTo>
                  <a:pt x="12803" y="4115"/>
                  <a:pt x="12803" y="4115"/>
                  <a:pt x="12803" y="4115"/>
                </a:cubicBezTo>
                <a:cubicBezTo>
                  <a:pt x="12803" y="4115"/>
                  <a:pt x="12780" y="4125"/>
                  <a:pt x="12782" y="4150"/>
                </a:cubicBezTo>
                <a:cubicBezTo>
                  <a:pt x="12784" y="4166"/>
                  <a:pt x="12795" y="4169"/>
                  <a:pt x="12798" y="4178"/>
                </a:cubicBezTo>
                <a:close/>
                <a:moveTo>
                  <a:pt x="12824" y="4278"/>
                </a:moveTo>
                <a:cubicBezTo>
                  <a:pt x="12816" y="4268"/>
                  <a:pt x="12797" y="4255"/>
                  <a:pt x="12797" y="4255"/>
                </a:cubicBezTo>
                <a:cubicBezTo>
                  <a:pt x="12795" y="4285"/>
                  <a:pt x="12795" y="4285"/>
                  <a:pt x="12795" y="4285"/>
                </a:cubicBezTo>
                <a:cubicBezTo>
                  <a:pt x="12807" y="4293"/>
                  <a:pt x="12833" y="4289"/>
                  <a:pt x="12824" y="4278"/>
                </a:cubicBezTo>
                <a:close/>
                <a:moveTo>
                  <a:pt x="12907" y="4323"/>
                </a:moveTo>
                <a:cubicBezTo>
                  <a:pt x="12929" y="4314"/>
                  <a:pt x="12927" y="4298"/>
                  <a:pt x="12927" y="4298"/>
                </a:cubicBezTo>
                <a:cubicBezTo>
                  <a:pt x="12882" y="4297"/>
                  <a:pt x="12882" y="4297"/>
                  <a:pt x="12882" y="4297"/>
                </a:cubicBezTo>
                <a:cubicBezTo>
                  <a:pt x="12882" y="4297"/>
                  <a:pt x="12885" y="4332"/>
                  <a:pt x="12907" y="4323"/>
                </a:cubicBezTo>
                <a:close/>
                <a:moveTo>
                  <a:pt x="12597" y="4755"/>
                </a:moveTo>
                <a:cubicBezTo>
                  <a:pt x="12608" y="4764"/>
                  <a:pt x="12648" y="4727"/>
                  <a:pt x="12663" y="4713"/>
                </a:cubicBezTo>
                <a:cubicBezTo>
                  <a:pt x="12666" y="4710"/>
                  <a:pt x="12668" y="4708"/>
                  <a:pt x="12668" y="4708"/>
                </a:cubicBezTo>
                <a:cubicBezTo>
                  <a:pt x="12678" y="4705"/>
                  <a:pt x="12678" y="4705"/>
                  <a:pt x="12678" y="4705"/>
                </a:cubicBezTo>
                <a:cubicBezTo>
                  <a:pt x="12700" y="4689"/>
                  <a:pt x="12700" y="4689"/>
                  <a:pt x="12700" y="4689"/>
                </a:cubicBezTo>
                <a:cubicBezTo>
                  <a:pt x="12700" y="4689"/>
                  <a:pt x="12709" y="4698"/>
                  <a:pt x="12722" y="4695"/>
                </a:cubicBezTo>
                <a:cubicBezTo>
                  <a:pt x="12735" y="4692"/>
                  <a:pt x="12779" y="4645"/>
                  <a:pt x="12779" y="4645"/>
                </a:cubicBezTo>
                <a:cubicBezTo>
                  <a:pt x="12763" y="4636"/>
                  <a:pt x="12763" y="4636"/>
                  <a:pt x="12763" y="4636"/>
                </a:cubicBezTo>
                <a:cubicBezTo>
                  <a:pt x="12750" y="4650"/>
                  <a:pt x="12750" y="4650"/>
                  <a:pt x="12750" y="4650"/>
                </a:cubicBezTo>
                <a:cubicBezTo>
                  <a:pt x="12750" y="4650"/>
                  <a:pt x="12707" y="4651"/>
                  <a:pt x="12695" y="4651"/>
                </a:cubicBezTo>
                <a:cubicBezTo>
                  <a:pt x="12684" y="4651"/>
                  <a:pt x="12678" y="4669"/>
                  <a:pt x="12678" y="4669"/>
                </a:cubicBezTo>
                <a:cubicBezTo>
                  <a:pt x="12678" y="4669"/>
                  <a:pt x="12672" y="4668"/>
                  <a:pt x="12664" y="4669"/>
                </a:cubicBezTo>
                <a:cubicBezTo>
                  <a:pt x="12664" y="4669"/>
                  <a:pt x="12664" y="4669"/>
                  <a:pt x="12664" y="4669"/>
                </a:cubicBezTo>
                <a:cubicBezTo>
                  <a:pt x="12659" y="4670"/>
                  <a:pt x="12652" y="4671"/>
                  <a:pt x="12647" y="4675"/>
                </a:cubicBezTo>
                <a:cubicBezTo>
                  <a:pt x="12643" y="4677"/>
                  <a:pt x="12640" y="4681"/>
                  <a:pt x="12639" y="4684"/>
                </a:cubicBezTo>
                <a:cubicBezTo>
                  <a:pt x="12639" y="4684"/>
                  <a:pt x="12639" y="4684"/>
                  <a:pt x="12639" y="4684"/>
                </a:cubicBezTo>
                <a:cubicBezTo>
                  <a:pt x="12622" y="4683"/>
                  <a:pt x="12622" y="4683"/>
                  <a:pt x="12622" y="4683"/>
                </a:cubicBezTo>
                <a:cubicBezTo>
                  <a:pt x="12611" y="4694"/>
                  <a:pt x="12611" y="4694"/>
                  <a:pt x="12611" y="4694"/>
                </a:cubicBezTo>
                <a:cubicBezTo>
                  <a:pt x="12615" y="4703"/>
                  <a:pt x="12615" y="4703"/>
                  <a:pt x="12615" y="4703"/>
                </a:cubicBezTo>
                <a:cubicBezTo>
                  <a:pt x="12614" y="4703"/>
                  <a:pt x="12613" y="4704"/>
                  <a:pt x="12612" y="4705"/>
                </a:cubicBezTo>
                <a:cubicBezTo>
                  <a:pt x="12600" y="4717"/>
                  <a:pt x="12577" y="4740"/>
                  <a:pt x="12597" y="4755"/>
                </a:cubicBezTo>
                <a:close/>
                <a:moveTo>
                  <a:pt x="12470" y="4507"/>
                </a:moveTo>
                <a:cubicBezTo>
                  <a:pt x="12451" y="4541"/>
                  <a:pt x="12451" y="4541"/>
                  <a:pt x="12451" y="4541"/>
                </a:cubicBezTo>
                <a:cubicBezTo>
                  <a:pt x="12465" y="4540"/>
                  <a:pt x="12465" y="4540"/>
                  <a:pt x="12465" y="4540"/>
                </a:cubicBezTo>
                <a:cubicBezTo>
                  <a:pt x="12473" y="4522"/>
                  <a:pt x="12473" y="4522"/>
                  <a:pt x="12473" y="4522"/>
                </a:cubicBezTo>
                <a:lnTo>
                  <a:pt x="12470" y="4507"/>
                </a:lnTo>
                <a:close/>
                <a:moveTo>
                  <a:pt x="12469" y="4666"/>
                </a:moveTo>
                <a:cubicBezTo>
                  <a:pt x="12531" y="4665"/>
                  <a:pt x="12531" y="4665"/>
                  <a:pt x="12531" y="4665"/>
                </a:cubicBezTo>
                <a:cubicBezTo>
                  <a:pt x="12563" y="4660"/>
                  <a:pt x="12563" y="4660"/>
                  <a:pt x="12563" y="4660"/>
                </a:cubicBezTo>
                <a:cubicBezTo>
                  <a:pt x="12589" y="4637"/>
                  <a:pt x="12589" y="4637"/>
                  <a:pt x="12589" y="4637"/>
                </a:cubicBezTo>
                <a:cubicBezTo>
                  <a:pt x="12588" y="4627"/>
                  <a:pt x="12588" y="4627"/>
                  <a:pt x="12588" y="4627"/>
                </a:cubicBezTo>
                <a:cubicBezTo>
                  <a:pt x="12567" y="4636"/>
                  <a:pt x="12567" y="4636"/>
                  <a:pt x="12567" y="4636"/>
                </a:cubicBezTo>
                <a:cubicBezTo>
                  <a:pt x="12548" y="4652"/>
                  <a:pt x="12548" y="4652"/>
                  <a:pt x="12548" y="4652"/>
                </a:cubicBezTo>
                <a:cubicBezTo>
                  <a:pt x="12548" y="4652"/>
                  <a:pt x="12537" y="4640"/>
                  <a:pt x="12526" y="4641"/>
                </a:cubicBezTo>
                <a:cubicBezTo>
                  <a:pt x="12516" y="4643"/>
                  <a:pt x="12504" y="4656"/>
                  <a:pt x="12504" y="4656"/>
                </a:cubicBezTo>
                <a:cubicBezTo>
                  <a:pt x="12504" y="4656"/>
                  <a:pt x="12494" y="4630"/>
                  <a:pt x="12476" y="4633"/>
                </a:cubicBezTo>
                <a:cubicBezTo>
                  <a:pt x="12459" y="4636"/>
                  <a:pt x="12437" y="4662"/>
                  <a:pt x="12437" y="4662"/>
                </a:cubicBezTo>
                <a:cubicBezTo>
                  <a:pt x="12413" y="4660"/>
                  <a:pt x="12413" y="4660"/>
                  <a:pt x="12413" y="4660"/>
                </a:cubicBezTo>
                <a:cubicBezTo>
                  <a:pt x="12406" y="4672"/>
                  <a:pt x="12406" y="4672"/>
                  <a:pt x="12406" y="4672"/>
                </a:cubicBezTo>
                <a:cubicBezTo>
                  <a:pt x="12422" y="4669"/>
                  <a:pt x="12422" y="4669"/>
                  <a:pt x="12422" y="4669"/>
                </a:cubicBezTo>
                <a:cubicBezTo>
                  <a:pt x="12422" y="4669"/>
                  <a:pt x="12434" y="4675"/>
                  <a:pt x="12446" y="4680"/>
                </a:cubicBezTo>
                <a:cubicBezTo>
                  <a:pt x="12457" y="4684"/>
                  <a:pt x="12469" y="4666"/>
                  <a:pt x="12469" y="4666"/>
                </a:cubicBezTo>
                <a:close/>
                <a:moveTo>
                  <a:pt x="12599" y="4459"/>
                </a:moveTo>
                <a:cubicBezTo>
                  <a:pt x="12600" y="4443"/>
                  <a:pt x="12596" y="4431"/>
                  <a:pt x="12596" y="4431"/>
                </a:cubicBezTo>
                <a:cubicBezTo>
                  <a:pt x="12596" y="4431"/>
                  <a:pt x="12556" y="4399"/>
                  <a:pt x="12558" y="4387"/>
                </a:cubicBezTo>
                <a:cubicBezTo>
                  <a:pt x="12560" y="4375"/>
                  <a:pt x="12579" y="4362"/>
                  <a:pt x="12568" y="4352"/>
                </a:cubicBezTo>
                <a:cubicBezTo>
                  <a:pt x="12556" y="4342"/>
                  <a:pt x="12547" y="4339"/>
                  <a:pt x="12546" y="4331"/>
                </a:cubicBezTo>
                <a:cubicBezTo>
                  <a:pt x="12546" y="4322"/>
                  <a:pt x="12559" y="4303"/>
                  <a:pt x="12545" y="4297"/>
                </a:cubicBezTo>
                <a:cubicBezTo>
                  <a:pt x="12532" y="4292"/>
                  <a:pt x="12512" y="4275"/>
                  <a:pt x="12512" y="4275"/>
                </a:cubicBezTo>
                <a:cubicBezTo>
                  <a:pt x="12512" y="4275"/>
                  <a:pt x="12534" y="4280"/>
                  <a:pt x="12544" y="4270"/>
                </a:cubicBezTo>
                <a:cubicBezTo>
                  <a:pt x="12553" y="4261"/>
                  <a:pt x="12563" y="4239"/>
                  <a:pt x="12563" y="4239"/>
                </a:cubicBezTo>
                <a:cubicBezTo>
                  <a:pt x="12563" y="4239"/>
                  <a:pt x="12602" y="4241"/>
                  <a:pt x="12603" y="4233"/>
                </a:cubicBezTo>
                <a:cubicBezTo>
                  <a:pt x="12604" y="4224"/>
                  <a:pt x="12593" y="4209"/>
                  <a:pt x="12583" y="4208"/>
                </a:cubicBezTo>
                <a:cubicBezTo>
                  <a:pt x="12572" y="4208"/>
                  <a:pt x="12565" y="4226"/>
                  <a:pt x="12565" y="4226"/>
                </a:cubicBezTo>
                <a:cubicBezTo>
                  <a:pt x="12565" y="4226"/>
                  <a:pt x="12536" y="4218"/>
                  <a:pt x="12524" y="4222"/>
                </a:cubicBezTo>
                <a:cubicBezTo>
                  <a:pt x="12513" y="4225"/>
                  <a:pt x="12507" y="4254"/>
                  <a:pt x="12495" y="4255"/>
                </a:cubicBezTo>
                <a:cubicBezTo>
                  <a:pt x="12484" y="4255"/>
                  <a:pt x="12485" y="4235"/>
                  <a:pt x="12468" y="4225"/>
                </a:cubicBezTo>
                <a:cubicBezTo>
                  <a:pt x="12451" y="4215"/>
                  <a:pt x="12443" y="4218"/>
                  <a:pt x="12443" y="4218"/>
                </a:cubicBezTo>
                <a:cubicBezTo>
                  <a:pt x="12443" y="4218"/>
                  <a:pt x="12448" y="4159"/>
                  <a:pt x="12464" y="4158"/>
                </a:cubicBezTo>
                <a:cubicBezTo>
                  <a:pt x="12480" y="4157"/>
                  <a:pt x="12510" y="4168"/>
                  <a:pt x="12524" y="4164"/>
                </a:cubicBezTo>
                <a:cubicBezTo>
                  <a:pt x="12537" y="4161"/>
                  <a:pt x="12528" y="4149"/>
                  <a:pt x="12539" y="4151"/>
                </a:cubicBezTo>
                <a:cubicBezTo>
                  <a:pt x="12551" y="4152"/>
                  <a:pt x="12604" y="4178"/>
                  <a:pt x="12614" y="4179"/>
                </a:cubicBezTo>
                <a:cubicBezTo>
                  <a:pt x="12625" y="4179"/>
                  <a:pt x="12627" y="4170"/>
                  <a:pt x="12634" y="4166"/>
                </a:cubicBezTo>
                <a:cubicBezTo>
                  <a:pt x="12641" y="4162"/>
                  <a:pt x="12654" y="4168"/>
                  <a:pt x="12663" y="4163"/>
                </a:cubicBezTo>
                <a:cubicBezTo>
                  <a:pt x="12672" y="4157"/>
                  <a:pt x="12661" y="4152"/>
                  <a:pt x="12670" y="4143"/>
                </a:cubicBezTo>
                <a:cubicBezTo>
                  <a:pt x="12678" y="4134"/>
                  <a:pt x="12698" y="4125"/>
                  <a:pt x="12698" y="4125"/>
                </a:cubicBezTo>
                <a:cubicBezTo>
                  <a:pt x="12691" y="4105"/>
                  <a:pt x="12691" y="4105"/>
                  <a:pt x="12691" y="4105"/>
                </a:cubicBezTo>
                <a:cubicBezTo>
                  <a:pt x="12639" y="4127"/>
                  <a:pt x="12639" y="4127"/>
                  <a:pt x="12639" y="4127"/>
                </a:cubicBezTo>
                <a:cubicBezTo>
                  <a:pt x="12639" y="4127"/>
                  <a:pt x="12651" y="4140"/>
                  <a:pt x="12636" y="4141"/>
                </a:cubicBezTo>
                <a:cubicBezTo>
                  <a:pt x="12621" y="4142"/>
                  <a:pt x="12608" y="4133"/>
                  <a:pt x="12599" y="4133"/>
                </a:cubicBezTo>
                <a:cubicBezTo>
                  <a:pt x="12591" y="4133"/>
                  <a:pt x="12576" y="4146"/>
                  <a:pt x="12566" y="4144"/>
                </a:cubicBezTo>
                <a:cubicBezTo>
                  <a:pt x="12555" y="4141"/>
                  <a:pt x="12530" y="4129"/>
                  <a:pt x="12523" y="4129"/>
                </a:cubicBezTo>
                <a:cubicBezTo>
                  <a:pt x="12516" y="4129"/>
                  <a:pt x="12500" y="4129"/>
                  <a:pt x="12500" y="4129"/>
                </a:cubicBezTo>
                <a:cubicBezTo>
                  <a:pt x="12508" y="4117"/>
                  <a:pt x="12508" y="4117"/>
                  <a:pt x="12508" y="4117"/>
                </a:cubicBezTo>
                <a:cubicBezTo>
                  <a:pt x="12508" y="4117"/>
                  <a:pt x="12481" y="4110"/>
                  <a:pt x="12478" y="4113"/>
                </a:cubicBezTo>
                <a:cubicBezTo>
                  <a:pt x="12474" y="4117"/>
                  <a:pt x="12479" y="4134"/>
                  <a:pt x="12467" y="4141"/>
                </a:cubicBezTo>
                <a:cubicBezTo>
                  <a:pt x="12456" y="4148"/>
                  <a:pt x="12434" y="4146"/>
                  <a:pt x="12434" y="4152"/>
                </a:cubicBezTo>
                <a:cubicBezTo>
                  <a:pt x="12434" y="4158"/>
                  <a:pt x="12433" y="4172"/>
                  <a:pt x="12433" y="4172"/>
                </a:cubicBezTo>
                <a:cubicBezTo>
                  <a:pt x="12419" y="4174"/>
                  <a:pt x="12419" y="4174"/>
                  <a:pt x="12419" y="4174"/>
                </a:cubicBezTo>
                <a:cubicBezTo>
                  <a:pt x="12429" y="4221"/>
                  <a:pt x="12429" y="4221"/>
                  <a:pt x="12429" y="4221"/>
                </a:cubicBezTo>
                <a:cubicBezTo>
                  <a:pt x="12419" y="4220"/>
                  <a:pt x="12419" y="4220"/>
                  <a:pt x="12419" y="4220"/>
                </a:cubicBezTo>
                <a:cubicBezTo>
                  <a:pt x="12419" y="4220"/>
                  <a:pt x="12402" y="4245"/>
                  <a:pt x="12400" y="4255"/>
                </a:cubicBezTo>
                <a:cubicBezTo>
                  <a:pt x="12397" y="4265"/>
                  <a:pt x="12416" y="4285"/>
                  <a:pt x="12408" y="4294"/>
                </a:cubicBezTo>
                <a:cubicBezTo>
                  <a:pt x="12400" y="4303"/>
                  <a:pt x="12377" y="4309"/>
                  <a:pt x="12375" y="4322"/>
                </a:cubicBezTo>
                <a:cubicBezTo>
                  <a:pt x="12374" y="4336"/>
                  <a:pt x="12385" y="4349"/>
                  <a:pt x="12385" y="4349"/>
                </a:cubicBezTo>
                <a:cubicBezTo>
                  <a:pt x="12385" y="4349"/>
                  <a:pt x="12369" y="4363"/>
                  <a:pt x="12379" y="4370"/>
                </a:cubicBezTo>
                <a:cubicBezTo>
                  <a:pt x="12390" y="4377"/>
                  <a:pt x="12408" y="4362"/>
                  <a:pt x="12412" y="4374"/>
                </a:cubicBezTo>
                <a:cubicBezTo>
                  <a:pt x="12416" y="4386"/>
                  <a:pt x="12408" y="4395"/>
                  <a:pt x="12408" y="4395"/>
                </a:cubicBezTo>
                <a:cubicBezTo>
                  <a:pt x="12419" y="4409"/>
                  <a:pt x="12419" y="4409"/>
                  <a:pt x="12419" y="4409"/>
                </a:cubicBezTo>
                <a:cubicBezTo>
                  <a:pt x="12413" y="4453"/>
                  <a:pt x="12413" y="4453"/>
                  <a:pt x="12413" y="4453"/>
                </a:cubicBezTo>
                <a:cubicBezTo>
                  <a:pt x="12413" y="4453"/>
                  <a:pt x="12389" y="4467"/>
                  <a:pt x="12401" y="4491"/>
                </a:cubicBezTo>
                <a:cubicBezTo>
                  <a:pt x="12412" y="4515"/>
                  <a:pt x="12428" y="4515"/>
                  <a:pt x="12446" y="4497"/>
                </a:cubicBezTo>
                <a:cubicBezTo>
                  <a:pt x="12463" y="4480"/>
                  <a:pt x="12443" y="4451"/>
                  <a:pt x="12443" y="4451"/>
                </a:cubicBezTo>
                <a:cubicBezTo>
                  <a:pt x="12443" y="4451"/>
                  <a:pt x="12464" y="4436"/>
                  <a:pt x="12464" y="4415"/>
                </a:cubicBezTo>
                <a:cubicBezTo>
                  <a:pt x="12463" y="4393"/>
                  <a:pt x="12472" y="4374"/>
                  <a:pt x="12465" y="4361"/>
                </a:cubicBezTo>
                <a:cubicBezTo>
                  <a:pt x="12457" y="4349"/>
                  <a:pt x="12453" y="4324"/>
                  <a:pt x="12455" y="4319"/>
                </a:cubicBezTo>
                <a:cubicBezTo>
                  <a:pt x="12456" y="4314"/>
                  <a:pt x="12462" y="4286"/>
                  <a:pt x="12472" y="4304"/>
                </a:cubicBezTo>
                <a:cubicBezTo>
                  <a:pt x="12483" y="4322"/>
                  <a:pt x="12483" y="4353"/>
                  <a:pt x="12483" y="4353"/>
                </a:cubicBezTo>
                <a:cubicBezTo>
                  <a:pt x="12506" y="4379"/>
                  <a:pt x="12506" y="4379"/>
                  <a:pt x="12506" y="4379"/>
                </a:cubicBezTo>
                <a:cubicBezTo>
                  <a:pt x="12503" y="4414"/>
                  <a:pt x="12503" y="4414"/>
                  <a:pt x="12503" y="4414"/>
                </a:cubicBezTo>
                <a:cubicBezTo>
                  <a:pt x="12520" y="4436"/>
                  <a:pt x="12520" y="4436"/>
                  <a:pt x="12520" y="4436"/>
                </a:cubicBezTo>
                <a:cubicBezTo>
                  <a:pt x="12521" y="4460"/>
                  <a:pt x="12521" y="4460"/>
                  <a:pt x="12521" y="4460"/>
                </a:cubicBezTo>
                <a:cubicBezTo>
                  <a:pt x="12530" y="4509"/>
                  <a:pt x="12530" y="4509"/>
                  <a:pt x="12530" y="4509"/>
                </a:cubicBezTo>
                <a:cubicBezTo>
                  <a:pt x="12540" y="4499"/>
                  <a:pt x="12540" y="4499"/>
                  <a:pt x="12540" y="4499"/>
                </a:cubicBezTo>
                <a:cubicBezTo>
                  <a:pt x="12567" y="4507"/>
                  <a:pt x="12567" y="4507"/>
                  <a:pt x="12567" y="4507"/>
                </a:cubicBezTo>
                <a:cubicBezTo>
                  <a:pt x="12567" y="4507"/>
                  <a:pt x="12569" y="4490"/>
                  <a:pt x="12568" y="4477"/>
                </a:cubicBezTo>
                <a:cubicBezTo>
                  <a:pt x="12567" y="4464"/>
                  <a:pt x="12574" y="4457"/>
                  <a:pt x="12574" y="4457"/>
                </a:cubicBezTo>
                <a:cubicBezTo>
                  <a:pt x="12580" y="4473"/>
                  <a:pt x="12580" y="4473"/>
                  <a:pt x="12580" y="4473"/>
                </a:cubicBezTo>
                <a:cubicBezTo>
                  <a:pt x="12580" y="4473"/>
                  <a:pt x="12597" y="4475"/>
                  <a:pt x="12599" y="4459"/>
                </a:cubicBezTo>
                <a:close/>
                <a:moveTo>
                  <a:pt x="12583" y="4272"/>
                </a:moveTo>
                <a:cubicBezTo>
                  <a:pt x="12583" y="4285"/>
                  <a:pt x="12583" y="4285"/>
                  <a:pt x="12583" y="4285"/>
                </a:cubicBezTo>
                <a:cubicBezTo>
                  <a:pt x="12583" y="4285"/>
                  <a:pt x="12598" y="4297"/>
                  <a:pt x="12605" y="4280"/>
                </a:cubicBezTo>
                <a:cubicBezTo>
                  <a:pt x="12613" y="4264"/>
                  <a:pt x="12583" y="4272"/>
                  <a:pt x="12583" y="4272"/>
                </a:cubicBezTo>
                <a:close/>
                <a:moveTo>
                  <a:pt x="13088" y="6319"/>
                </a:moveTo>
                <a:cubicBezTo>
                  <a:pt x="13081" y="6346"/>
                  <a:pt x="13081" y="6346"/>
                  <a:pt x="13081" y="6346"/>
                </a:cubicBezTo>
                <a:cubicBezTo>
                  <a:pt x="13115" y="6314"/>
                  <a:pt x="13115" y="6314"/>
                  <a:pt x="13115" y="6314"/>
                </a:cubicBezTo>
                <a:lnTo>
                  <a:pt x="13088" y="6319"/>
                </a:lnTo>
                <a:close/>
                <a:moveTo>
                  <a:pt x="11727" y="4185"/>
                </a:moveTo>
                <a:cubicBezTo>
                  <a:pt x="11710" y="4172"/>
                  <a:pt x="11710" y="4172"/>
                  <a:pt x="11710" y="4172"/>
                </a:cubicBezTo>
                <a:cubicBezTo>
                  <a:pt x="11708" y="4195"/>
                  <a:pt x="11708" y="4195"/>
                  <a:pt x="11708" y="4195"/>
                </a:cubicBezTo>
                <a:cubicBezTo>
                  <a:pt x="11727" y="4206"/>
                  <a:pt x="11727" y="4206"/>
                  <a:pt x="11727" y="4206"/>
                </a:cubicBezTo>
                <a:lnTo>
                  <a:pt x="11727" y="4185"/>
                </a:lnTo>
                <a:close/>
                <a:moveTo>
                  <a:pt x="11714" y="4134"/>
                </a:moveTo>
                <a:cubicBezTo>
                  <a:pt x="11709" y="4122"/>
                  <a:pt x="11695" y="4129"/>
                  <a:pt x="11705" y="4145"/>
                </a:cubicBezTo>
                <a:cubicBezTo>
                  <a:pt x="11716" y="4164"/>
                  <a:pt x="11719" y="4146"/>
                  <a:pt x="11714" y="4134"/>
                </a:cubicBezTo>
                <a:close/>
                <a:moveTo>
                  <a:pt x="11565" y="4097"/>
                </a:moveTo>
                <a:cubicBezTo>
                  <a:pt x="11569" y="4111"/>
                  <a:pt x="11594" y="4094"/>
                  <a:pt x="11582" y="4085"/>
                </a:cubicBezTo>
                <a:cubicBezTo>
                  <a:pt x="11570" y="4075"/>
                  <a:pt x="11559" y="4081"/>
                  <a:pt x="11565" y="4097"/>
                </a:cubicBezTo>
                <a:close/>
                <a:moveTo>
                  <a:pt x="11290" y="4037"/>
                </a:moveTo>
                <a:cubicBezTo>
                  <a:pt x="11285" y="4042"/>
                  <a:pt x="11283" y="4058"/>
                  <a:pt x="11295" y="4059"/>
                </a:cubicBezTo>
                <a:cubicBezTo>
                  <a:pt x="11307" y="4061"/>
                  <a:pt x="11310" y="4074"/>
                  <a:pt x="11321" y="4066"/>
                </a:cubicBezTo>
                <a:cubicBezTo>
                  <a:pt x="11328" y="4060"/>
                  <a:pt x="11295" y="4031"/>
                  <a:pt x="11290" y="4037"/>
                </a:cubicBezTo>
                <a:close/>
                <a:moveTo>
                  <a:pt x="12963" y="4199"/>
                </a:moveTo>
                <a:cubicBezTo>
                  <a:pt x="12946" y="4196"/>
                  <a:pt x="12935" y="4201"/>
                  <a:pt x="12935" y="4201"/>
                </a:cubicBezTo>
                <a:cubicBezTo>
                  <a:pt x="12939" y="4219"/>
                  <a:pt x="12939" y="4219"/>
                  <a:pt x="12939" y="4219"/>
                </a:cubicBezTo>
                <a:cubicBezTo>
                  <a:pt x="12948" y="4218"/>
                  <a:pt x="12976" y="4213"/>
                  <a:pt x="12976" y="4213"/>
                </a:cubicBezTo>
                <a:cubicBezTo>
                  <a:pt x="12976" y="4213"/>
                  <a:pt x="12980" y="4201"/>
                  <a:pt x="12963" y="4199"/>
                </a:cubicBezTo>
                <a:close/>
                <a:moveTo>
                  <a:pt x="11713" y="4250"/>
                </a:moveTo>
                <a:cubicBezTo>
                  <a:pt x="11710" y="4216"/>
                  <a:pt x="11710" y="4216"/>
                  <a:pt x="11710" y="4216"/>
                </a:cubicBezTo>
                <a:cubicBezTo>
                  <a:pt x="11696" y="4229"/>
                  <a:pt x="11696" y="4229"/>
                  <a:pt x="11696" y="4229"/>
                </a:cubicBezTo>
                <a:lnTo>
                  <a:pt x="11713" y="4250"/>
                </a:lnTo>
                <a:close/>
                <a:moveTo>
                  <a:pt x="12415" y="4728"/>
                </a:moveTo>
                <a:cubicBezTo>
                  <a:pt x="12428" y="4728"/>
                  <a:pt x="12418" y="4737"/>
                  <a:pt x="12428" y="4747"/>
                </a:cubicBezTo>
                <a:cubicBezTo>
                  <a:pt x="12439" y="4757"/>
                  <a:pt x="12459" y="4748"/>
                  <a:pt x="12459" y="4748"/>
                </a:cubicBezTo>
                <a:cubicBezTo>
                  <a:pt x="12459" y="4748"/>
                  <a:pt x="12455" y="4729"/>
                  <a:pt x="12442" y="4712"/>
                </a:cubicBezTo>
                <a:cubicBezTo>
                  <a:pt x="12428" y="4694"/>
                  <a:pt x="12403" y="4707"/>
                  <a:pt x="12403" y="4707"/>
                </a:cubicBezTo>
                <a:cubicBezTo>
                  <a:pt x="12380" y="4700"/>
                  <a:pt x="12380" y="4700"/>
                  <a:pt x="12380" y="4700"/>
                </a:cubicBezTo>
                <a:cubicBezTo>
                  <a:pt x="12373" y="4706"/>
                  <a:pt x="12374" y="4707"/>
                  <a:pt x="12384" y="4723"/>
                </a:cubicBezTo>
                <a:cubicBezTo>
                  <a:pt x="12395" y="4739"/>
                  <a:pt x="12402" y="4728"/>
                  <a:pt x="12415" y="4728"/>
                </a:cubicBezTo>
                <a:close/>
                <a:moveTo>
                  <a:pt x="11858" y="4331"/>
                </a:moveTo>
                <a:cubicBezTo>
                  <a:pt x="11839" y="4332"/>
                  <a:pt x="11845" y="4351"/>
                  <a:pt x="11851" y="4369"/>
                </a:cubicBezTo>
                <a:cubicBezTo>
                  <a:pt x="11866" y="4363"/>
                  <a:pt x="11866" y="4363"/>
                  <a:pt x="11866" y="4363"/>
                </a:cubicBezTo>
                <a:cubicBezTo>
                  <a:pt x="11879" y="4376"/>
                  <a:pt x="11879" y="4376"/>
                  <a:pt x="11879" y="4376"/>
                </a:cubicBezTo>
                <a:cubicBezTo>
                  <a:pt x="11885" y="4359"/>
                  <a:pt x="11885" y="4359"/>
                  <a:pt x="11885" y="4359"/>
                </a:cubicBezTo>
                <a:cubicBezTo>
                  <a:pt x="11885" y="4359"/>
                  <a:pt x="11877" y="4329"/>
                  <a:pt x="11858" y="4331"/>
                </a:cubicBezTo>
                <a:close/>
                <a:moveTo>
                  <a:pt x="11735" y="4304"/>
                </a:moveTo>
                <a:cubicBezTo>
                  <a:pt x="11762" y="4303"/>
                  <a:pt x="11762" y="4303"/>
                  <a:pt x="11762" y="4303"/>
                </a:cubicBezTo>
                <a:cubicBezTo>
                  <a:pt x="11762" y="4303"/>
                  <a:pt x="11767" y="4332"/>
                  <a:pt x="11778" y="4344"/>
                </a:cubicBezTo>
                <a:cubicBezTo>
                  <a:pt x="11788" y="4356"/>
                  <a:pt x="11814" y="4356"/>
                  <a:pt x="11814" y="4356"/>
                </a:cubicBezTo>
                <a:cubicBezTo>
                  <a:pt x="11813" y="4328"/>
                  <a:pt x="11813" y="4328"/>
                  <a:pt x="11813" y="4328"/>
                </a:cubicBezTo>
                <a:cubicBezTo>
                  <a:pt x="11801" y="4320"/>
                  <a:pt x="11801" y="4320"/>
                  <a:pt x="11801" y="4320"/>
                </a:cubicBezTo>
                <a:cubicBezTo>
                  <a:pt x="11800" y="4300"/>
                  <a:pt x="11800" y="4300"/>
                  <a:pt x="11800" y="4300"/>
                </a:cubicBezTo>
                <a:cubicBezTo>
                  <a:pt x="11800" y="4300"/>
                  <a:pt x="11785" y="4275"/>
                  <a:pt x="11763" y="4269"/>
                </a:cubicBezTo>
                <a:cubicBezTo>
                  <a:pt x="11741" y="4263"/>
                  <a:pt x="11742" y="4288"/>
                  <a:pt x="11742" y="4288"/>
                </a:cubicBezTo>
                <a:cubicBezTo>
                  <a:pt x="11742" y="4288"/>
                  <a:pt x="11728" y="4284"/>
                  <a:pt x="11735" y="4304"/>
                </a:cubicBezTo>
                <a:close/>
                <a:moveTo>
                  <a:pt x="12723" y="3710"/>
                </a:moveTo>
                <a:cubicBezTo>
                  <a:pt x="12712" y="3705"/>
                  <a:pt x="12687" y="3669"/>
                  <a:pt x="12678" y="3677"/>
                </a:cubicBezTo>
                <a:cubicBezTo>
                  <a:pt x="12670" y="3685"/>
                  <a:pt x="12702" y="3708"/>
                  <a:pt x="12695" y="3712"/>
                </a:cubicBezTo>
                <a:cubicBezTo>
                  <a:pt x="12688" y="3715"/>
                  <a:pt x="12658" y="3718"/>
                  <a:pt x="12658" y="3718"/>
                </a:cubicBezTo>
                <a:cubicBezTo>
                  <a:pt x="12658" y="3739"/>
                  <a:pt x="12658" y="3739"/>
                  <a:pt x="12658" y="3739"/>
                </a:cubicBezTo>
                <a:cubicBezTo>
                  <a:pt x="12644" y="3738"/>
                  <a:pt x="12644" y="3738"/>
                  <a:pt x="12644" y="3738"/>
                </a:cubicBezTo>
                <a:cubicBezTo>
                  <a:pt x="12640" y="3753"/>
                  <a:pt x="12640" y="3753"/>
                  <a:pt x="12640" y="3753"/>
                </a:cubicBezTo>
                <a:cubicBezTo>
                  <a:pt x="12623" y="3762"/>
                  <a:pt x="12623" y="3762"/>
                  <a:pt x="12623" y="3762"/>
                </a:cubicBezTo>
                <a:cubicBezTo>
                  <a:pt x="12623" y="3762"/>
                  <a:pt x="12598" y="3746"/>
                  <a:pt x="12589" y="3754"/>
                </a:cubicBezTo>
                <a:cubicBezTo>
                  <a:pt x="12581" y="3762"/>
                  <a:pt x="12565" y="3790"/>
                  <a:pt x="12565" y="3790"/>
                </a:cubicBezTo>
                <a:cubicBezTo>
                  <a:pt x="12565" y="3790"/>
                  <a:pt x="12555" y="3771"/>
                  <a:pt x="12550" y="3780"/>
                </a:cubicBezTo>
                <a:cubicBezTo>
                  <a:pt x="12545" y="3790"/>
                  <a:pt x="12533" y="3813"/>
                  <a:pt x="12533" y="3813"/>
                </a:cubicBezTo>
                <a:cubicBezTo>
                  <a:pt x="12546" y="3826"/>
                  <a:pt x="12546" y="3826"/>
                  <a:pt x="12546" y="3826"/>
                </a:cubicBezTo>
                <a:cubicBezTo>
                  <a:pt x="12560" y="3813"/>
                  <a:pt x="12560" y="3813"/>
                  <a:pt x="12560" y="3813"/>
                </a:cubicBezTo>
                <a:cubicBezTo>
                  <a:pt x="12569" y="3829"/>
                  <a:pt x="12569" y="3829"/>
                  <a:pt x="12569" y="3829"/>
                </a:cubicBezTo>
                <a:cubicBezTo>
                  <a:pt x="12569" y="3829"/>
                  <a:pt x="12596" y="3807"/>
                  <a:pt x="12603" y="3807"/>
                </a:cubicBezTo>
                <a:cubicBezTo>
                  <a:pt x="12610" y="3807"/>
                  <a:pt x="12632" y="3828"/>
                  <a:pt x="12632" y="3828"/>
                </a:cubicBezTo>
                <a:cubicBezTo>
                  <a:pt x="12632" y="3828"/>
                  <a:pt x="12622" y="3834"/>
                  <a:pt x="12622" y="3843"/>
                </a:cubicBezTo>
                <a:cubicBezTo>
                  <a:pt x="12622" y="3851"/>
                  <a:pt x="12640" y="3887"/>
                  <a:pt x="12649" y="3890"/>
                </a:cubicBezTo>
                <a:cubicBezTo>
                  <a:pt x="12658" y="3893"/>
                  <a:pt x="12682" y="3900"/>
                  <a:pt x="12682" y="3900"/>
                </a:cubicBezTo>
                <a:cubicBezTo>
                  <a:pt x="12695" y="3887"/>
                  <a:pt x="12695" y="3887"/>
                  <a:pt x="12695" y="3887"/>
                </a:cubicBezTo>
                <a:cubicBezTo>
                  <a:pt x="12697" y="3903"/>
                  <a:pt x="12697" y="3903"/>
                  <a:pt x="12697" y="3903"/>
                </a:cubicBezTo>
                <a:cubicBezTo>
                  <a:pt x="12711" y="3905"/>
                  <a:pt x="12711" y="3905"/>
                  <a:pt x="12711" y="3905"/>
                </a:cubicBezTo>
                <a:cubicBezTo>
                  <a:pt x="12712" y="3879"/>
                  <a:pt x="12712" y="3879"/>
                  <a:pt x="12712" y="3879"/>
                </a:cubicBezTo>
                <a:cubicBezTo>
                  <a:pt x="12712" y="3879"/>
                  <a:pt x="12692" y="3857"/>
                  <a:pt x="12697" y="3844"/>
                </a:cubicBezTo>
                <a:cubicBezTo>
                  <a:pt x="12702" y="3831"/>
                  <a:pt x="12709" y="3828"/>
                  <a:pt x="12709" y="3828"/>
                </a:cubicBezTo>
                <a:cubicBezTo>
                  <a:pt x="12726" y="3862"/>
                  <a:pt x="12726" y="3862"/>
                  <a:pt x="12726" y="3862"/>
                </a:cubicBezTo>
                <a:cubicBezTo>
                  <a:pt x="12726" y="3862"/>
                  <a:pt x="12745" y="3836"/>
                  <a:pt x="12745" y="3820"/>
                </a:cubicBezTo>
                <a:cubicBezTo>
                  <a:pt x="12745" y="3803"/>
                  <a:pt x="12733" y="3785"/>
                  <a:pt x="12733" y="3785"/>
                </a:cubicBezTo>
                <a:cubicBezTo>
                  <a:pt x="12733" y="3746"/>
                  <a:pt x="12733" y="3746"/>
                  <a:pt x="12733" y="3746"/>
                </a:cubicBezTo>
                <a:cubicBezTo>
                  <a:pt x="12733" y="3746"/>
                  <a:pt x="12733" y="3715"/>
                  <a:pt x="12723" y="3710"/>
                </a:cubicBezTo>
                <a:close/>
                <a:moveTo>
                  <a:pt x="12682" y="4300"/>
                </a:moveTo>
                <a:cubicBezTo>
                  <a:pt x="12735" y="4290"/>
                  <a:pt x="12735" y="4290"/>
                  <a:pt x="12735" y="4290"/>
                </a:cubicBezTo>
                <a:cubicBezTo>
                  <a:pt x="12682" y="4288"/>
                  <a:pt x="12682" y="4288"/>
                  <a:pt x="12682" y="4288"/>
                </a:cubicBezTo>
                <a:cubicBezTo>
                  <a:pt x="12682" y="4288"/>
                  <a:pt x="12660" y="4276"/>
                  <a:pt x="12653" y="4279"/>
                </a:cubicBezTo>
                <a:cubicBezTo>
                  <a:pt x="12647" y="4282"/>
                  <a:pt x="12644" y="4291"/>
                  <a:pt x="12644" y="4291"/>
                </a:cubicBezTo>
                <a:cubicBezTo>
                  <a:pt x="12651" y="4305"/>
                  <a:pt x="12682" y="4300"/>
                  <a:pt x="12682" y="4300"/>
                </a:cubicBezTo>
                <a:close/>
                <a:moveTo>
                  <a:pt x="12655" y="4644"/>
                </a:moveTo>
                <a:cubicBezTo>
                  <a:pt x="12655" y="4625"/>
                  <a:pt x="12655" y="4625"/>
                  <a:pt x="12655" y="4625"/>
                </a:cubicBezTo>
                <a:cubicBezTo>
                  <a:pt x="12634" y="4639"/>
                  <a:pt x="12634" y="4639"/>
                  <a:pt x="12634" y="4639"/>
                </a:cubicBezTo>
                <a:lnTo>
                  <a:pt x="12655" y="4644"/>
                </a:lnTo>
                <a:close/>
                <a:moveTo>
                  <a:pt x="12704" y="4603"/>
                </a:moveTo>
                <a:cubicBezTo>
                  <a:pt x="12692" y="4625"/>
                  <a:pt x="12692" y="4625"/>
                  <a:pt x="12692" y="4625"/>
                </a:cubicBezTo>
                <a:cubicBezTo>
                  <a:pt x="12742" y="4613"/>
                  <a:pt x="12742" y="4613"/>
                  <a:pt x="12742" y="4613"/>
                </a:cubicBezTo>
                <a:lnTo>
                  <a:pt x="12704" y="4603"/>
                </a:lnTo>
                <a:close/>
                <a:moveTo>
                  <a:pt x="12769" y="3949"/>
                </a:moveTo>
                <a:cubicBezTo>
                  <a:pt x="12758" y="3949"/>
                  <a:pt x="12758" y="3949"/>
                  <a:pt x="12758" y="3949"/>
                </a:cubicBezTo>
                <a:cubicBezTo>
                  <a:pt x="12754" y="3968"/>
                  <a:pt x="12754" y="3968"/>
                  <a:pt x="12754" y="3968"/>
                </a:cubicBezTo>
                <a:cubicBezTo>
                  <a:pt x="12757" y="3987"/>
                  <a:pt x="12757" y="3987"/>
                  <a:pt x="12757" y="3987"/>
                </a:cubicBezTo>
                <a:cubicBezTo>
                  <a:pt x="12769" y="3977"/>
                  <a:pt x="12769" y="3977"/>
                  <a:pt x="12769" y="3977"/>
                </a:cubicBezTo>
                <a:lnTo>
                  <a:pt x="12769" y="3949"/>
                </a:lnTo>
                <a:close/>
                <a:moveTo>
                  <a:pt x="12514" y="3620"/>
                </a:moveTo>
                <a:cubicBezTo>
                  <a:pt x="12519" y="3630"/>
                  <a:pt x="12527" y="3640"/>
                  <a:pt x="12527" y="3640"/>
                </a:cubicBezTo>
                <a:cubicBezTo>
                  <a:pt x="12527" y="3640"/>
                  <a:pt x="12543" y="3623"/>
                  <a:pt x="12548" y="3627"/>
                </a:cubicBezTo>
                <a:cubicBezTo>
                  <a:pt x="12553" y="3630"/>
                  <a:pt x="12553" y="3649"/>
                  <a:pt x="12553" y="3649"/>
                </a:cubicBezTo>
                <a:cubicBezTo>
                  <a:pt x="12562" y="3658"/>
                  <a:pt x="12562" y="3658"/>
                  <a:pt x="12562" y="3658"/>
                </a:cubicBezTo>
                <a:cubicBezTo>
                  <a:pt x="12562" y="3658"/>
                  <a:pt x="12539" y="3692"/>
                  <a:pt x="12539" y="3699"/>
                </a:cubicBezTo>
                <a:cubicBezTo>
                  <a:pt x="12539" y="3705"/>
                  <a:pt x="12539" y="3725"/>
                  <a:pt x="12555" y="3721"/>
                </a:cubicBezTo>
                <a:cubicBezTo>
                  <a:pt x="12570" y="3718"/>
                  <a:pt x="12593" y="3713"/>
                  <a:pt x="12584" y="3699"/>
                </a:cubicBezTo>
                <a:cubicBezTo>
                  <a:pt x="12575" y="3684"/>
                  <a:pt x="12574" y="3672"/>
                  <a:pt x="12582" y="3649"/>
                </a:cubicBezTo>
                <a:cubicBezTo>
                  <a:pt x="12591" y="3627"/>
                  <a:pt x="12584" y="3610"/>
                  <a:pt x="12577" y="3617"/>
                </a:cubicBezTo>
                <a:cubicBezTo>
                  <a:pt x="12570" y="3623"/>
                  <a:pt x="12557" y="3631"/>
                  <a:pt x="12557" y="3623"/>
                </a:cubicBezTo>
                <a:cubicBezTo>
                  <a:pt x="12557" y="3615"/>
                  <a:pt x="12577" y="3584"/>
                  <a:pt x="12565" y="3581"/>
                </a:cubicBezTo>
                <a:cubicBezTo>
                  <a:pt x="12553" y="3577"/>
                  <a:pt x="12531" y="3564"/>
                  <a:pt x="12531" y="3564"/>
                </a:cubicBezTo>
                <a:cubicBezTo>
                  <a:pt x="12531" y="3564"/>
                  <a:pt x="12510" y="3559"/>
                  <a:pt x="12509" y="3566"/>
                </a:cubicBezTo>
                <a:cubicBezTo>
                  <a:pt x="12507" y="3573"/>
                  <a:pt x="12521" y="3584"/>
                  <a:pt x="12521" y="3584"/>
                </a:cubicBezTo>
                <a:cubicBezTo>
                  <a:pt x="12521" y="3584"/>
                  <a:pt x="12509" y="3610"/>
                  <a:pt x="12514" y="3620"/>
                </a:cubicBezTo>
                <a:close/>
                <a:moveTo>
                  <a:pt x="12541" y="3865"/>
                </a:moveTo>
                <a:cubicBezTo>
                  <a:pt x="12526" y="3854"/>
                  <a:pt x="12526" y="3854"/>
                  <a:pt x="12526" y="3854"/>
                </a:cubicBezTo>
                <a:cubicBezTo>
                  <a:pt x="12514" y="3870"/>
                  <a:pt x="12514" y="3870"/>
                  <a:pt x="12514" y="3870"/>
                </a:cubicBezTo>
                <a:cubicBezTo>
                  <a:pt x="12539" y="3892"/>
                  <a:pt x="12539" y="3892"/>
                  <a:pt x="12539" y="3892"/>
                </a:cubicBezTo>
                <a:lnTo>
                  <a:pt x="12541" y="3865"/>
                </a:lnTo>
                <a:close/>
                <a:moveTo>
                  <a:pt x="12673" y="3627"/>
                </a:moveTo>
                <a:cubicBezTo>
                  <a:pt x="12654" y="3620"/>
                  <a:pt x="12654" y="3620"/>
                  <a:pt x="12654" y="3620"/>
                </a:cubicBezTo>
                <a:cubicBezTo>
                  <a:pt x="12654" y="3620"/>
                  <a:pt x="12646" y="3610"/>
                  <a:pt x="12642" y="3602"/>
                </a:cubicBezTo>
                <a:cubicBezTo>
                  <a:pt x="12639" y="3594"/>
                  <a:pt x="12615" y="3599"/>
                  <a:pt x="12615" y="3599"/>
                </a:cubicBezTo>
                <a:cubicBezTo>
                  <a:pt x="12618" y="3628"/>
                  <a:pt x="12618" y="3628"/>
                  <a:pt x="12618" y="3628"/>
                </a:cubicBezTo>
                <a:cubicBezTo>
                  <a:pt x="12634" y="3622"/>
                  <a:pt x="12634" y="3622"/>
                  <a:pt x="12634" y="3622"/>
                </a:cubicBezTo>
                <a:cubicBezTo>
                  <a:pt x="12640" y="3638"/>
                  <a:pt x="12640" y="3638"/>
                  <a:pt x="12640" y="3638"/>
                </a:cubicBezTo>
                <a:cubicBezTo>
                  <a:pt x="12673" y="3663"/>
                  <a:pt x="12673" y="3663"/>
                  <a:pt x="12673" y="3663"/>
                </a:cubicBezTo>
                <a:lnTo>
                  <a:pt x="12673" y="3627"/>
                </a:lnTo>
                <a:close/>
                <a:moveTo>
                  <a:pt x="12737" y="4360"/>
                </a:moveTo>
                <a:cubicBezTo>
                  <a:pt x="12737" y="4360"/>
                  <a:pt x="12730" y="4379"/>
                  <a:pt x="12744" y="4388"/>
                </a:cubicBezTo>
                <a:cubicBezTo>
                  <a:pt x="12757" y="4398"/>
                  <a:pt x="12776" y="4394"/>
                  <a:pt x="12776" y="4394"/>
                </a:cubicBezTo>
                <a:cubicBezTo>
                  <a:pt x="12784" y="4383"/>
                  <a:pt x="12772" y="4356"/>
                  <a:pt x="12772" y="4356"/>
                </a:cubicBezTo>
                <a:cubicBezTo>
                  <a:pt x="12760" y="4359"/>
                  <a:pt x="12760" y="4359"/>
                  <a:pt x="12760" y="4359"/>
                </a:cubicBezTo>
                <a:cubicBezTo>
                  <a:pt x="12751" y="4349"/>
                  <a:pt x="12751" y="4349"/>
                  <a:pt x="12751" y="4349"/>
                </a:cubicBezTo>
                <a:lnTo>
                  <a:pt x="12737" y="4360"/>
                </a:lnTo>
                <a:close/>
                <a:moveTo>
                  <a:pt x="12681" y="3971"/>
                </a:moveTo>
                <a:cubicBezTo>
                  <a:pt x="12692" y="3949"/>
                  <a:pt x="12692" y="3949"/>
                  <a:pt x="12692" y="3949"/>
                </a:cubicBezTo>
                <a:cubicBezTo>
                  <a:pt x="12677" y="3944"/>
                  <a:pt x="12677" y="3944"/>
                  <a:pt x="12677" y="3944"/>
                </a:cubicBezTo>
                <a:lnTo>
                  <a:pt x="12681" y="3971"/>
                </a:lnTo>
                <a:close/>
                <a:moveTo>
                  <a:pt x="12619" y="3680"/>
                </a:moveTo>
                <a:cubicBezTo>
                  <a:pt x="12640" y="3678"/>
                  <a:pt x="12640" y="3678"/>
                  <a:pt x="12640" y="3678"/>
                </a:cubicBezTo>
                <a:cubicBezTo>
                  <a:pt x="12643" y="3661"/>
                  <a:pt x="12643" y="3661"/>
                  <a:pt x="12643" y="3661"/>
                </a:cubicBezTo>
                <a:cubicBezTo>
                  <a:pt x="12625" y="3655"/>
                  <a:pt x="12625" y="3655"/>
                  <a:pt x="12625" y="3655"/>
                </a:cubicBezTo>
                <a:lnTo>
                  <a:pt x="12619" y="3680"/>
                </a:lnTo>
                <a:close/>
                <a:moveTo>
                  <a:pt x="12387" y="4660"/>
                </a:moveTo>
                <a:cubicBezTo>
                  <a:pt x="12392" y="4643"/>
                  <a:pt x="12391" y="4631"/>
                  <a:pt x="12382" y="4628"/>
                </a:cubicBezTo>
                <a:cubicBezTo>
                  <a:pt x="12373" y="4625"/>
                  <a:pt x="12366" y="4631"/>
                  <a:pt x="12366" y="4631"/>
                </a:cubicBezTo>
                <a:cubicBezTo>
                  <a:pt x="12335" y="4624"/>
                  <a:pt x="12335" y="4624"/>
                  <a:pt x="12335" y="4624"/>
                </a:cubicBezTo>
                <a:cubicBezTo>
                  <a:pt x="12354" y="4651"/>
                  <a:pt x="12354" y="4651"/>
                  <a:pt x="12354" y="4651"/>
                </a:cubicBezTo>
                <a:cubicBezTo>
                  <a:pt x="12354" y="4651"/>
                  <a:pt x="12381" y="4678"/>
                  <a:pt x="12387" y="4660"/>
                </a:cubicBezTo>
                <a:close/>
                <a:moveTo>
                  <a:pt x="12297" y="4695"/>
                </a:moveTo>
                <a:cubicBezTo>
                  <a:pt x="12312" y="4693"/>
                  <a:pt x="12312" y="4693"/>
                  <a:pt x="12312" y="4693"/>
                </a:cubicBezTo>
                <a:cubicBezTo>
                  <a:pt x="12318" y="4679"/>
                  <a:pt x="12318" y="4679"/>
                  <a:pt x="12318" y="4679"/>
                </a:cubicBezTo>
                <a:cubicBezTo>
                  <a:pt x="12337" y="4690"/>
                  <a:pt x="12337" y="4690"/>
                  <a:pt x="12337" y="4690"/>
                </a:cubicBezTo>
                <a:cubicBezTo>
                  <a:pt x="12356" y="4668"/>
                  <a:pt x="12356" y="4668"/>
                  <a:pt x="12356" y="4668"/>
                </a:cubicBezTo>
                <a:cubicBezTo>
                  <a:pt x="12322" y="4656"/>
                  <a:pt x="12322" y="4656"/>
                  <a:pt x="12322" y="4656"/>
                </a:cubicBezTo>
                <a:cubicBezTo>
                  <a:pt x="12311" y="4659"/>
                  <a:pt x="12311" y="4659"/>
                  <a:pt x="12311" y="4659"/>
                </a:cubicBezTo>
                <a:cubicBezTo>
                  <a:pt x="12311" y="4659"/>
                  <a:pt x="12297" y="4644"/>
                  <a:pt x="12289" y="4646"/>
                </a:cubicBezTo>
                <a:cubicBezTo>
                  <a:pt x="12280" y="4647"/>
                  <a:pt x="12261" y="4676"/>
                  <a:pt x="12261" y="4676"/>
                </a:cubicBezTo>
                <a:cubicBezTo>
                  <a:pt x="12296" y="4681"/>
                  <a:pt x="12296" y="4681"/>
                  <a:pt x="12296" y="4681"/>
                </a:cubicBezTo>
                <a:lnTo>
                  <a:pt x="12297" y="4695"/>
                </a:lnTo>
                <a:close/>
                <a:moveTo>
                  <a:pt x="12293" y="3762"/>
                </a:moveTo>
                <a:cubicBezTo>
                  <a:pt x="12313" y="3743"/>
                  <a:pt x="12313" y="3743"/>
                  <a:pt x="12313" y="3743"/>
                </a:cubicBezTo>
                <a:cubicBezTo>
                  <a:pt x="12313" y="3743"/>
                  <a:pt x="12310" y="3728"/>
                  <a:pt x="12318" y="3728"/>
                </a:cubicBezTo>
                <a:cubicBezTo>
                  <a:pt x="12327" y="3728"/>
                  <a:pt x="12337" y="3725"/>
                  <a:pt x="12344" y="3720"/>
                </a:cubicBezTo>
                <a:cubicBezTo>
                  <a:pt x="12351" y="3715"/>
                  <a:pt x="12344" y="3699"/>
                  <a:pt x="12353" y="3689"/>
                </a:cubicBezTo>
                <a:cubicBezTo>
                  <a:pt x="12361" y="3679"/>
                  <a:pt x="12409" y="3664"/>
                  <a:pt x="12409" y="3653"/>
                </a:cubicBezTo>
                <a:cubicBezTo>
                  <a:pt x="12409" y="3641"/>
                  <a:pt x="12399" y="3630"/>
                  <a:pt x="12397" y="3620"/>
                </a:cubicBezTo>
                <a:cubicBezTo>
                  <a:pt x="12396" y="3610"/>
                  <a:pt x="12399" y="3589"/>
                  <a:pt x="12399" y="3589"/>
                </a:cubicBezTo>
                <a:cubicBezTo>
                  <a:pt x="12389" y="3574"/>
                  <a:pt x="12389" y="3574"/>
                  <a:pt x="12389" y="3574"/>
                </a:cubicBezTo>
                <a:cubicBezTo>
                  <a:pt x="12385" y="3591"/>
                  <a:pt x="12385" y="3591"/>
                  <a:pt x="12385" y="3591"/>
                </a:cubicBezTo>
                <a:cubicBezTo>
                  <a:pt x="12385" y="3591"/>
                  <a:pt x="12366" y="3607"/>
                  <a:pt x="12373" y="3622"/>
                </a:cubicBezTo>
                <a:cubicBezTo>
                  <a:pt x="12380" y="3636"/>
                  <a:pt x="12397" y="3636"/>
                  <a:pt x="12387" y="3643"/>
                </a:cubicBezTo>
                <a:cubicBezTo>
                  <a:pt x="12377" y="3649"/>
                  <a:pt x="12361" y="3658"/>
                  <a:pt x="12361" y="3658"/>
                </a:cubicBezTo>
                <a:cubicBezTo>
                  <a:pt x="12354" y="3676"/>
                  <a:pt x="12354" y="3676"/>
                  <a:pt x="12354" y="3676"/>
                </a:cubicBezTo>
                <a:cubicBezTo>
                  <a:pt x="12339" y="3685"/>
                  <a:pt x="12339" y="3685"/>
                  <a:pt x="12339" y="3685"/>
                </a:cubicBezTo>
                <a:cubicBezTo>
                  <a:pt x="12339" y="3685"/>
                  <a:pt x="12344" y="3694"/>
                  <a:pt x="12337" y="3700"/>
                </a:cubicBezTo>
                <a:cubicBezTo>
                  <a:pt x="12330" y="3707"/>
                  <a:pt x="12305" y="3718"/>
                  <a:pt x="12305" y="3718"/>
                </a:cubicBezTo>
                <a:cubicBezTo>
                  <a:pt x="12305" y="3718"/>
                  <a:pt x="12282" y="3754"/>
                  <a:pt x="12293" y="3762"/>
                </a:cubicBezTo>
                <a:close/>
                <a:moveTo>
                  <a:pt x="12382" y="3239"/>
                </a:moveTo>
                <a:cubicBezTo>
                  <a:pt x="12374" y="3251"/>
                  <a:pt x="12376" y="3243"/>
                  <a:pt x="12383" y="3255"/>
                </a:cubicBezTo>
                <a:cubicBezTo>
                  <a:pt x="12386" y="3260"/>
                  <a:pt x="12390" y="3269"/>
                  <a:pt x="12392" y="3275"/>
                </a:cubicBezTo>
                <a:cubicBezTo>
                  <a:pt x="12394" y="3281"/>
                  <a:pt x="12395" y="3288"/>
                  <a:pt x="12394" y="3295"/>
                </a:cubicBezTo>
                <a:cubicBezTo>
                  <a:pt x="12393" y="3302"/>
                  <a:pt x="12385" y="3308"/>
                  <a:pt x="12385" y="3313"/>
                </a:cubicBezTo>
                <a:cubicBezTo>
                  <a:pt x="12385" y="3321"/>
                  <a:pt x="12396" y="3323"/>
                  <a:pt x="12392" y="3331"/>
                </a:cubicBezTo>
                <a:cubicBezTo>
                  <a:pt x="12390" y="3336"/>
                  <a:pt x="12378" y="3339"/>
                  <a:pt x="12374" y="3338"/>
                </a:cubicBezTo>
                <a:cubicBezTo>
                  <a:pt x="12374" y="3332"/>
                  <a:pt x="12372" y="3326"/>
                  <a:pt x="12367" y="3324"/>
                </a:cubicBezTo>
                <a:cubicBezTo>
                  <a:pt x="12366" y="3347"/>
                  <a:pt x="12369" y="3361"/>
                  <a:pt x="12385" y="3380"/>
                </a:cubicBezTo>
                <a:cubicBezTo>
                  <a:pt x="12397" y="3393"/>
                  <a:pt x="12409" y="3403"/>
                  <a:pt x="12417" y="3419"/>
                </a:cubicBezTo>
                <a:cubicBezTo>
                  <a:pt x="12422" y="3431"/>
                  <a:pt x="12438" y="3461"/>
                  <a:pt x="12453" y="3460"/>
                </a:cubicBezTo>
                <a:cubicBezTo>
                  <a:pt x="12463" y="3459"/>
                  <a:pt x="12467" y="3446"/>
                  <a:pt x="12478" y="3445"/>
                </a:cubicBezTo>
                <a:cubicBezTo>
                  <a:pt x="12489" y="3444"/>
                  <a:pt x="12494" y="3454"/>
                  <a:pt x="12501" y="3460"/>
                </a:cubicBezTo>
                <a:cubicBezTo>
                  <a:pt x="12523" y="3479"/>
                  <a:pt x="12522" y="3461"/>
                  <a:pt x="12512" y="3444"/>
                </a:cubicBezTo>
                <a:cubicBezTo>
                  <a:pt x="12530" y="3442"/>
                  <a:pt x="12537" y="3451"/>
                  <a:pt x="12541" y="3465"/>
                </a:cubicBezTo>
                <a:cubicBezTo>
                  <a:pt x="12544" y="3477"/>
                  <a:pt x="12554" y="3489"/>
                  <a:pt x="12568" y="3495"/>
                </a:cubicBezTo>
                <a:cubicBezTo>
                  <a:pt x="12593" y="3508"/>
                  <a:pt x="12595" y="3447"/>
                  <a:pt x="12564" y="3450"/>
                </a:cubicBezTo>
                <a:cubicBezTo>
                  <a:pt x="12563" y="3444"/>
                  <a:pt x="12568" y="3442"/>
                  <a:pt x="12570" y="3437"/>
                </a:cubicBezTo>
                <a:cubicBezTo>
                  <a:pt x="12558" y="3436"/>
                  <a:pt x="12554" y="3422"/>
                  <a:pt x="12541" y="3426"/>
                </a:cubicBezTo>
                <a:cubicBezTo>
                  <a:pt x="12533" y="3443"/>
                  <a:pt x="12518" y="3422"/>
                  <a:pt x="12506" y="3422"/>
                </a:cubicBezTo>
                <a:cubicBezTo>
                  <a:pt x="12490" y="3421"/>
                  <a:pt x="12483" y="3445"/>
                  <a:pt x="12470" y="3425"/>
                </a:cubicBezTo>
                <a:cubicBezTo>
                  <a:pt x="12463" y="3414"/>
                  <a:pt x="12466" y="3399"/>
                  <a:pt x="12466" y="3387"/>
                </a:cubicBezTo>
                <a:cubicBezTo>
                  <a:pt x="12466" y="3375"/>
                  <a:pt x="12462" y="3356"/>
                  <a:pt x="12467" y="3345"/>
                </a:cubicBezTo>
                <a:cubicBezTo>
                  <a:pt x="12474" y="3329"/>
                  <a:pt x="12485" y="3334"/>
                  <a:pt x="12484" y="3314"/>
                </a:cubicBezTo>
                <a:cubicBezTo>
                  <a:pt x="12484" y="3300"/>
                  <a:pt x="12473" y="3291"/>
                  <a:pt x="12475" y="3279"/>
                </a:cubicBezTo>
                <a:cubicBezTo>
                  <a:pt x="12476" y="3266"/>
                  <a:pt x="12484" y="3250"/>
                  <a:pt x="12480" y="3236"/>
                </a:cubicBezTo>
                <a:cubicBezTo>
                  <a:pt x="12477" y="3230"/>
                  <a:pt x="12470" y="3227"/>
                  <a:pt x="12467" y="3221"/>
                </a:cubicBezTo>
                <a:cubicBezTo>
                  <a:pt x="12464" y="3215"/>
                  <a:pt x="12467" y="3208"/>
                  <a:pt x="12466" y="3202"/>
                </a:cubicBezTo>
                <a:cubicBezTo>
                  <a:pt x="12465" y="3197"/>
                  <a:pt x="12463" y="3186"/>
                  <a:pt x="12454" y="3186"/>
                </a:cubicBezTo>
                <a:cubicBezTo>
                  <a:pt x="12449" y="3187"/>
                  <a:pt x="12447" y="3195"/>
                  <a:pt x="12444" y="3198"/>
                </a:cubicBezTo>
                <a:cubicBezTo>
                  <a:pt x="12427" y="3212"/>
                  <a:pt x="12424" y="3195"/>
                  <a:pt x="12408" y="3196"/>
                </a:cubicBezTo>
                <a:cubicBezTo>
                  <a:pt x="12399" y="3199"/>
                  <a:pt x="12399" y="3199"/>
                  <a:pt x="12399" y="3199"/>
                </a:cubicBezTo>
                <a:cubicBezTo>
                  <a:pt x="12396" y="3206"/>
                  <a:pt x="12399" y="3213"/>
                  <a:pt x="12397" y="3220"/>
                </a:cubicBezTo>
                <a:cubicBezTo>
                  <a:pt x="12395" y="3227"/>
                  <a:pt x="12386" y="3233"/>
                  <a:pt x="12382" y="3239"/>
                </a:cubicBezTo>
                <a:close/>
                <a:moveTo>
                  <a:pt x="12457" y="3879"/>
                </a:moveTo>
                <a:cubicBezTo>
                  <a:pt x="12469" y="3886"/>
                  <a:pt x="12469" y="3886"/>
                  <a:pt x="12469" y="3886"/>
                </a:cubicBezTo>
                <a:cubicBezTo>
                  <a:pt x="12481" y="3868"/>
                  <a:pt x="12481" y="3868"/>
                  <a:pt x="12481" y="3868"/>
                </a:cubicBezTo>
                <a:cubicBezTo>
                  <a:pt x="12464" y="3858"/>
                  <a:pt x="12464" y="3858"/>
                  <a:pt x="12464" y="3858"/>
                </a:cubicBezTo>
                <a:lnTo>
                  <a:pt x="12457" y="3879"/>
                </a:lnTo>
                <a:close/>
                <a:moveTo>
                  <a:pt x="12603" y="3523"/>
                </a:moveTo>
                <a:cubicBezTo>
                  <a:pt x="12594" y="3543"/>
                  <a:pt x="12627" y="3558"/>
                  <a:pt x="12627" y="3558"/>
                </a:cubicBezTo>
                <a:cubicBezTo>
                  <a:pt x="12652" y="3571"/>
                  <a:pt x="12652" y="3571"/>
                  <a:pt x="12652" y="3571"/>
                </a:cubicBezTo>
                <a:cubicBezTo>
                  <a:pt x="12652" y="3587"/>
                  <a:pt x="12628" y="3579"/>
                  <a:pt x="12628" y="3579"/>
                </a:cubicBezTo>
                <a:cubicBezTo>
                  <a:pt x="12671" y="3613"/>
                  <a:pt x="12671" y="3613"/>
                  <a:pt x="12671" y="3613"/>
                </a:cubicBezTo>
                <a:cubicBezTo>
                  <a:pt x="12673" y="3599"/>
                  <a:pt x="12673" y="3599"/>
                  <a:pt x="12673" y="3599"/>
                </a:cubicBezTo>
                <a:cubicBezTo>
                  <a:pt x="12690" y="3604"/>
                  <a:pt x="12690" y="3604"/>
                  <a:pt x="12690" y="3604"/>
                </a:cubicBezTo>
                <a:cubicBezTo>
                  <a:pt x="12676" y="3581"/>
                  <a:pt x="12676" y="3581"/>
                  <a:pt x="12676" y="3581"/>
                </a:cubicBezTo>
                <a:cubicBezTo>
                  <a:pt x="12676" y="3581"/>
                  <a:pt x="12673" y="3556"/>
                  <a:pt x="12661" y="3543"/>
                </a:cubicBezTo>
                <a:cubicBezTo>
                  <a:pt x="12649" y="3530"/>
                  <a:pt x="12610" y="3507"/>
                  <a:pt x="12603" y="3523"/>
                </a:cubicBezTo>
                <a:close/>
                <a:moveTo>
                  <a:pt x="12473" y="3501"/>
                </a:moveTo>
                <a:cubicBezTo>
                  <a:pt x="12473" y="3501"/>
                  <a:pt x="12471" y="3481"/>
                  <a:pt x="12464" y="3474"/>
                </a:cubicBezTo>
                <a:cubicBezTo>
                  <a:pt x="12457" y="3468"/>
                  <a:pt x="12428" y="3471"/>
                  <a:pt x="12428" y="3471"/>
                </a:cubicBezTo>
                <a:cubicBezTo>
                  <a:pt x="12449" y="3499"/>
                  <a:pt x="12449" y="3499"/>
                  <a:pt x="12449" y="3499"/>
                </a:cubicBezTo>
                <a:cubicBezTo>
                  <a:pt x="12462" y="3543"/>
                  <a:pt x="12462" y="3543"/>
                  <a:pt x="12462" y="3543"/>
                </a:cubicBezTo>
                <a:cubicBezTo>
                  <a:pt x="12462" y="3543"/>
                  <a:pt x="12474" y="3533"/>
                  <a:pt x="12479" y="3525"/>
                </a:cubicBezTo>
                <a:cubicBezTo>
                  <a:pt x="12485" y="3517"/>
                  <a:pt x="12473" y="3501"/>
                  <a:pt x="12473" y="3501"/>
                </a:cubicBezTo>
                <a:close/>
                <a:moveTo>
                  <a:pt x="12600" y="3631"/>
                </a:moveTo>
                <a:cubicBezTo>
                  <a:pt x="12607" y="3685"/>
                  <a:pt x="12607" y="3685"/>
                  <a:pt x="12607" y="3685"/>
                </a:cubicBezTo>
                <a:cubicBezTo>
                  <a:pt x="12615" y="3635"/>
                  <a:pt x="12615" y="3635"/>
                  <a:pt x="12615" y="3635"/>
                </a:cubicBezTo>
                <a:cubicBezTo>
                  <a:pt x="12598" y="3600"/>
                  <a:pt x="12598" y="3600"/>
                  <a:pt x="12598" y="3600"/>
                </a:cubicBezTo>
                <a:cubicBezTo>
                  <a:pt x="12583" y="3600"/>
                  <a:pt x="12583" y="3600"/>
                  <a:pt x="12583" y="3600"/>
                </a:cubicBezTo>
                <a:lnTo>
                  <a:pt x="12600" y="3631"/>
                </a:lnTo>
                <a:close/>
                <a:moveTo>
                  <a:pt x="11367" y="4106"/>
                </a:moveTo>
                <a:cubicBezTo>
                  <a:pt x="11359" y="4106"/>
                  <a:pt x="11349" y="4119"/>
                  <a:pt x="11361" y="4127"/>
                </a:cubicBezTo>
                <a:cubicBezTo>
                  <a:pt x="11373" y="4135"/>
                  <a:pt x="11377" y="4165"/>
                  <a:pt x="11389" y="4165"/>
                </a:cubicBezTo>
                <a:cubicBezTo>
                  <a:pt x="11396" y="4165"/>
                  <a:pt x="11397" y="4134"/>
                  <a:pt x="11393" y="4130"/>
                </a:cubicBezTo>
                <a:cubicBezTo>
                  <a:pt x="11389" y="4126"/>
                  <a:pt x="11375" y="4106"/>
                  <a:pt x="11367" y="4106"/>
                </a:cubicBezTo>
                <a:close/>
                <a:moveTo>
                  <a:pt x="12889" y="4333"/>
                </a:moveTo>
                <a:cubicBezTo>
                  <a:pt x="12873" y="4329"/>
                  <a:pt x="12863" y="4339"/>
                  <a:pt x="12852" y="4344"/>
                </a:cubicBezTo>
                <a:cubicBezTo>
                  <a:pt x="12846" y="4346"/>
                  <a:pt x="12838" y="4342"/>
                  <a:pt x="12834" y="4345"/>
                </a:cubicBezTo>
                <a:cubicBezTo>
                  <a:pt x="12821" y="4353"/>
                  <a:pt x="12817" y="4369"/>
                  <a:pt x="12821" y="4372"/>
                </a:cubicBezTo>
                <a:cubicBezTo>
                  <a:pt x="12828" y="4378"/>
                  <a:pt x="12835" y="4364"/>
                  <a:pt x="12835" y="4364"/>
                </a:cubicBezTo>
                <a:cubicBezTo>
                  <a:pt x="12835" y="4364"/>
                  <a:pt x="12835" y="4380"/>
                  <a:pt x="12846" y="4382"/>
                </a:cubicBezTo>
                <a:cubicBezTo>
                  <a:pt x="12857" y="4383"/>
                  <a:pt x="12859" y="4363"/>
                  <a:pt x="12859" y="4363"/>
                </a:cubicBezTo>
                <a:cubicBezTo>
                  <a:pt x="12859" y="4363"/>
                  <a:pt x="12867" y="4374"/>
                  <a:pt x="12874" y="4374"/>
                </a:cubicBezTo>
                <a:cubicBezTo>
                  <a:pt x="12881" y="4374"/>
                  <a:pt x="12899" y="4359"/>
                  <a:pt x="12899" y="4359"/>
                </a:cubicBezTo>
                <a:cubicBezTo>
                  <a:pt x="12909" y="4394"/>
                  <a:pt x="12909" y="4394"/>
                  <a:pt x="12909" y="4394"/>
                </a:cubicBezTo>
                <a:cubicBezTo>
                  <a:pt x="12928" y="4380"/>
                  <a:pt x="12928" y="4380"/>
                  <a:pt x="12928" y="4380"/>
                </a:cubicBezTo>
                <a:cubicBezTo>
                  <a:pt x="12950" y="4404"/>
                  <a:pt x="12950" y="4404"/>
                  <a:pt x="12950" y="4404"/>
                </a:cubicBezTo>
                <a:cubicBezTo>
                  <a:pt x="12955" y="4387"/>
                  <a:pt x="12955" y="4387"/>
                  <a:pt x="12955" y="4387"/>
                </a:cubicBezTo>
                <a:cubicBezTo>
                  <a:pt x="12941" y="4375"/>
                  <a:pt x="12941" y="4375"/>
                  <a:pt x="12941" y="4375"/>
                </a:cubicBezTo>
                <a:cubicBezTo>
                  <a:pt x="12942" y="4364"/>
                  <a:pt x="12942" y="4364"/>
                  <a:pt x="12942" y="4364"/>
                </a:cubicBezTo>
                <a:cubicBezTo>
                  <a:pt x="12942" y="4364"/>
                  <a:pt x="12936" y="4343"/>
                  <a:pt x="12889" y="4333"/>
                </a:cubicBezTo>
                <a:close/>
                <a:moveTo>
                  <a:pt x="14187" y="4617"/>
                </a:moveTo>
                <a:cubicBezTo>
                  <a:pt x="14165" y="4620"/>
                  <a:pt x="14165" y="4620"/>
                  <a:pt x="14165" y="4620"/>
                </a:cubicBezTo>
                <a:cubicBezTo>
                  <a:pt x="14165" y="4634"/>
                  <a:pt x="14165" y="4634"/>
                  <a:pt x="14165" y="4634"/>
                </a:cubicBezTo>
                <a:cubicBezTo>
                  <a:pt x="14178" y="4639"/>
                  <a:pt x="14178" y="4639"/>
                  <a:pt x="14178" y="4639"/>
                </a:cubicBezTo>
                <a:lnTo>
                  <a:pt x="14187" y="4617"/>
                </a:lnTo>
                <a:close/>
                <a:moveTo>
                  <a:pt x="13173" y="4238"/>
                </a:moveTo>
                <a:cubicBezTo>
                  <a:pt x="13192" y="4247"/>
                  <a:pt x="13200" y="4238"/>
                  <a:pt x="13185" y="4231"/>
                </a:cubicBezTo>
                <a:cubicBezTo>
                  <a:pt x="13171" y="4225"/>
                  <a:pt x="13165" y="4234"/>
                  <a:pt x="13173" y="4238"/>
                </a:cubicBezTo>
                <a:close/>
                <a:moveTo>
                  <a:pt x="14186" y="4564"/>
                </a:moveTo>
                <a:cubicBezTo>
                  <a:pt x="14174" y="4550"/>
                  <a:pt x="14174" y="4550"/>
                  <a:pt x="14174" y="4550"/>
                </a:cubicBezTo>
                <a:cubicBezTo>
                  <a:pt x="14167" y="4566"/>
                  <a:pt x="14167" y="4566"/>
                  <a:pt x="14167" y="4566"/>
                </a:cubicBezTo>
                <a:cubicBezTo>
                  <a:pt x="14180" y="4582"/>
                  <a:pt x="14180" y="4582"/>
                  <a:pt x="14180" y="4582"/>
                </a:cubicBezTo>
                <a:lnTo>
                  <a:pt x="14186" y="4564"/>
                </a:lnTo>
                <a:close/>
                <a:moveTo>
                  <a:pt x="13241" y="4291"/>
                </a:moveTo>
                <a:cubicBezTo>
                  <a:pt x="13241" y="4291"/>
                  <a:pt x="13217" y="4281"/>
                  <a:pt x="13212" y="4280"/>
                </a:cubicBezTo>
                <a:cubicBezTo>
                  <a:pt x="13208" y="4279"/>
                  <a:pt x="13179" y="4285"/>
                  <a:pt x="13179" y="4285"/>
                </a:cubicBezTo>
                <a:cubicBezTo>
                  <a:pt x="13179" y="4285"/>
                  <a:pt x="13195" y="4298"/>
                  <a:pt x="13205" y="4298"/>
                </a:cubicBezTo>
                <a:cubicBezTo>
                  <a:pt x="13214" y="4298"/>
                  <a:pt x="13241" y="4291"/>
                  <a:pt x="13241" y="4291"/>
                </a:cubicBezTo>
                <a:close/>
                <a:moveTo>
                  <a:pt x="14072" y="4509"/>
                </a:moveTo>
                <a:cubicBezTo>
                  <a:pt x="14089" y="4541"/>
                  <a:pt x="14089" y="4541"/>
                  <a:pt x="14089" y="4541"/>
                </a:cubicBezTo>
                <a:cubicBezTo>
                  <a:pt x="14132" y="4584"/>
                  <a:pt x="14132" y="4584"/>
                  <a:pt x="14132" y="4584"/>
                </a:cubicBezTo>
                <a:cubicBezTo>
                  <a:pt x="14130" y="4533"/>
                  <a:pt x="14130" y="4533"/>
                  <a:pt x="14130" y="4533"/>
                </a:cubicBezTo>
                <a:cubicBezTo>
                  <a:pt x="14089" y="4486"/>
                  <a:pt x="14089" y="4486"/>
                  <a:pt x="14089" y="4486"/>
                </a:cubicBezTo>
                <a:cubicBezTo>
                  <a:pt x="14089" y="4486"/>
                  <a:pt x="14085" y="4461"/>
                  <a:pt x="14066" y="4469"/>
                </a:cubicBezTo>
                <a:cubicBezTo>
                  <a:pt x="14055" y="4474"/>
                  <a:pt x="14061" y="4490"/>
                  <a:pt x="14061" y="4490"/>
                </a:cubicBezTo>
                <a:lnTo>
                  <a:pt x="14072" y="4509"/>
                </a:lnTo>
                <a:close/>
                <a:moveTo>
                  <a:pt x="14665" y="6212"/>
                </a:moveTo>
                <a:cubicBezTo>
                  <a:pt x="14657" y="6204"/>
                  <a:pt x="14647" y="6222"/>
                  <a:pt x="14647" y="6222"/>
                </a:cubicBezTo>
                <a:cubicBezTo>
                  <a:pt x="14647" y="6222"/>
                  <a:pt x="14641" y="6222"/>
                  <a:pt x="14632" y="6220"/>
                </a:cubicBezTo>
                <a:cubicBezTo>
                  <a:pt x="14624" y="6217"/>
                  <a:pt x="14606" y="6231"/>
                  <a:pt x="14594" y="6228"/>
                </a:cubicBezTo>
                <a:cubicBezTo>
                  <a:pt x="14582" y="6225"/>
                  <a:pt x="14587" y="6181"/>
                  <a:pt x="14587" y="6181"/>
                </a:cubicBezTo>
                <a:cubicBezTo>
                  <a:pt x="14603" y="6156"/>
                  <a:pt x="14603" y="6156"/>
                  <a:pt x="14603" y="6156"/>
                </a:cubicBezTo>
                <a:cubicBezTo>
                  <a:pt x="14603" y="6156"/>
                  <a:pt x="14603" y="6138"/>
                  <a:pt x="14593" y="6139"/>
                </a:cubicBezTo>
                <a:cubicBezTo>
                  <a:pt x="14582" y="6139"/>
                  <a:pt x="14582" y="6155"/>
                  <a:pt x="14582" y="6165"/>
                </a:cubicBezTo>
                <a:cubicBezTo>
                  <a:pt x="14581" y="6174"/>
                  <a:pt x="14569" y="6182"/>
                  <a:pt x="14569" y="6182"/>
                </a:cubicBezTo>
                <a:cubicBezTo>
                  <a:pt x="14566" y="6162"/>
                  <a:pt x="14566" y="6162"/>
                  <a:pt x="14566" y="6162"/>
                </a:cubicBezTo>
                <a:cubicBezTo>
                  <a:pt x="14552" y="6149"/>
                  <a:pt x="14552" y="6149"/>
                  <a:pt x="14552" y="6149"/>
                </a:cubicBezTo>
                <a:cubicBezTo>
                  <a:pt x="14552" y="6149"/>
                  <a:pt x="14576" y="6118"/>
                  <a:pt x="14576" y="6098"/>
                </a:cubicBezTo>
                <a:cubicBezTo>
                  <a:pt x="14577" y="6078"/>
                  <a:pt x="14543" y="6077"/>
                  <a:pt x="14543" y="6077"/>
                </a:cubicBezTo>
                <a:cubicBezTo>
                  <a:pt x="14546" y="6063"/>
                  <a:pt x="14546" y="6063"/>
                  <a:pt x="14546" y="6063"/>
                </a:cubicBezTo>
                <a:cubicBezTo>
                  <a:pt x="14533" y="6061"/>
                  <a:pt x="14533" y="6061"/>
                  <a:pt x="14533" y="6061"/>
                </a:cubicBezTo>
                <a:cubicBezTo>
                  <a:pt x="14518" y="6047"/>
                  <a:pt x="14518" y="6047"/>
                  <a:pt x="14518" y="6047"/>
                </a:cubicBezTo>
                <a:cubicBezTo>
                  <a:pt x="14525" y="6036"/>
                  <a:pt x="14525" y="6036"/>
                  <a:pt x="14525" y="6036"/>
                </a:cubicBezTo>
                <a:cubicBezTo>
                  <a:pt x="14505" y="6048"/>
                  <a:pt x="14505" y="6048"/>
                  <a:pt x="14505" y="6048"/>
                </a:cubicBezTo>
                <a:cubicBezTo>
                  <a:pt x="14518" y="6071"/>
                  <a:pt x="14518" y="6071"/>
                  <a:pt x="14518" y="6071"/>
                </a:cubicBezTo>
                <a:cubicBezTo>
                  <a:pt x="14512" y="6096"/>
                  <a:pt x="14512" y="6096"/>
                  <a:pt x="14512" y="6096"/>
                </a:cubicBezTo>
                <a:cubicBezTo>
                  <a:pt x="14527" y="6102"/>
                  <a:pt x="14527" y="6102"/>
                  <a:pt x="14527" y="6102"/>
                </a:cubicBezTo>
                <a:cubicBezTo>
                  <a:pt x="14518" y="6106"/>
                  <a:pt x="14518" y="6106"/>
                  <a:pt x="14518" y="6106"/>
                </a:cubicBezTo>
                <a:cubicBezTo>
                  <a:pt x="14522" y="6120"/>
                  <a:pt x="14522" y="6120"/>
                  <a:pt x="14522" y="6120"/>
                </a:cubicBezTo>
                <a:cubicBezTo>
                  <a:pt x="14538" y="6125"/>
                  <a:pt x="14538" y="6125"/>
                  <a:pt x="14538" y="6125"/>
                </a:cubicBezTo>
                <a:cubicBezTo>
                  <a:pt x="14522" y="6133"/>
                  <a:pt x="14522" y="6133"/>
                  <a:pt x="14522" y="6133"/>
                </a:cubicBezTo>
                <a:cubicBezTo>
                  <a:pt x="14531" y="6138"/>
                  <a:pt x="14531" y="6138"/>
                  <a:pt x="14531" y="6138"/>
                </a:cubicBezTo>
                <a:cubicBezTo>
                  <a:pt x="14531" y="6138"/>
                  <a:pt x="14528" y="6152"/>
                  <a:pt x="14528" y="6158"/>
                </a:cubicBezTo>
                <a:cubicBezTo>
                  <a:pt x="14528" y="6165"/>
                  <a:pt x="14541" y="6172"/>
                  <a:pt x="14541" y="6172"/>
                </a:cubicBezTo>
                <a:cubicBezTo>
                  <a:pt x="14528" y="6174"/>
                  <a:pt x="14528" y="6174"/>
                  <a:pt x="14528" y="6174"/>
                </a:cubicBezTo>
                <a:cubicBezTo>
                  <a:pt x="14520" y="6184"/>
                  <a:pt x="14520" y="6184"/>
                  <a:pt x="14520" y="6184"/>
                </a:cubicBezTo>
                <a:cubicBezTo>
                  <a:pt x="14531" y="6190"/>
                  <a:pt x="14531" y="6190"/>
                  <a:pt x="14531" y="6190"/>
                </a:cubicBezTo>
                <a:cubicBezTo>
                  <a:pt x="14531" y="6190"/>
                  <a:pt x="14510" y="6210"/>
                  <a:pt x="14508" y="6221"/>
                </a:cubicBezTo>
                <a:cubicBezTo>
                  <a:pt x="14507" y="6232"/>
                  <a:pt x="14517" y="6235"/>
                  <a:pt x="14517" y="6235"/>
                </a:cubicBezTo>
                <a:cubicBezTo>
                  <a:pt x="14517" y="6235"/>
                  <a:pt x="14495" y="6239"/>
                  <a:pt x="14482" y="6245"/>
                </a:cubicBezTo>
                <a:cubicBezTo>
                  <a:pt x="14469" y="6250"/>
                  <a:pt x="14472" y="6253"/>
                  <a:pt x="14456" y="6265"/>
                </a:cubicBezTo>
                <a:cubicBezTo>
                  <a:pt x="14439" y="6278"/>
                  <a:pt x="14425" y="6279"/>
                  <a:pt x="14404" y="6291"/>
                </a:cubicBezTo>
                <a:cubicBezTo>
                  <a:pt x="14383" y="6304"/>
                  <a:pt x="14402" y="6338"/>
                  <a:pt x="14402" y="6338"/>
                </a:cubicBezTo>
                <a:cubicBezTo>
                  <a:pt x="14402" y="6338"/>
                  <a:pt x="14425" y="6336"/>
                  <a:pt x="14435" y="6338"/>
                </a:cubicBezTo>
                <a:cubicBezTo>
                  <a:pt x="14445" y="6340"/>
                  <a:pt x="14435" y="6359"/>
                  <a:pt x="14435" y="6374"/>
                </a:cubicBezTo>
                <a:cubicBezTo>
                  <a:pt x="14436" y="6390"/>
                  <a:pt x="14419" y="6389"/>
                  <a:pt x="14402" y="6395"/>
                </a:cubicBezTo>
                <a:cubicBezTo>
                  <a:pt x="14385" y="6401"/>
                  <a:pt x="14393" y="6406"/>
                  <a:pt x="14393" y="6406"/>
                </a:cubicBezTo>
                <a:cubicBezTo>
                  <a:pt x="14383" y="6417"/>
                  <a:pt x="14383" y="6417"/>
                  <a:pt x="14383" y="6417"/>
                </a:cubicBezTo>
                <a:cubicBezTo>
                  <a:pt x="14383" y="6417"/>
                  <a:pt x="14401" y="6430"/>
                  <a:pt x="14415" y="6426"/>
                </a:cubicBezTo>
                <a:cubicBezTo>
                  <a:pt x="14428" y="6421"/>
                  <a:pt x="14459" y="6387"/>
                  <a:pt x="14470" y="6376"/>
                </a:cubicBezTo>
                <a:cubicBezTo>
                  <a:pt x="14481" y="6365"/>
                  <a:pt x="14508" y="6357"/>
                  <a:pt x="14513" y="6357"/>
                </a:cubicBezTo>
                <a:cubicBezTo>
                  <a:pt x="14518" y="6356"/>
                  <a:pt x="14523" y="6344"/>
                  <a:pt x="14523" y="6344"/>
                </a:cubicBezTo>
                <a:cubicBezTo>
                  <a:pt x="14523" y="6344"/>
                  <a:pt x="14530" y="6341"/>
                  <a:pt x="14541" y="6337"/>
                </a:cubicBezTo>
                <a:cubicBezTo>
                  <a:pt x="14552" y="6332"/>
                  <a:pt x="14541" y="6313"/>
                  <a:pt x="14541" y="6313"/>
                </a:cubicBezTo>
                <a:cubicBezTo>
                  <a:pt x="14541" y="6313"/>
                  <a:pt x="14551" y="6305"/>
                  <a:pt x="14564" y="6299"/>
                </a:cubicBezTo>
                <a:cubicBezTo>
                  <a:pt x="14578" y="6293"/>
                  <a:pt x="14588" y="6305"/>
                  <a:pt x="14600" y="6302"/>
                </a:cubicBezTo>
                <a:cubicBezTo>
                  <a:pt x="14612" y="6300"/>
                  <a:pt x="14608" y="6276"/>
                  <a:pt x="14608" y="6276"/>
                </a:cubicBezTo>
                <a:cubicBezTo>
                  <a:pt x="14608" y="6276"/>
                  <a:pt x="14619" y="6273"/>
                  <a:pt x="14631" y="6272"/>
                </a:cubicBezTo>
                <a:cubicBezTo>
                  <a:pt x="14642" y="6271"/>
                  <a:pt x="14634" y="6257"/>
                  <a:pt x="14641" y="6251"/>
                </a:cubicBezTo>
                <a:cubicBezTo>
                  <a:pt x="14649" y="6246"/>
                  <a:pt x="14657" y="6249"/>
                  <a:pt x="14667" y="6241"/>
                </a:cubicBezTo>
                <a:cubicBezTo>
                  <a:pt x="14677" y="6233"/>
                  <a:pt x="14673" y="6219"/>
                  <a:pt x="14665" y="6212"/>
                </a:cubicBezTo>
                <a:close/>
                <a:moveTo>
                  <a:pt x="13733" y="4291"/>
                </a:moveTo>
                <a:cubicBezTo>
                  <a:pt x="13720" y="4284"/>
                  <a:pt x="13698" y="4303"/>
                  <a:pt x="13698" y="4303"/>
                </a:cubicBezTo>
                <a:cubicBezTo>
                  <a:pt x="13717" y="4315"/>
                  <a:pt x="13717" y="4315"/>
                  <a:pt x="13717" y="4315"/>
                </a:cubicBezTo>
                <a:cubicBezTo>
                  <a:pt x="13735" y="4319"/>
                  <a:pt x="13746" y="4298"/>
                  <a:pt x="13733" y="4291"/>
                </a:cubicBezTo>
                <a:close/>
                <a:moveTo>
                  <a:pt x="14204" y="4676"/>
                </a:moveTo>
                <a:cubicBezTo>
                  <a:pt x="14229" y="4673"/>
                  <a:pt x="14229" y="4673"/>
                  <a:pt x="14229" y="4673"/>
                </a:cubicBezTo>
                <a:cubicBezTo>
                  <a:pt x="14197" y="4653"/>
                  <a:pt x="14197" y="4653"/>
                  <a:pt x="14197" y="4653"/>
                </a:cubicBezTo>
                <a:lnTo>
                  <a:pt x="14204" y="4676"/>
                </a:lnTo>
                <a:close/>
                <a:moveTo>
                  <a:pt x="13947" y="4386"/>
                </a:moveTo>
                <a:cubicBezTo>
                  <a:pt x="13953" y="4391"/>
                  <a:pt x="13973" y="4393"/>
                  <a:pt x="13978" y="4406"/>
                </a:cubicBezTo>
                <a:cubicBezTo>
                  <a:pt x="13982" y="4419"/>
                  <a:pt x="13964" y="4463"/>
                  <a:pt x="13991" y="4465"/>
                </a:cubicBezTo>
                <a:cubicBezTo>
                  <a:pt x="14006" y="4466"/>
                  <a:pt x="14014" y="4434"/>
                  <a:pt x="14001" y="4415"/>
                </a:cubicBezTo>
                <a:cubicBezTo>
                  <a:pt x="13988" y="4396"/>
                  <a:pt x="13966" y="4378"/>
                  <a:pt x="13966" y="4378"/>
                </a:cubicBezTo>
                <a:cubicBezTo>
                  <a:pt x="13957" y="4378"/>
                  <a:pt x="13957" y="4378"/>
                  <a:pt x="13957" y="4378"/>
                </a:cubicBezTo>
                <a:cubicBezTo>
                  <a:pt x="13957" y="4378"/>
                  <a:pt x="13926" y="4344"/>
                  <a:pt x="13922" y="4342"/>
                </a:cubicBezTo>
                <a:cubicBezTo>
                  <a:pt x="13918" y="4339"/>
                  <a:pt x="13910" y="4339"/>
                  <a:pt x="13910" y="4339"/>
                </a:cubicBezTo>
                <a:cubicBezTo>
                  <a:pt x="13896" y="4315"/>
                  <a:pt x="13896" y="4315"/>
                  <a:pt x="13896" y="4315"/>
                </a:cubicBezTo>
                <a:cubicBezTo>
                  <a:pt x="13888" y="4347"/>
                  <a:pt x="13888" y="4347"/>
                  <a:pt x="13888" y="4347"/>
                </a:cubicBezTo>
                <a:cubicBezTo>
                  <a:pt x="13918" y="4353"/>
                  <a:pt x="13918" y="4353"/>
                  <a:pt x="13918" y="4353"/>
                </a:cubicBezTo>
                <a:cubicBezTo>
                  <a:pt x="13918" y="4353"/>
                  <a:pt x="13941" y="4380"/>
                  <a:pt x="13947" y="4386"/>
                </a:cubicBezTo>
                <a:close/>
                <a:moveTo>
                  <a:pt x="13865" y="4544"/>
                </a:moveTo>
                <a:cubicBezTo>
                  <a:pt x="13876" y="4535"/>
                  <a:pt x="13876" y="4535"/>
                  <a:pt x="13876" y="4535"/>
                </a:cubicBezTo>
                <a:cubicBezTo>
                  <a:pt x="13876" y="4535"/>
                  <a:pt x="13888" y="4535"/>
                  <a:pt x="13901" y="4534"/>
                </a:cubicBezTo>
                <a:cubicBezTo>
                  <a:pt x="13915" y="4532"/>
                  <a:pt x="13925" y="4512"/>
                  <a:pt x="13925" y="4512"/>
                </a:cubicBezTo>
                <a:cubicBezTo>
                  <a:pt x="13944" y="4507"/>
                  <a:pt x="13944" y="4507"/>
                  <a:pt x="13944" y="4507"/>
                </a:cubicBezTo>
                <a:cubicBezTo>
                  <a:pt x="13938" y="4490"/>
                  <a:pt x="13938" y="4490"/>
                  <a:pt x="13938" y="4490"/>
                </a:cubicBezTo>
                <a:cubicBezTo>
                  <a:pt x="13956" y="4493"/>
                  <a:pt x="13956" y="4493"/>
                  <a:pt x="13956" y="4493"/>
                </a:cubicBezTo>
                <a:cubicBezTo>
                  <a:pt x="13956" y="4493"/>
                  <a:pt x="13964" y="4441"/>
                  <a:pt x="13957" y="4424"/>
                </a:cubicBezTo>
                <a:cubicBezTo>
                  <a:pt x="13950" y="4406"/>
                  <a:pt x="13919" y="4425"/>
                  <a:pt x="13910" y="4434"/>
                </a:cubicBezTo>
                <a:cubicBezTo>
                  <a:pt x="13901" y="4443"/>
                  <a:pt x="13923" y="4455"/>
                  <a:pt x="13923" y="4455"/>
                </a:cubicBezTo>
                <a:cubicBezTo>
                  <a:pt x="13925" y="4468"/>
                  <a:pt x="13925" y="4468"/>
                  <a:pt x="13925" y="4468"/>
                </a:cubicBezTo>
                <a:cubicBezTo>
                  <a:pt x="13878" y="4493"/>
                  <a:pt x="13878" y="4493"/>
                  <a:pt x="13878" y="4493"/>
                </a:cubicBezTo>
                <a:cubicBezTo>
                  <a:pt x="13878" y="4493"/>
                  <a:pt x="13854" y="4491"/>
                  <a:pt x="13838" y="4494"/>
                </a:cubicBezTo>
                <a:cubicBezTo>
                  <a:pt x="13822" y="4497"/>
                  <a:pt x="13816" y="4506"/>
                  <a:pt x="13806" y="4512"/>
                </a:cubicBezTo>
                <a:cubicBezTo>
                  <a:pt x="13796" y="4518"/>
                  <a:pt x="13790" y="4506"/>
                  <a:pt x="13784" y="4518"/>
                </a:cubicBezTo>
                <a:cubicBezTo>
                  <a:pt x="13800" y="4541"/>
                  <a:pt x="13800" y="4541"/>
                  <a:pt x="13800" y="4541"/>
                </a:cubicBezTo>
                <a:lnTo>
                  <a:pt x="13865" y="4544"/>
                </a:lnTo>
                <a:close/>
                <a:moveTo>
                  <a:pt x="12118" y="4562"/>
                </a:moveTo>
                <a:cubicBezTo>
                  <a:pt x="12113" y="4587"/>
                  <a:pt x="12134" y="4581"/>
                  <a:pt x="12134" y="4581"/>
                </a:cubicBezTo>
                <a:cubicBezTo>
                  <a:pt x="12172" y="4554"/>
                  <a:pt x="12172" y="4554"/>
                  <a:pt x="12172" y="4554"/>
                </a:cubicBezTo>
                <a:cubicBezTo>
                  <a:pt x="12169" y="4548"/>
                  <a:pt x="12169" y="4548"/>
                  <a:pt x="12169" y="4548"/>
                </a:cubicBezTo>
                <a:cubicBezTo>
                  <a:pt x="12169" y="4548"/>
                  <a:pt x="12119" y="4552"/>
                  <a:pt x="12118" y="4562"/>
                </a:cubicBezTo>
                <a:close/>
                <a:moveTo>
                  <a:pt x="14218" y="4641"/>
                </a:moveTo>
                <a:cubicBezTo>
                  <a:pt x="14216" y="4631"/>
                  <a:pt x="14216" y="4631"/>
                  <a:pt x="14216" y="4631"/>
                </a:cubicBezTo>
                <a:cubicBezTo>
                  <a:pt x="14190" y="4631"/>
                  <a:pt x="14190" y="4631"/>
                  <a:pt x="14190" y="4631"/>
                </a:cubicBezTo>
                <a:cubicBezTo>
                  <a:pt x="14191" y="4647"/>
                  <a:pt x="14191" y="4647"/>
                  <a:pt x="14191" y="4647"/>
                </a:cubicBezTo>
                <a:lnTo>
                  <a:pt x="14218" y="4641"/>
                </a:lnTo>
                <a:close/>
                <a:moveTo>
                  <a:pt x="14303" y="4652"/>
                </a:moveTo>
                <a:cubicBezTo>
                  <a:pt x="14319" y="4650"/>
                  <a:pt x="14251" y="4580"/>
                  <a:pt x="14246" y="4591"/>
                </a:cubicBezTo>
                <a:cubicBezTo>
                  <a:pt x="14240" y="4601"/>
                  <a:pt x="14295" y="4654"/>
                  <a:pt x="14303" y="4652"/>
                </a:cubicBezTo>
                <a:close/>
                <a:moveTo>
                  <a:pt x="14412" y="4765"/>
                </a:moveTo>
                <a:cubicBezTo>
                  <a:pt x="14370" y="4743"/>
                  <a:pt x="14370" y="4743"/>
                  <a:pt x="14370" y="4743"/>
                </a:cubicBezTo>
                <a:cubicBezTo>
                  <a:pt x="14403" y="4785"/>
                  <a:pt x="14403" y="4785"/>
                  <a:pt x="14403" y="4785"/>
                </a:cubicBezTo>
                <a:lnTo>
                  <a:pt x="14412" y="4765"/>
                </a:lnTo>
                <a:close/>
                <a:moveTo>
                  <a:pt x="14293" y="4692"/>
                </a:moveTo>
                <a:cubicBezTo>
                  <a:pt x="14293" y="4692"/>
                  <a:pt x="14289" y="4711"/>
                  <a:pt x="14307" y="4719"/>
                </a:cubicBezTo>
                <a:cubicBezTo>
                  <a:pt x="14333" y="4730"/>
                  <a:pt x="14348" y="4722"/>
                  <a:pt x="14348" y="4722"/>
                </a:cubicBezTo>
                <a:cubicBezTo>
                  <a:pt x="14348" y="4722"/>
                  <a:pt x="14347" y="4710"/>
                  <a:pt x="14328" y="4699"/>
                </a:cubicBezTo>
                <a:cubicBezTo>
                  <a:pt x="14310" y="4689"/>
                  <a:pt x="14293" y="4692"/>
                  <a:pt x="14293" y="4692"/>
                </a:cubicBezTo>
                <a:close/>
                <a:moveTo>
                  <a:pt x="12286" y="4345"/>
                </a:moveTo>
                <a:cubicBezTo>
                  <a:pt x="12291" y="4338"/>
                  <a:pt x="12310" y="4288"/>
                  <a:pt x="12310" y="4288"/>
                </a:cubicBezTo>
                <a:cubicBezTo>
                  <a:pt x="12310" y="4288"/>
                  <a:pt x="12292" y="4286"/>
                  <a:pt x="12289" y="4273"/>
                </a:cubicBezTo>
                <a:cubicBezTo>
                  <a:pt x="12286" y="4261"/>
                  <a:pt x="12292" y="4246"/>
                  <a:pt x="12297" y="4233"/>
                </a:cubicBezTo>
                <a:cubicBezTo>
                  <a:pt x="12303" y="4219"/>
                  <a:pt x="12325" y="4221"/>
                  <a:pt x="12338" y="4219"/>
                </a:cubicBezTo>
                <a:cubicBezTo>
                  <a:pt x="12350" y="4218"/>
                  <a:pt x="12357" y="4194"/>
                  <a:pt x="12356" y="4186"/>
                </a:cubicBezTo>
                <a:cubicBezTo>
                  <a:pt x="12354" y="4178"/>
                  <a:pt x="12334" y="4186"/>
                  <a:pt x="12334" y="4186"/>
                </a:cubicBezTo>
                <a:cubicBezTo>
                  <a:pt x="12334" y="4186"/>
                  <a:pt x="12331" y="4173"/>
                  <a:pt x="12343" y="4160"/>
                </a:cubicBezTo>
                <a:cubicBezTo>
                  <a:pt x="12356" y="4149"/>
                  <a:pt x="12383" y="4154"/>
                  <a:pt x="12394" y="4156"/>
                </a:cubicBezTo>
                <a:cubicBezTo>
                  <a:pt x="12405" y="4159"/>
                  <a:pt x="12405" y="4142"/>
                  <a:pt x="12405" y="4142"/>
                </a:cubicBezTo>
                <a:cubicBezTo>
                  <a:pt x="12379" y="4120"/>
                  <a:pt x="12379" y="4120"/>
                  <a:pt x="12379" y="4120"/>
                </a:cubicBezTo>
                <a:cubicBezTo>
                  <a:pt x="12379" y="4093"/>
                  <a:pt x="12379" y="4093"/>
                  <a:pt x="12379" y="4093"/>
                </a:cubicBezTo>
                <a:cubicBezTo>
                  <a:pt x="12379" y="4093"/>
                  <a:pt x="12360" y="4092"/>
                  <a:pt x="12360" y="4084"/>
                </a:cubicBezTo>
                <a:cubicBezTo>
                  <a:pt x="12360" y="4076"/>
                  <a:pt x="12372" y="4064"/>
                  <a:pt x="12371" y="4053"/>
                </a:cubicBezTo>
                <a:cubicBezTo>
                  <a:pt x="12370" y="4041"/>
                  <a:pt x="12337" y="4038"/>
                  <a:pt x="12337" y="4038"/>
                </a:cubicBezTo>
                <a:cubicBezTo>
                  <a:pt x="12348" y="4020"/>
                  <a:pt x="12348" y="4020"/>
                  <a:pt x="12348" y="4020"/>
                </a:cubicBezTo>
                <a:cubicBezTo>
                  <a:pt x="12337" y="4015"/>
                  <a:pt x="12337" y="4015"/>
                  <a:pt x="12337" y="4015"/>
                </a:cubicBezTo>
                <a:cubicBezTo>
                  <a:pt x="12341" y="3995"/>
                  <a:pt x="12341" y="3995"/>
                  <a:pt x="12341" y="3995"/>
                </a:cubicBezTo>
                <a:cubicBezTo>
                  <a:pt x="12333" y="3984"/>
                  <a:pt x="12333" y="3984"/>
                  <a:pt x="12333" y="3984"/>
                </a:cubicBezTo>
                <a:cubicBezTo>
                  <a:pt x="12333" y="3984"/>
                  <a:pt x="12333" y="3984"/>
                  <a:pt x="12333" y="3984"/>
                </a:cubicBezTo>
                <a:cubicBezTo>
                  <a:pt x="12332" y="3983"/>
                  <a:pt x="12332" y="3983"/>
                  <a:pt x="12332" y="3983"/>
                </a:cubicBezTo>
                <a:cubicBezTo>
                  <a:pt x="12345" y="3980"/>
                  <a:pt x="12345" y="3980"/>
                  <a:pt x="12345" y="3980"/>
                </a:cubicBezTo>
                <a:cubicBezTo>
                  <a:pt x="12336" y="3938"/>
                  <a:pt x="12336" y="3938"/>
                  <a:pt x="12336" y="3938"/>
                </a:cubicBezTo>
                <a:cubicBezTo>
                  <a:pt x="12336" y="3938"/>
                  <a:pt x="12351" y="3954"/>
                  <a:pt x="12360" y="3956"/>
                </a:cubicBezTo>
                <a:cubicBezTo>
                  <a:pt x="12370" y="3957"/>
                  <a:pt x="12385" y="3954"/>
                  <a:pt x="12385" y="3954"/>
                </a:cubicBezTo>
                <a:cubicBezTo>
                  <a:pt x="12385" y="3954"/>
                  <a:pt x="12360" y="3930"/>
                  <a:pt x="12366" y="3920"/>
                </a:cubicBezTo>
                <a:cubicBezTo>
                  <a:pt x="12371" y="3909"/>
                  <a:pt x="12402" y="3925"/>
                  <a:pt x="12402" y="3925"/>
                </a:cubicBezTo>
                <a:cubicBezTo>
                  <a:pt x="12419" y="3905"/>
                  <a:pt x="12419" y="3905"/>
                  <a:pt x="12419" y="3905"/>
                </a:cubicBezTo>
                <a:cubicBezTo>
                  <a:pt x="12402" y="3899"/>
                  <a:pt x="12402" y="3899"/>
                  <a:pt x="12402" y="3899"/>
                </a:cubicBezTo>
                <a:cubicBezTo>
                  <a:pt x="12402" y="3899"/>
                  <a:pt x="12399" y="3887"/>
                  <a:pt x="12391" y="3882"/>
                </a:cubicBezTo>
                <a:cubicBezTo>
                  <a:pt x="12383" y="3876"/>
                  <a:pt x="12351" y="3871"/>
                  <a:pt x="12351" y="3871"/>
                </a:cubicBezTo>
                <a:cubicBezTo>
                  <a:pt x="12351" y="3871"/>
                  <a:pt x="12350" y="3852"/>
                  <a:pt x="12338" y="3840"/>
                </a:cubicBezTo>
                <a:cubicBezTo>
                  <a:pt x="12325" y="3827"/>
                  <a:pt x="12312" y="3836"/>
                  <a:pt x="12312" y="3836"/>
                </a:cubicBezTo>
                <a:cubicBezTo>
                  <a:pt x="12301" y="3795"/>
                  <a:pt x="12301" y="3795"/>
                  <a:pt x="12301" y="3795"/>
                </a:cubicBezTo>
                <a:cubicBezTo>
                  <a:pt x="12297" y="3808"/>
                  <a:pt x="12297" y="3808"/>
                  <a:pt x="12297" y="3808"/>
                </a:cubicBezTo>
                <a:cubicBezTo>
                  <a:pt x="12287" y="3794"/>
                  <a:pt x="12287" y="3794"/>
                  <a:pt x="12287" y="3794"/>
                </a:cubicBezTo>
                <a:cubicBezTo>
                  <a:pt x="12281" y="3835"/>
                  <a:pt x="12281" y="3835"/>
                  <a:pt x="12281" y="3835"/>
                </a:cubicBezTo>
                <a:cubicBezTo>
                  <a:pt x="12281" y="3835"/>
                  <a:pt x="12266" y="3839"/>
                  <a:pt x="12259" y="3844"/>
                </a:cubicBezTo>
                <a:cubicBezTo>
                  <a:pt x="12252" y="3849"/>
                  <a:pt x="12251" y="3871"/>
                  <a:pt x="12251" y="3871"/>
                </a:cubicBezTo>
                <a:cubicBezTo>
                  <a:pt x="12234" y="3877"/>
                  <a:pt x="12234" y="3877"/>
                  <a:pt x="12234" y="3877"/>
                </a:cubicBezTo>
                <a:cubicBezTo>
                  <a:pt x="12241" y="3901"/>
                  <a:pt x="12241" y="3901"/>
                  <a:pt x="12241" y="3901"/>
                </a:cubicBezTo>
                <a:cubicBezTo>
                  <a:pt x="12241" y="3901"/>
                  <a:pt x="12217" y="3898"/>
                  <a:pt x="12201" y="3895"/>
                </a:cubicBezTo>
                <a:cubicBezTo>
                  <a:pt x="12186" y="3891"/>
                  <a:pt x="12185" y="3930"/>
                  <a:pt x="12185" y="3930"/>
                </a:cubicBezTo>
                <a:cubicBezTo>
                  <a:pt x="12158" y="3960"/>
                  <a:pt x="12158" y="3960"/>
                  <a:pt x="12158" y="3960"/>
                </a:cubicBezTo>
                <a:cubicBezTo>
                  <a:pt x="12158" y="3960"/>
                  <a:pt x="12150" y="3995"/>
                  <a:pt x="12134" y="4007"/>
                </a:cubicBezTo>
                <a:cubicBezTo>
                  <a:pt x="12118" y="4018"/>
                  <a:pt x="12077" y="4026"/>
                  <a:pt x="12068" y="4029"/>
                </a:cubicBezTo>
                <a:cubicBezTo>
                  <a:pt x="12059" y="4031"/>
                  <a:pt x="12027" y="4056"/>
                  <a:pt x="12027" y="4056"/>
                </a:cubicBezTo>
                <a:cubicBezTo>
                  <a:pt x="12018" y="4079"/>
                  <a:pt x="12018" y="4079"/>
                  <a:pt x="12018" y="4079"/>
                </a:cubicBezTo>
                <a:cubicBezTo>
                  <a:pt x="12018" y="4079"/>
                  <a:pt x="12042" y="4097"/>
                  <a:pt x="12023" y="4111"/>
                </a:cubicBezTo>
                <a:cubicBezTo>
                  <a:pt x="12005" y="4125"/>
                  <a:pt x="11992" y="4102"/>
                  <a:pt x="11981" y="4099"/>
                </a:cubicBezTo>
                <a:cubicBezTo>
                  <a:pt x="11971" y="4097"/>
                  <a:pt x="11958" y="4116"/>
                  <a:pt x="11958" y="4116"/>
                </a:cubicBezTo>
                <a:cubicBezTo>
                  <a:pt x="11958" y="4116"/>
                  <a:pt x="11939" y="4098"/>
                  <a:pt x="11926" y="4112"/>
                </a:cubicBezTo>
                <a:cubicBezTo>
                  <a:pt x="11912" y="4127"/>
                  <a:pt x="11905" y="4163"/>
                  <a:pt x="11905" y="4163"/>
                </a:cubicBezTo>
                <a:cubicBezTo>
                  <a:pt x="11921" y="4185"/>
                  <a:pt x="11921" y="4185"/>
                  <a:pt x="11921" y="4185"/>
                </a:cubicBezTo>
                <a:cubicBezTo>
                  <a:pt x="11928" y="4220"/>
                  <a:pt x="11928" y="4220"/>
                  <a:pt x="11928" y="4220"/>
                </a:cubicBezTo>
                <a:cubicBezTo>
                  <a:pt x="11959" y="4238"/>
                  <a:pt x="11959" y="4238"/>
                  <a:pt x="11959" y="4238"/>
                </a:cubicBezTo>
                <a:cubicBezTo>
                  <a:pt x="11954" y="4262"/>
                  <a:pt x="11954" y="4262"/>
                  <a:pt x="11954" y="4262"/>
                </a:cubicBezTo>
                <a:cubicBezTo>
                  <a:pt x="11971" y="4273"/>
                  <a:pt x="11971" y="4273"/>
                  <a:pt x="11971" y="4273"/>
                </a:cubicBezTo>
                <a:cubicBezTo>
                  <a:pt x="11960" y="4292"/>
                  <a:pt x="11960" y="4292"/>
                  <a:pt x="11960" y="4292"/>
                </a:cubicBezTo>
                <a:cubicBezTo>
                  <a:pt x="11973" y="4310"/>
                  <a:pt x="11973" y="4310"/>
                  <a:pt x="11973" y="4310"/>
                </a:cubicBezTo>
                <a:cubicBezTo>
                  <a:pt x="11962" y="4317"/>
                  <a:pt x="11962" y="4317"/>
                  <a:pt x="11962" y="4317"/>
                </a:cubicBezTo>
                <a:cubicBezTo>
                  <a:pt x="11972" y="4355"/>
                  <a:pt x="11972" y="4355"/>
                  <a:pt x="11972" y="4355"/>
                </a:cubicBezTo>
                <a:cubicBezTo>
                  <a:pt x="12000" y="4351"/>
                  <a:pt x="12000" y="4351"/>
                  <a:pt x="12000" y="4351"/>
                </a:cubicBezTo>
                <a:cubicBezTo>
                  <a:pt x="12020" y="4358"/>
                  <a:pt x="12020" y="4358"/>
                  <a:pt x="12020" y="4358"/>
                </a:cubicBezTo>
                <a:cubicBezTo>
                  <a:pt x="12020" y="4358"/>
                  <a:pt x="12032" y="4336"/>
                  <a:pt x="12044" y="4336"/>
                </a:cubicBezTo>
                <a:cubicBezTo>
                  <a:pt x="12056" y="4336"/>
                  <a:pt x="12044" y="4368"/>
                  <a:pt x="12056" y="4378"/>
                </a:cubicBezTo>
                <a:cubicBezTo>
                  <a:pt x="12067" y="4387"/>
                  <a:pt x="12077" y="4357"/>
                  <a:pt x="12077" y="4357"/>
                </a:cubicBezTo>
                <a:cubicBezTo>
                  <a:pt x="12095" y="4369"/>
                  <a:pt x="12095" y="4369"/>
                  <a:pt x="12095" y="4369"/>
                </a:cubicBezTo>
                <a:cubicBezTo>
                  <a:pt x="12095" y="4369"/>
                  <a:pt x="12111" y="4355"/>
                  <a:pt x="12120" y="4355"/>
                </a:cubicBezTo>
                <a:cubicBezTo>
                  <a:pt x="12129" y="4354"/>
                  <a:pt x="12123" y="4380"/>
                  <a:pt x="12133" y="4383"/>
                </a:cubicBezTo>
                <a:cubicBezTo>
                  <a:pt x="12143" y="4387"/>
                  <a:pt x="12174" y="4371"/>
                  <a:pt x="12190" y="4374"/>
                </a:cubicBezTo>
                <a:cubicBezTo>
                  <a:pt x="12206" y="4378"/>
                  <a:pt x="12191" y="4427"/>
                  <a:pt x="12191" y="4427"/>
                </a:cubicBezTo>
                <a:cubicBezTo>
                  <a:pt x="12191" y="4427"/>
                  <a:pt x="12205" y="4423"/>
                  <a:pt x="12221" y="4416"/>
                </a:cubicBezTo>
                <a:cubicBezTo>
                  <a:pt x="12237" y="4408"/>
                  <a:pt x="12259" y="4369"/>
                  <a:pt x="12259" y="4369"/>
                </a:cubicBezTo>
                <a:cubicBezTo>
                  <a:pt x="12259" y="4369"/>
                  <a:pt x="12280" y="4352"/>
                  <a:pt x="12286" y="4345"/>
                </a:cubicBezTo>
                <a:close/>
                <a:moveTo>
                  <a:pt x="12956" y="4630"/>
                </a:moveTo>
                <a:cubicBezTo>
                  <a:pt x="12975" y="4615"/>
                  <a:pt x="12975" y="4615"/>
                  <a:pt x="12975" y="4615"/>
                </a:cubicBezTo>
                <a:cubicBezTo>
                  <a:pt x="12975" y="4615"/>
                  <a:pt x="12997" y="4623"/>
                  <a:pt x="12997" y="4601"/>
                </a:cubicBezTo>
                <a:cubicBezTo>
                  <a:pt x="12997" y="4579"/>
                  <a:pt x="12946" y="4605"/>
                  <a:pt x="12946" y="4624"/>
                </a:cubicBezTo>
                <a:lnTo>
                  <a:pt x="12956" y="4630"/>
                </a:lnTo>
                <a:close/>
                <a:moveTo>
                  <a:pt x="12188" y="4632"/>
                </a:moveTo>
                <a:cubicBezTo>
                  <a:pt x="12185" y="4651"/>
                  <a:pt x="12185" y="4651"/>
                  <a:pt x="12185" y="4651"/>
                </a:cubicBezTo>
                <a:cubicBezTo>
                  <a:pt x="12185" y="4651"/>
                  <a:pt x="12195" y="4679"/>
                  <a:pt x="12208" y="4668"/>
                </a:cubicBezTo>
                <a:cubicBezTo>
                  <a:pt x="12221" y="4658"/>
                  <a:pt x="12224" y="4632"/>
                  <a:pt x="12214" y="4632"/>
                </a:cubicBezTo>
                <a:cubicBezTo>
                  <a:pt x="12204" y="4632"/>
                  <a:pt x="12188" y="4632"/>
                  <a:pt x="12188" y="4632"/>
                </a:cubicBezTo>
                <a:close/>
                <a:moveTo>
                  <a:pt x="12905" y="4830"/>
                </a:moveTo>
                <a:cubicBezTo>
                  <a:pt x="12914" y="4840"/>
                  <a:pt x="12930" y="4808"/>
                  <a:pt x="12930" y="4808"/>
                </a:cubicBezTo>
                <a:cubicBezTo>
                  <a:pt x="12920" y="4794"/>
                  <a:pt x="12896" y="4819"/>
                  <a:pt x="12905" y="4830"/>
                </a:cubicBezTo>
                <a:close/>
                <a:moveTo>
                  <a:pt x="12245" y="4630"/>
                </a:moveTo>
                <a:cubicBezTo>
                  <a:pt x="12235" y="4629"/>
                  <a:pt x="12229" y="4640"/>
                  <a:pt x="12229" y="4640"/>
                </a:cubicBezTo>
                <a:cubicBezTo>
                  <a:pt x="12229" y="4640"/>
                  <a:pt x="12246" y="4655"/>
                  <a:pt x="12257" y="4648"/>
                </a:cubicBezTo>
                <a:cubicBezTo>
                  <a:pt x="12267" y="4640"/>
                  <a:pt x="12255" y="4632"/>
                  <a:pt x="12245" y="4630"/>
                </a:cubicBezTo>
                <a:close/>
                <a:moveTo>
                  <a:pt x="13136" y="4491"/>
                </a:moveTo>
                <a:cubicBezTo>
                  <a:pt x="13117" y="4495"/>
                  <a:pt x="13117" y="4495"/>
                  <a:pt x="13117" y="4495"/>
                </a:cubicBezTo>
                <a:cubicBezTo>
                  <a:pt x="13112" y="4516"/>
                  <a:pt x="13112" y="4516"/>
                  <a:pt x="13112" y="4516"/>
                </a:cubicBezTo>
                <a:cubicBezTo>
                  <a:pt x="13102" y="4526"/>
                  <a:pt x="13102" y="4526"/>
                  <a:pt x="13102" y="4526"/>
                </a:cubicBezTo>
                <a:cubicBezTo>
                  <a:pt x="13104" y="4561"/>
                  <a:pt x="13104" y="4561"/>
                  <a:pt x="13104" y="4561"/>
                </a:cubicBezTo>
                <a:cubicBezTo>
                  <a:pt x="13115" y="4564"/>
                  <a:pt x="13115" y="4564"/>
                  <a:pt x="13115" y="4564"/>
                </a:cubicBezTo>
                <a:cubicBezTo>
                  <a:pt x="13114" y="4551"/>
                  <a:pt x="13114" y="4551"/>
                  <a:pt x="13114" y="4551"/>
                </a:cubicBezTo>
                <a:cubicBezTo>
                  <a:pt x="13121" y="4548"/>
                  <a:pt x="13121" y="4548"/>
                  <a:pt x="13121" y="4548"/>
                </a:cubicBezTo>
                <a:cubicBezTo>
                  <a:pt x="13120" y="4533"/>
                  <a:pt x="13120" y="4533"/>
                  <a:pt x="13120" y="4533"/>
                </a:cubicBezTo>
                <a:cubicBezTo>
                  <a:pt x="13111" y="4533"/>
                  <a:pt x="13111" y="4533"/>
                  <a:pt x="13111" y="4533"/>
                </a:cubicBezTo>
                <a:cubicBezTo>
                  <a:pt x="13123" y="4513"/>
                  <a:pt x="13123" y="4513"/>
                  <a:pt x="13123" y="4513"/>
                </a:cubicBezTo>
                <a:lnTo>
                  <a:pt x="13136" y="4491"/>
                </a:lnTo>
                <a:close/>
                <a:moveTo>
                  <a:pt x="14354" y="4634"/>
                </a:moveTo>
                <a:cubicBezTo>
                  <a:pt x="14354" y="4634"/>
                  <a:pt x="14343" y="4669"/>
                  <a:pt x="14349" y="4680"/>
                </a:cubicBezTo>
                <a:cubicBezTo>
                  <a:pt x="14356" y="4690"/>
                  <a:pt x="14383" y="4710"/>
                  <a:pt x="14383" y="4710"/>
                </a:cubicBezTo>
                <a:lnTo>
                  <a:pt x="14354" y="4634"/>
                </a:lnTo>
                <a:close/>
                <a:moveTo>
                  <a:pt x="11730" y="4507"/>
                </a:moveTo>
                <a:cubicBezTo>
                  <a:pt x="11735" y="4502"/>
                  <a:pt x="11735" y="4487"/>
                  <a:pt x="11735" y="4487"/>
                </a:cubicBezTo>
                <a:cubicBezTo>
                  <a:pt x="11754" y="4505"/>
                  <a:pt x="11754" y="4505"/>
                  <a:pt x="11754" y="4505"/>
                </a:cubicBezTo>
                <a:cubicBezTo>
                  <a:pt x="11754" y="4505"/>
                  <a:pt x="11762" y="4482"/>
                  <a:pt x="11762" y="4466"/>
                </a:cubicBezTo>
                <a:cubicBezTo>
                  <a:pt x="11762" y="4450"/>
                  <a:pt x="11771" y="4406"/>
                  <a:pt x="11771" y="4406"/>
                </a:cubicBezTo>
                <a:cubicBezTo>
                  <a:pt x="11771" y="4406"/>
                  <a:pt x="11762" y="4401"/>
                  <a:pt x="11762" y="4391"/>
                </a:cubicBezTo>
                <a:cubicBezTo>
                  <a:pt x="11762" y="4382"/>
                  <a:pt x="11781" y="4367"/>
                  <a:pt x="11775" y="4362"/>
                </a:cubicBezTo>
                <a:cubicBezTo>
                  <a:pt x="11770" y="4357"/>
                  <a:pt x="11765" y="4353"/>
                  <a:pt x="11765" y="4353"/>
                </a:cubicBezTo>
                <a:cubicBezTo>
                  <a:pt x="11757" y="4322"/>
                  <a:pt x="11757" y="4322"/>
                  <a:pt x="11757" y="4322"/>
                </a:cubicBezTo>
                <a:cubicBezTo>
                  <a:pt x="11729" y="4323"/>
                  <a:pt x="11729" y="4323"/>
                  <a:pt x="11729" y="4323"/>
                </a:cubicBezTo>
                <a:cubicBezTo>
                  <a:pt x="11729" y="4323"/>
                  <a:pt x="11733" y="4305"/>
                  <a:pt x="11726" y="4301"/>
                </a:cubicBezTo>
                <a:cubicBezTo>
                  <a:pt x="11719" y="4297"/>
                  <a:pt x="11705" y="4298"/>
                  <a:pt x="11705" y="4298"/>
                </a:cubicBezTo>
                <a:cubicBezTo>
                  <a:pt x="11699" y="4251"/>
                  <a:pt x="11699" y="4251"/>
                  <a:pt x="11699" y="4251"/>
                </a:cubicBezTo>
                <a:cubicBezTo>
                  <a:pt x="11699" y="4251"/>
                  <a:pt x="11657" y="4255"/>
                  <a:pt x="11654" y="4242"/>
                </a:cubicBezTo>
                <a:cubicBezTo>
                  <a:pt x="11651" y="4229"/>
                  <a:pt x="11665" y="4213"/>
                  <a:pt x="11665" y="4213"/>
                </a:cubicBezTo>
                <a:cubicBezTo>
                  <a:pt x="11649" y="4211"/>
                  <a:pt x="11649" y="4211"/>
                  <a:pt x="11649" y="4211"/>
                </a:cubicBezTo>
                <a:cubicBezTo>
                  <a:pt x="11649" y="4211"/>
                  <a:pt x="11674" y="4182"/>
                  <a:pt x="11665" y="4174"/>
                </a:cubicBezTo>
                <a:cubicBezTo>
                  <a:pt x="11655" y="4166"/>
                  <a:pt x="11613" y="4185"/>
                  <a:pt x="11613" y="4185"/>
                </a:cubicBezTo>
                <a:cubicBezTo>
                  <a:pt x="11613" y="4185"/>
                  <a:pt x="11638" y="4161"/>
                  <a:pt x="11630" y="4157"/>
                </a:cubicBezTo>
                <a:cubicBezTo>
                  <a:pt x="11622" y="4153"/>
                  <a:pt x="11598" y="4149"/>
                  <a:pt x="11598" y="4149"/>
                </a:cubicBezTo>
                <a:cubicBezTo>
                  <a:pt x="11598" y="4149"/>
                  <a:pt x="11609" y="4141"/>
                  <a:pt x="11595" y="4123"/>
                </a:cubicBezTo>
                <a:cubicBezTo>
                  <a:pt x="11582" y="4106"/>
                  <a:pt x="11559" y="4105"/>
                  <a:pt x="11559" y="4105"/>
                </a:cubicBezTo>
                <a:cubicBezTo>
                  <a:pt x="11559" y="4105"/>
                  <a:pt x="11553" y="4085"/>
                  <a:pt x="11546" y="4077"/>
                </a:cubicBezTo>
                <a:cubicBezTo>
                  <a:pt x="11539" y="4069"/>
                  <a:pt x="11530" y="4075"/>
                  <a:pt x="11530" y="4075"/>
                </a:cubicBezTo>
                <a:cubicBezTo>
                  <a:pt x="11534" y="4090"/>
                  <a:pt x="11534" y="4090"/>
                  <a:pt x="11534" y="4090"/>
                </a:cubicBezTo>
                <a:cubicBezTo>
                  <a:pt x="11534" y="4090"/>
                  <a:pt x="11509" y="4071"/>
                  <a:pt x="11503" y="4065"/>
                </a:cubicBezTo>
                <a:cubicBezTo>
                  <a:pt x="11498" y="4058"/>
                  <a:pt x="11487" y="4031"/>
                  <a:pt x="11487" y="4031"/>
                </a:cubicBezTo>
                <a:cubicBezTo>
                  <a:pt x="11487" y="4031"/>
                  <a:pt x="11457" y="4010"/>
                  <a:pt x="11443" y="3998"/>
                </a:cubicBezTo>
                <a:cubicBezTo>
                  <a:pt x="11430" y="3986"/>
                  <a:pt x="11407" y="3967"/>
                  <a:pt x="11407" y="3967"/>
                </a:cubicBezTo>
                <a:cubicBezTo>
                  <a:pt x="11407" y="3967"/>
                  <a:pt x="11411" y="3962"/>
                  <a:pt x="11406" y="3957"/>
                </a:cubicBezTo>
                <a:cubicBezTo>
                  <a:pt x="11401" y="3951"/>
                  <a:pt x="11394" y="3945"/>
                  <a:pt x="11394" y="3945"/>
                </a:cubicBezTo>
                <a:cubicBezTo>
                  <a:pt x="11394" y="3945"/>
                  <a:pt x="11383" y="3926"/>
                  <a:pt x="11375" y="3919"/>
                </a:cubicBezTo>
                <a:cubicBezTo>
                  <a:pt x="11367" y="3913"/>
                  <a:pt x="11359" y="3914"/>
                  <a:pt x="11359" y="3914"/>
                </a:cubicBezTo>
                <a:cubicBezTo>
                  <a:pt x="11302" y="3910"/>
                  <a:pt x="11302" y="3910"/>
                  <a:pt x="11302" y="3910"/>
                </a:cubicBezTo>
                <a:cubicBezTo>
                  <a:pt x="11302" y="3910"/>
                  <a:pt x="11282" y="3885"/>
                  <a:pt x="11271" y="3887"/>
                </a:cubicBezTo>
                <a:cubicBezTo>
                  <a:pt x="11261" y="3890"/>
                  <a:pt x="11255" y="3914"/>
                  <a:pt x="11262" y="3926"/>
                </a:cubicBezTo>
                <a:cubicBezTo>
                  <a:pt x="11269" y="3938"/>
                  <a:pt x="11343" y="4006"/>
                  <a:pt x="11343" y="4006"/>
                </a:cubicBezTo>
                <a:cubicBezTo>
                  <a:pt x="11366" y="4042"/>
                  <a:pt x="11366" y="4042"/>
                  <a:pt x="11366" y="4042"/>
                </a:cubicBezTo>
                <a:cubicBezTo>
                  <a:pt x="11374" y="4039"/>
                  <a:pt x="11374" y="4039"/>
                  <a:pt x="11374" y="4039"/>
                </a:cubicBezTo>
                <a:cubicBezTo>
                  <a:pt x="11374" y="4039"/>
                  <a:pt x="11377" y="4063"/>
                  <a:pt x="11383" y="4069"/>
                </a:cubicBezTo>
                <a:cubicBezTo>
                  <a:pt x="11390" y="4074"/>
                  <a:pt x="11425" y="4087"/>
                  <a:pt x="11433" y="4103"/>
                </a:cubicBezTo>
                <a:cubicBezTo>
                  <a:pt x="11441" y="4119"/>
                  <a:pt x="11449" y="4151"/>
                  <a:pt x="11449" y="4151"/>
                </a:cubicBezTo>
                <a:cubicBezTo>
                  <a:pt x="11449" y="4151"/>
                  <a:pt x="11446" y="4186"/>
                  <a:pt x="11454" y="4186"/>
                </a:cubicBezTo>
                <a:cubicBezTo>
                  <a:pt x="11462" y="4186"/>
                  <a:pt x="11474" y="4178"/>
                  <a:pt x="11477" y="4187"/>
                </a:cubicBezTo>
                <a:cubicBezTo>
                  <a:pt x="11479" y="4197"/>
                  <a:pt x="11485" y="4213"/>
                  <a:pt x="11485" y="4213"/>
                </a:cubicBezTo>
                <a:cubicBezTo>
                  <a:pt x="11510" y="4234"/>
                  <a:pt x="11510" y="4234"/>
                  <a:pt x="11510" y="4234"/>
                </a:cubicBezTo>
                <a:cubicBezTo>
                  <a:pt x="11509" y="4250"/>
                  <a:pt x="11509" y="4250"/>
                  <a:pt x="11509" y="4250"/>
                </a:cubicBezTo>
                <a:cubicBezTo>
                  <a:pt x="11530" y="4293"/>
                  <a:pt x="11530" y="4293"/>
                  <a:pt x="11530" y="4293"/>
                </a:cubicBezTo>
                <a:cubicBezTo>
                  <a:pt x="11530" y="4293"/>
                  <a:pt x="11523" y="4306"/>
                  <a:pt x="11533" y="4321"/>
                </a:cubicBezTo>
                <a:cubicBezTo>
                  <a:pt x="11542" y="4335"/>
                  <a:pt x="11551" y="4338"/>
                  <a:pt x="11551" y="4338"/>
                </a:cubicBezTo>
                <a:cubicBezTo>
                  <a:pt x="11551" y="4338"/>
                  <a:pt x="11561" y="4362"/>
                  <a:pt x="11569" y="4370"/>
                </a:cubicBezTo>
                <a:cubicBezTo>
                  <a:pt x="11577" y="4378"/>
                  <a:pt x="11598" y="4386"/>
                  <a:pt x="11598" y="4386"/>
                </a:cubicBezTo>
                <a:cubicBezTo>
                  <a:pt x="11598" y="4411"/>
                  <a:pt x="11598" y="4411"/>
                  <a:pt x="11598" y="4411"/>
                </a:cubicBezTo>
                <a:cubicBezTo>
                  <a:pt x="11598" y="4411"/>
                  <a:pt x="11647" y="4453"/>
                  <a:pt x="11650" y="4457"/>
                </a:cubicBezTo>
                <a:cubicBezTo>
                  <a:pt x="11653" y="4461"/>
                  <a:pt x="11666" y="4462"/>
                  <a:pt x="11666" y="4462"/>
                </a:cubicBezTo>
                <a:cubicBezTo>
                  <a:pt x="11666" y="4462"/>
                  <a:pt x="11677" y="4487"/>
                  <a:pt x="11685" y="4491"/>
                </a:cubicBezTo>
                <a:cubicBezTo>
                  <a:pt x="11693" y="4495"/>
                  <a:pt x="11695" y="4517"/>
                  <a:pt x="11699" y="4515"/>
                </a:cubicBezTo>
                <a:cubicBezTo>
                  <a:pt x="11703" y="4514"/>
                  <a:pt x="11697" y="4493"/>
                  <a:pt x="11702" y="4490"/>
                </a:cubicBezTo>
                <a:cubicBezTo>
                  <a:pt x="11707" y="4487"/>
                  <a:pt x="11725" y="4513"/>
                  <a:pt x="11730" y="4507"/>
                </a:cubicBezTo>
                <a:close/>
                <a:moveTo>
                  <a:pt x="13238" y="6397"/>
                </a:moveTo>
                <a:cubicBezTo>
                  <a:pt x="13229" y="6391"/>
                  <a:pt x="13218" y="6411"/>
                  <a:pt x="13218" y="6411"/>
                </a:cubicBezTo>
                <a:cubicBezTo>
                  <a:pt x="13218" y="6411"/>
                  <a:pt x="13214" y="6405"/>
                  <a:pt x="13210" y="6405"/>
                </a:cubicBezTo>
                <a:cubicBezTo>
                  <a:pt x="13206" y="6404"/>
                  <a:pt x="13183" y="6408"/>
                  <a:pt x="13183" y="6408"/>
                </a:cubicBezTo>
                <a:cubicBezTo>
                  <a:pt x="13180" y="6416"/>
                  <a:pt x="13180" y="6416"/>
                  <a:pt x="13180" y="6416"/>
                </a:cubicBezTo>
                <a:cubicBezTo>
                  <a:pt x="13167" y="6405"/>
                  <a:pt x="13167" y="6405"/>
                  <a:pt x="13167" y="6405"/>
                </a:cubicBezTo>
                <a:cubicBezTo>
                  <a:pt x="13142" y="6403"/>
                  <a:pt x="13142" y="6403"/>
                  <a:pt x="13142" y="6403"/>
                </a:cubicBezTo>
                <a:cubicBezTo>
                  <a:pt x="13127" y="6385"/>
                  <a:pt x="13127" y="6385"/>
                  <a:pt x="13127" y="6385"/>
                </a:cubicBezTo>
                <a:cubicBezTo>
                  <a:pt x="13127" y="6385"/>
                  <a:pt x="13122" y="6388"/>
                  <a:pt x="13116" y="6389"/>
                </a:cubicBezTo>
                <a:cubicBezTo>
                  <a:pt x="13111" y="6390"/>
                  <a:pt x="13094" y="6370"/>
                  <a:pt x="13094" y="6370"/>
                </a:cubicBezTo>
                <a:cubicBezTo>
                  <a:pt x="13090" y="6381"/>
                  <a:pt x="13090" y="6381"/>
                  <a:pt x="13090" y="6381"/>
                </a:cubicBezTo>
                <a:cubicBezTo>
                  <a:pt x="13094" y="6394"/>
                  <a:pt x="13094" y="6394"/>
                  <a:pt x="13094" y="6394"/>
                </a:cubicBezTo>
                <a:cubicBezTo>
                  <a:pt x="13094" y="6394"/>
                  <a:pt x="13095" y="6410"/>
                  <a:pt x="13093" y="6415"/>
                </a:cubicBezTo>
                <a:cubicBezTo>
                  <a:pt x="13091" y="6420"/>
                  <a:pt x="13085" y="6428"/>
                  <a:pt x="13091" y="6439"/>
                </a:cubicBezTo>
                <a:cubicBezTo>
                  <a:pt x="13097" y="6450"/>
                  <a:pt x="13090" y="6456"/>
                  <a:pt x="13082" y="6459"/>
                </a:cubicBezTo>
                <a:cubicBezTo>
                  <a:pt x="13073" y="6461"/>
                  <a:pt x="13066" y="6451"/>
                  <a:pt x="13066" y="6451"/>
                </a:cubicBezTo>
                <a:cubicBezTo>
                  <a:pt x="13066" y="6451"/>
                  <a:pt x="13062" y="6465"/>
                  <a:pt x="13061" y="6478"/>
                </a:cubicBezTo>
                <a:cubicBezTo>
                  <a:pt x="13060" y="6492"/>
                  <a:pt x="13072" y="6513"/>
                  <a:pt x="13072" y="6513"/>
                </a:cubicBezTo>
                <a:cubicBezTo>
                  <a:pt x="13087" y="6515"/>
                  <a:pt x="13087" y="6515"/>
                  <a:pt x="13087" y="6515"/>
                </a:cubicBezTo>
                <a:cubicBezTo>
                  <a:pt x="13074" y="6522"/>
                  <a:pt x="13074" y="6522"/>
                  <a:pt x="13074" y="6522"/>
                </a:cubicBezTo>
                <a:cubicBezTo>
                  <a:pt x="13079" y="6539"/>
                  <a:pt x="13079" y="6539"/>
                  <a:pt x="13079" y="6539"/>
                </a:cubicBezTo>
                <a:cubicBezTo>
                  <a:pt x="13079" y="6539"/>
                  <a:pt x="13091" y="6534"/>
                  <a:pt x="13097" y="6531"/>
                </a:cubicBezTo>
                <a:cubicBezTo>
                  <a:pt x="13104" y="6528"/>
                  <a:pt x="13109" y="6538"/>
                  <a:pt x="13120" y="6534"/>
                </a:cubicBezTo>
                <a:cubicBezTo>
                  <a:pt x="13131" y="6529"/>
                  <a:pt x="13138" y="6513"/>
                  <a:pt x="13145" y="6517"/>
                </a:cubicBezTo>
                <a:cubicBezTo>
                  <a:pt x="13153" y="6522"/>
                  <a:pt x="13142" y="6533"/>
                  <a:pt x="13142" y="6533"/>
                </a:cubicBezTo>
                <a:cubicBezTo>
                  <a:pt x="13153" y="6537"/>
                  <a:pt x="13153" y="6537"/>
                  <a:pt x="13153" y="6537"/>
                </a:cubicBezTo>
                <a:cubicBezTo>
                  <a:pt x="13153" y="6537"/>
                  <a:pt x="13174" y="6509"/>
                  <a:pt x="13183" y="6503"/>
                </a:cubicBezTo>
                <a:cubicBezTo>
                  <a:pt x="13191" y="6498"/>
                  <a:pt x="13174" y="6491"/>
                  <a:pt x="13174" y="6491"/>
                </a:cubicBezTo>
                <a:cubicBezTo>
                  <a:pt x="13188" y="6471"/>
                  <a:pt x="13188" y="6471"/>
                  <a:pt x="13188" y="6471"/>
                </a:cubicBezTo>
                <a:cubicBezTo>
                  <a:pt x="13188" y="6471"/>
                  <a:pt x="13198" y="6475"/>
                  <a:pt x="13209" y="6469"/>
                </a:cubicBezTo>
                <a:cubicBezTo>
                  <a:pt x="13220" y="6464"/>
                  <a:pt x="13211" y="6443"/>
                  <a:pt x="13221" y="6432"/>
                </a:cubicBezTo>
                <a:cubicBezTo>
                  <a:pt x="13232" y="6421"/>
                  <a:pt x="13246" y="6403"/>
                  <a:pt x="13238" y="6397"/>
                </a:cubicBezTo>
                <a:close/>
                <a:moveTo>
                  <a:pt x="11483" y="4331"/>
                </a:moveTo>
                <a:cubicBezTo>
                  <a:pt x="11475" y="4338"/>
                  <a:pt x="11493" y="4347"/>
                  <a:pt x="11493" y="4347"/>
                </a:cubicBezTo>
                <a:cubicBezTo>
                  <a:pt x="11493" y="4347"/>
                  <a:pt x="11505" y="4371"/>
                  <a:pt x="11513" y="4363"/>
                </a:cubicBezTo>
                <a:cubicBezTo>
                  <a:pt x="11521" y="4355"/>
                  <a:pt x="11489" y="4327"/>
                  <a:pt x="11483" y="4331"/>
                </a:cubicBezTo>
                <a:close/>
                <a:moveTo>
                  <a:pt x="13775" y="5539"/>
                </a:moveTo>
                <a:cubicBezTo>
                  <a:pt x="13775" y="5539"/>
                  <a:pt x="13772" y="5498"/>
                  <a:pt x="13771" y="5492"/>
                </a:cubicBezTo>
                <a:cubicBezTo>
                  <a:pt x="13769" y="5486"/>
                  <a:pt x="13749" y="5485"/>
                  <a:pt x="13749" y="5485"/>
                </a:cubicBezTo>
                <a:cubicBezTo>
                  <a:pt x="13749" y="5471"/>
                  <a:pt x="13749" y="5471"/>
                  <a:pt x="13749" y="5471"/>
                </a:cubicBezTo>
                <a:cubicBezTo>
                  <a:pt x="13736" y="5463"/>
                  <a:pt x="13736" y="5463"/>
                  <a:pt x="13736" y="5463"/>
                </a:cubicBezTo>
                <a:cubicBezTo>
                  <a:pt x="13736" y="5463"/>
                  <a:pt x="13741" y="5446"/>
                  <a:pt x="13736" y="5439"/>
                </a:cubicBezTo>
                <a:cubicBezTo>
                  <a:pt x="13731" y="5432"/>
                  <a:pt x="13711" y="5425"/>
                  <a:pt x="13711" y="5425"/>
                </a:cubicBezTo>
                <a:cubicBezTo>
                  <a:pt x="13711" y="5425"/>
                  <a:pt x="13746" y="5419"/>
                  <a:pt x="13748" y="5406"/>
                </a:cubicBezTo>
                <a:cubicBezTo>
                  <a:pt x="13750" y="5392"/>
                  <a:pt x="13728" y="5388"/>
                  <a:pt x="13728" y="5388"/>
                </a:cubicBezTo>
                <a:cubicBezTo>
                  <a:pt x="13728" y="5388"/>
                  <a:pt x="13721" y="5367"/>
                  <a:pt x="13710" y="5368"/>
                </a:cubicBezTo>
                <a:cubicBezTo>
                  <a:pt x="13698" y="5369"/>
                  <a:pt x="13703" y="5387"/>
                  <a:pt x="13703" y="5387"/>
                </a:cubicBezTo>
                <a:cubicBezTo>
                  <a:pt x="13689" y="5384"/>
                  <a:pt x="13689" y="5384"/>
                  <a:pt x="13689" y="5384"/>
                </a:cubicBezTo>
                <a:cubicBezTo>
                  <a:pt x="13689" y="5384"/>
                  <a:pt x="13702" y="5343"/>
                  <a:pt x="13702" y="5333"/>
                </a:cubicBezTo>
                <a:cubicBezTo>
                  <a:pt x="13701" y="5324"/>
                  <a:pt x="13681" y="5322"/>
                  <a:pt x="13677" y="5312"/>
                </a:cubicBezTo>
                <a:cubicBezTo>
                  <a:pt x="13674" y="5303"/>
                  <a:pt x="13687" y="5286"/>
                  <a:pt x="13683" y="5272"/>
                </a:cubicBezTo>
                <a:cubicBezTo>
                  <a:pt x="13679" y="5259"/>
                  <a:pt x="13619" y="5230"/>
                  <a:pt x="13619" y="5230"/>
                </a:cubicBezTo>
                <a:cubicBezTo>
                  <a:pt x="13613" y="5236"/>
                  <a:pt x="13613" y="5236"/>
                  <a:pt x="13613" y="5236"/>
                </a:cubicBezTo>
                <a:cubicBezTo>
                  <a:pt x="13613" y="5236"/>
                  <a:pt x="13585" y="5204"/>
                  <a:pt x="13583" y="5182"/>
                </a:cubicBezTo>
                <a:cubicBezTo>
                  <a:pt x="13582" y="5159"/>
                  <a:pt x="13591" y="5146"/>
                  <a:pt x="13591" y="5126"/>
                </a:cubicBezTo>
                <a:cubicBezTo>
                  <a:pt x="13591" y="5106"/>
                  <a:pt x="13572" y="5063"/>
                  <a:pt x="13568" y="5047"/>
                </a:cubicBezTo>
                <a:cubicBezTo>
                  <a:pt x="13564" y="5031"/>
                  <a:pt x="13575" y="5021"/>
                  <a:pt x="13577" y="5012"/>
                </a:cubicBezTo>
                <a:cubicBezTo>
                  <a:pt x="13579" y="5003"/>
                  <a:pt x="13572" y="4965"/>
                  <a:pt x="13572" y="4965"/>
                </a:cubicBezTo>
                <a:cubicBezTo>
                  <a:pt x="13555" y="4957"/>
                  <a:pt x="13555" y="4957"/>
                  <a:pt x="13555" y="4957"/>
                </a:cubicBezTo>
                <a:cubicBezTo>
                  <a:pt x="13555" y="4957"/>
                  <a:pt x="13541" y="4942"/>
                  <a:pt x="13531" y="4942"/>
                </a:cubicBezTo>
                <a:cubicBezTo>
                  <a:pt x="13521" y="4941"/>
                  <a:pt x="13515" y="4956"/>
                  <a:pt x="13515" y="4956"/>
                </a:cubicBezTo>
                <a:cubicBezTo>
                  <a:pt x="13515" y="4956"/>
                  <a:pt x="13508" y="4941"/>
                  <a:pt x="13507" y="4932"/>
                </a:cubicBezTo>
                <a:cubicBezTo>
                  <a:pt x="13506" y="4924"/>
                  <a:pt x="13513" y="4900"/>
                  <a:pt x="13513" y="4900"/>
                </a:cubicBezTo>
                <a:cubicBezTo>
                  <a:pt x="13502" y="4885"/>
                  <a:pt x="13502" y="4885"/>
                  <a:pt x="13502" y="4885"/>
                </a:cubicBezTo>
                <a:cubicBezTo>
                  <a:pt x="13502" y="4829"/>
                  <a:pt x="13502" y="4829"/>
                  <a:pt x="13502" y="4829"/>
                </a:cubicBezTo>
                <a:cubicBezTo>
                  <a:pt x="13502" y="4829"/>
                  <a:pt x="13481" y="4815"/>
                  <a:pt x="13484" y="4806"/>
                </a:cubicBezTo>
                <a:cubicBezTo>
                  <a:pt x="13488" y="4797"/>
                  <a:pt x="13492" y="4785"/>
                  <a:pt x="13487" y="4780"/>
                </a:cubicBezTo>
                <a:cubicBezTo>
                  <a:pt x="13482" y="4776"/>
                  <a:pt x="13470" y="4774"/>
                  <a:pt x="13470" y="4774"/>
                </a:cubicBezTo>
                <a:cubicBezTo>
                  <a:pt x="13471" y="4765"/>
                  <a:pt x="13471" y="4765"/>
                  <a:pt x="13471" y="4765"/>
                </a:cubicBezTo>
                <a:cubicBezTo>
                  <a:pt x="13451" y="4770"/>
                  <a:pt x="13451" y="4770"/>
                  <a:pt x="13451" y="4770"/>
                </a:cubicBezTo>
                <a:cubicBezTo>
                  <a:pt x="13447" y="4783"/>
                  <a:pt x="13447" y="4783"/>
                  <a:pt x="13447" y="4783"/>
                </a:cubicBezTo>
                <a:cubicBezTo>
                  <a:pt x="13447" y="4783"/>
                  <a:pt x="13435" y="4791"/>
                  <a:pt x="13429" y="4795"/>
                </a:cubicBezTo>
                <a:cubicBezTo>
                  <a:pt x="13424" y="4799"/>
                  <a:pt x="13437" y="4825"/>
                  <a:pt x="13437" y="4835"/>
                </a:cubicBezTo>
                <a:cubicBezTo>
                  <a:pt x="13436" y="4846"/>
                  <a:pt x="13402" y="4883"/>
                  <a:pt x="13402" y="4883"/>
                </a:cubicBezTo>
                <a:cubicBezTo>
                  <a:pt x="13413" y="4892"/>
                  <a:pt x="13413" y="4892"/>
                  <a:pt x="13413" y="4892"/>
                </a:cubicBezTo>
                <a:cubicBezTo>
                  <a:pt x="13413" y="4892"/>
                  <a:pt x="13398" y="4912"/>
                  <a:pt x="13396" y="4920"/>
                </a:cubicBezTo>
                <a:cubicBezTo>
                  <a:pt x="13394" y="4928"/>
                  <a:pt x="13400" y="4954"/>
                  <a:pt x="13400" y="4954"/>
                </a:cubicBezTo>
                <a:cubicBezTo>
                  <a:pt x="13400" y="4954"/>
                  <a:pt x="13379" y="5038"/>
                  <a:pt x="13378" y="5050"/>
                </a:cubicBezTo>
                <a:cubicBezTo>
                  <a:pt x="13377" y="5061"/>
                  <a:pt x="13350" y="5090"/>
                  <a:pt x="13350" y="5090"/>
                </a:cubicBezTo>
                <a:cubicBezTo>
                  <a:pt x="13350" y="5090"/>
                  <a:pt x="13351" y="5123"/>
                  <a:pt x="13334" y="5131"/>
                </a:cubicBezTo>
                <a:cubicBezTo>
                  <a:pt x="13317" y="5138"/>
                  <a:pt x="13281" y="5146"/>
                  <a:pt x="13281" y="5146"/>
                </a:cubicBezTo>
                <a:cubicBezTo>
                  <a:pt x="13281" y="5146"/>
                  <a:pt x="13260" y="5112"/>
                  <a:pt x="13255" y="5102"/>
                </a:cubicBezTo>
                <a:cubicBezTo>
                  <a:pt x="13250" y="5093"/>
                  <a:pt x="13209" y="5079"/>
                  <a:pt x="13189" y="5071"/>
                </a:cubicBezTo>
                <a:cubicBezTo>
                  <a:pt x="13168" y="5064"/>
                  <a:pt x="13155" y="5031"/>
                  <a:pt x="13152" y="5027"/>
                </a:cubicBezTo>
                <a:cubicBezTo>
                  <a:pt x="13149" y="5024"/>
                  <a:pt x="13129" y="5025"/>
                  <a:pt x="13129" y="5025"/>
                </a:cubicBezTo>
                <a:cubicBezTo>
                  <a:pt x="13113" y="4996"/>
                  <a:pt x="13113" y="4996"/>
                  <a:pt x="13113" y="4996"/>
                </a:cubicBezTo>
                <a:cubicBezTo>
                  <a:pt x="13126" y="4982"/>
                  <a:pt x="13126" y="4982"/>
                  <a:pt x="13126" y="4982"/>
                </a:cubicBezTo>
                <a:cubicBezTo>
                  <a:pt x="13126" y="4982"/>
                  <a:pt x="13119" y="4971"/>
                  <a:pt x="13127" y="4960"/>
                </a:cubicBezTo>
                <a:cubicBezTo>
                  <a:pt x="13135" y="4949"/>
                  <a:pt x="13145" y="4946"/>
                  <a:pt x="13145" y="4946"/>
                </a:cubicBezTo>
                <a:cubicBezTo>
                  <a:pt x="13141" y="4916"/>
                  <a:pt x="13141" y="4916"/>
                  <a:pt x="13141" y="4916"/>
                </a:cubicBezTo>
                <a:cubicBezTo>
                  <a:pt x="13154" y="4904"/>
                  <a:pt x="13154" y="4904"/>
                  <a:pt x="13154" y="4904"/>
                </a:cubicBezTo>
                <a:cubicBezTo>
                  <a:pt x="13154" y="4904"/>
                  <a:pt x="13168" y="4911"/>
                  <a:pt x="13173" y="4909"/>
                </a:cubicBezTo>
                <a:cubicBezTo>
                  <a:pt x="13179" y="4907"/>
                  <a:pt x="13180" y="4884"/>
                  <a:pt x="13180" y="4884"/>
                </a:cubicBezTo>
                <a:cubicBezTo>
                  <a:pt x="13205" y="4860"/>
                  <a:pt x="13205" y="4860"/>
                  <a:pt x="13205" y="4860"/>
                </a:cubicBezTo>
                <a:cubicBezTo>
                  <a:pt x="13205" y="4860"/>
                  <a:pt x="13191" y="4837"/>
                  <a:pt x="13175" y="4834"/>
                </a:cubicBezTo>
                <a:cubicBezTo>
                  <a:pt x="13158" y="4832"/>
                  <a:pt x="13137" y="4857"/>
                  <a:pt x="13137" y="4857"/>
                </a:cubicBezTo>
                <a:cubicBezTo>
                  <a:pt x="13135" y="4843"/>
                  <a:pt x="13135" y="4843"/>
                  <a:pt x="13135" y="4843"/>
                </a:cubicBezTo>
                <a:cubicBezTo>
                  <a:pt x="13115" y="4845"/>
                  <a:pt x="13115" y="4845"/>
                  <a:pt x="13115" y="4845"/>
                </a:cubicBezTo>
                <a:cubicBezTo>
                  <a:pt x="13106" y="4854"/>
                  <a:pt x="13106" y="4854"/>
                  <a:pt x="13106" y="4854"/>
                </a:cubicBezTo>
                <a:cubicBezTo>
                  <a:pt x="13100" y="4843"/>
                  <a:pt x="13100" y="4843"/>
                  <a:pt x="13100" y="4843"/>
                </a:cubicBezTo>
                <a:cubicBezTo>
                  <a:pt x="13076" y="4840"/>
                  <a:pt x="13076" y="4840"/>
                  <a:pt x="13076" y="4840"/>
                </a:cubicBezTo>
                <a:cubicBezTo>
                  <a:pt x="13076" y="4840"/>
                  <a:pt x="13050" y="4821"/>
                  <a:pt x="13045" y="4821"/>
                </a:cubicBezTo>
                <a:cubicBezTo>
                  <a:pt x="13041" y="4822"/>
                  <a:pt x="13007" y="4818"/>
                  <a:pt x="13007" y="4818"/>
                </a:cubicBezTo>
                <a:cubicBezTo>
                  <a:pt x="13007" y="4818"/>
                  <a:pt x="12999" y="4796"/>
                  <a:pt x="12992" y="4793"/>
                </a:cubicBezTo>
                <a:cubicBezTo>
                  <a:pt x="12986" y="4789"/>
                  <a:pt x="12984" y="4803"/>
                  <a:pt x="12984" y="4803"/>
                </a:cubicBezTo>
                <a:cubicBezTo>
                  <a:pt x="12984" y="4803"/>
                  <a:pt x="12959" y="4790"/>
                  <a:pt x="12953" y="4795"/>
                </a:cubicBezTo>
                <a:cubicBezTo>
                  <a:pt x="12947" y="4799"/>
                  <a:pt x="12956" y="4807"/>
                  <a:pt x="12956" y="4807"/>
                </a:cubicBezTo>
                <a:cubicBezTo>
                  <a:pt x="12956" y="4807"/>
                  <a:pt x="12943" y="4806"/>
                  <a:pt x="12941" y="4811"/>
                </a:cubicBezTo>
                <a:cubicBezTo>
                  <a:pt x="12938" y="4817"/>
                  <a:pt x="12955" y="4823"/>
                  <a:pt x="12966" y="4826"/>
                </a:cubicBezTo>
                <a:cubicBezTo>
                  <a:pt x="12977" y="4829"/>
                  <a:pt x="12983" y="4821"/>
                  <a:pt x="12983" y="4821"/>
                </a:cubicBezTo>
                <a:cubicBezTo>
                  <a:pt x="13005" y="4830"/>
                  <a:pt x="13005" y="4830"/>
                  <a:pt x="13005" y="4830"/>
                </a:cubicBezTo>
                <a:cubicBezTo>
                  <a:pt x="13005" y="4830"/>
                  <a:pt x="12983" y="4843"/>
                  <a:pt x="12971" y="4848"/>
                </a:cubicBezTo>
                <a:cubicBezTo>
                  <a:pt x="12960" y="4853"/>
                  <a:pt x="12926" y="4849"/>
                  <a:pt x="12918" y="4851"/>
                </a:cubicBezTo>
                <a:cubicBezTo>
                  <a:pt x="12911" y="4853"/>
                  <a:pt x="12861" y="4879"/>
                  <a:pt x="12861" y="4879"/>
                </a:cubicBezTo>
                <a:cubicBezTo>
                  <a:pt x="12861" y="4879"/>
                  <a:pt x="12855" y="4896"/>
                  <a:pt x="12854" y="4907"/>
                </a:cubicBezTo>
                <a:cubicBezTo>
                  <a:pt x="12853" y="4917"/>
                  <a:pt x="12874" y="4926"/>
                  <a:pt x="12874" y="4926"/>
                </a:cubicBezTo>
                <a:cubicBezTo>
                  <a:pt x="12841" y="4928"/>
                  <a:pt x="12841" y="4928"/>
                  <a:pt x="12841" y="4928"/>
                </a:cubicBezTo>
                <a:cubicBezTo>
                  <a:pt x="12818" y="4950"/>
                  <a:pt x="12818" y="4950"/>
                  <a:pt x="12818" y="4950"/>
                </a:cubicBezTo>
                <a:cubicBezTo>
                  <a:pt x="12818" y="4950"/>
                  <a:pt x="12822" y="4970"/>
                  <a:pt x="12816" y="4977"/>
                </a:cubicBezTo>
                <a:cubicBezTo>
                  <a:pt x="12810" y="4984"/>
                  <a:pt x="12833" y="4991"/>
                  <a:pt x="12842" y="4996"/>
                </a:cubicBezTo>
                <a:cubicBezTo>
                  <a:pt x="12852" y="5000"/>
                  <a:pt x="12848" y="5021"/>
                  <a:pt x="12848" y="5021"/>
                </a:cubicBezTo>
                <a:cubicBezTo>
                  <a:pt x="12833" y="5007"/>
                  <a:pt x="12833" y="5007"/>
                  <a:pt x="12833" y="5007"/>
                </a:cubicBezTo>
                <a:cubicBezTo>
                  <a:pt x="12813" y="5009"/>
                  <a:pt x="12813" y="5009"/>
                  <a:pt x="12813" y="5009"/>
                </a:cubicBezTo>
                <a:cubicBezTo>
                  <a:pt x="12805" y="5021"/>
                  <a:pt x="12805" y="5021"/>
                  <a:pt x="12805" y="5021"/>
                </a:cubicBezTo>
                <a:cubicBezTo>
                  <a:pt x="12778" y="5000"/>
                  <a:pt x="12778" y="5000"/>
                  <a:pt x="12778" y="5000"/>
                </a:cubicBezTo>
                <a:cubicBezTo>
                  <a:pt x="12775" y="5021"/>
                  <a:pt x="12775" y="5021"/>
                  <a:pt x="12775" y="5021"/>
                </a:cubicBezTo>
                <a:cubicBezTo>
                  <a:pt x="12759" y="5026"/>
                  <a:pt x="12759" y="5026"/>
                  <a:pt x="12759" y="5026"/>
                </a:cubicBezTo>
                <a:cubicBezTo>
                  <a:pt x="12762" y="5044"/>
                  <a:pt x="12762" y="5044"/>
                  <a:pt x="12762" y="5044"/>
                </a:cubicBezTo>
                <a:cubicBezTo>
                  <a:pt x="12743" y="5041"/>
                  <a:pt x="12743" y="5041"/>
                  <a:pt x="12743" y="5041"/>
                </a:cubicBezTo>
                <a:cubicBezTo>
                  <a:pt x="12762" y="4997"/>
                  <a:pt x="12762" y="4997"/>
                  <a:pt x="12762" y="4997"/>
                </a:cubicBezTo>
                <a:cubicBezTo>
                  <a:pt x="12762" y="4997"/>
                  <a:pt x="12757" y="4991"/>
                  <a:pt x="12754" y="4980"/>
                </a:cubicBezTo>
                <a:cubicBezTo>
                  <a:pt x="12752" y="4968"/>
                  <a:pt x="12733" y="4970"/>
                  <a:pt x="12733" y="4970"/>
                </a:cubicBezTo>
                <a:cubicBezTo>
                  <a:pt x="12722" y="4952"/>
                  <a:pt x="12722" y="4952"/>
                  <a:pt x="12722" y="4952"/>
                </a:cubicBezTo>
                <a:cubicBezTo>
                  <a:pt x="12722" y="4952"/>
                  <a:pt x="12731" y="4932"/>
                  <a:pt x="12720" y="4924"/>
                </a:cubicBezTo>
                <a:cubicBezTo>
                  <a:pt x="12708" y="4916"/>
                  <a:pt x="12693" y="4927"/>
                  <a:pt x="12693" y="4934"/>
                </a:cubicBezTo>
                <a:cubicBezTo>
                  <a:pt x="12692" y="4941"/>
                  <a:pt x="12698" y="4941"/>
                  <a:pt x="12698" y="4941"/>
                </a:cubicBezTo>
                <a:cubicBezTo>
                  <a:pt x="12694" y="4950"/>
                  <a:pt x="12694" y="4950"/>
                  <a:pt x="12694" y="4950"/>
                </a:cubicBezTo>
                <a:cubicBezTo>
                  <a:pt x="12674" y="4949"/>
                  <a:pt x="12674" y="4949"/>
                  <a:pt x="12674" y="4949"/>
                </a:cubicBezTo>
                <a:cubicBezTo>
                  <a:pt x="12677" y="4967"/>
                  <a:pt x="12677" y="4967"/>
                  <a:pt x="12677" y="4967"/>
                </a:cubicBezTo>
                <a:cubicBezTo>
                  <a:pt x="12664" y="4961"/>
                  <a:pt x="12664" y="4961"/>
                  <a:pt x="12664" y="4961"/>
                </a:cubicBezTo>
                <a:cubicBezTo>
                  <a:pt x="12652" y="4966"/>
                  <a:pt x="12652" y="4966"/>
                  <a:pt x="12652" y="4966"/>
                </a:cubicBezTo>
                <a:cubicBezTo>
                  <a:pt x="12652" y="4966"/>
                  <a:pt x="12657" y="4974"/>
                  <a:pt x="12655" y="4984"/>
                </a:cubicBezTo>
                <a:cubicBezTo>
                  <a:pt x="12653" y="4995"/>
                  <a:pt x="12637" y="5003"/>
                  <a:pt x="12637" y="5003"/>
                </a:cubicBezTo>
                <a:cubicBezTo>
                  <a:pt x="12642" y="4979"/>
                  <a:pt x="12642" y="4979"/>
                  <a:pt x="12642" y="4979"/>
                </a:cubicBezTo>
                <a:cubicBezTo>
                  <a:pt x="12630" y="4994"/>
                  <a:pt x="12630" y="4994"/>
                  <a:pt x="12630" y="4994"/>
                </a:cubicBezTo>
                <a:cubicBezTo>
                  <a:pt x="12630" y="4994"/>
                  <a:pt x="12619" y="4992"/>
                  <a:pt x="12612" y="5002"/>
                </a:cubicBezTo>
                <a:cubicBezTo>
                  <a:pt x="12605" y="5012"/>
                  <a:pt x="12616" y="5033"/>
                  <a:pt x="12616" y="5033"/>
                </a:cubicBezTo>
                <a:cubicBezTo>
                  <a:pt x="12585" y="5020"/>
                  <a:pt x="12585" y="5020"/>
                  <a:pt x="12585" y="5020"/>
                </a:cubicBezTo>
                <a:cubicBezTo>
                  <a:pt x="12582" y="5044"/>
                  <a:pt x="12582" y="5044"/>
                  <a:pt x="12582" y="5044"/>
                </a:cubicBezTo>
                <a:cubicBezTo>
                  <a:pt x="12571" y="5046"/>
                  <a:pt x="12571" y="5046"/>
                  <a:pt x="12571" y="5046"/>
                </a:cubicBezTo>
                <a:cubicBezTo>
                  <a:pt x="12582" y="5063"/>
                  <a:pt x="12582" y="5063"/>
                  <a:pt x="12582" y="5063"/>
                </a:cubicBezTo>
                <a:cubicBezTo>
                  <a:pt x="12594" y="5062"/>
                  <a:pt x="12594" y="5062"/>
                  <a:pt x="12594" y="5062"/>
                </a:cubicBezTo>
                <a:cubicBezTo>
                  <a:pt x="12591" y="5073"/>
                  <a:pt x="12591" y="5073"/>
                  <a:pt x="12591" y="5073"/>
                </a:cubicBezTo>
                <a:cubicBezTo>
                  <a:pt x="12544" y="5077"/>
                  <a:pt x="12544" y="5077"/>
                  <a:pt x="12544" y="5077"/>
                </a:cubicBezTo>
                <a:cubicBezTo>
                  <a:pt x="12544" y="5077"/>
                  <a:pt x="12530" y="5067"/>
                  <a:pt x="12520" y="5075"/>
                </a:cubicBezTo>
                <a:cubicBezTo>
                  <a:pt x="12510" y="5084"/>
                  <a:pt x="12526" y="5102"/>
                  <a:pt x="12526" y="5102"/>
                </a:cubicBezTo>
                <a:cubicBezTo>
                  <a:pt x="12528" y="5124"/>
                  <a:pt x="12528" y="5124"/>
                  <a:pt x="12528" y="5124"/>
                </a:cubicBezTo>
                <a:cubicBezTo>
                  <a:pt x="12522" y="5138"/>
                  <a:pt x="12522" y="5138"/>
                  <a:pt x="12522" y="5138"/>
                </a:cubicBezTo>
                <a:cubicBezTo>
                  <a:pt x="12526" y="5164"/>
                  <a:pt x="12526" y="5164"/>
                  <a:pt x="12526" y="5164"/>
                </a:cubicBezTo>
                <a:cubicBezTo>
                  <a:pt x="12515" y="5165"/>
                  <a:pt x="12515" y="5165"/>
                  <a:pt x="12515" y="5165"/>
                </a:cubicBezTo>
                <a:cubicBezTo>
                  <a:pt x="12512" y="5113"/>
                  <a:pt x="12512" y="5113"/>
                  <a:pt x="12512" y="5113"/>
                </a:cubicBezTo>
                <a:cubicBezTo>
                  <a:pt x="12501" y="5102"/>
                  <a:pt x="12501" y="5102"/>
                  <a:pt x="12501" y="5102"/>
                </a:cubicBezTo>
                <a:cubicBezTo>
                  <a:pt x="12499" y="5081"/>
                  <a:pt x="12499" y="5081"/>
                  <a:pt x="12499" y="5081"/>
                </a:cubicBezTo>
                <a:cubicBezTo>
                  <a:pt x="12486" y="5082"/>
                  <a:pt x="12486" y="5082"/>
                  <a:pt x="12486" y="5082"/>
                </a:cubicBezTo>
                <a:cubicBezTo>
                  <a:pt x="12475" y="5097"/>
                  <a:pt x="12475" y="5097"/>
                  <a:pt x="12475" y="5097"/>
                </a:cubicBezTo>
                <a:cubicBezTo>
                  <a:pt x="12475" y="5097"/>
                  <a:pt x="12462" y="5109"/>
                  <a:pt x="12443" y="5125"/>
                </a:cubicBezTo>
                <a:cubicBezTo>
                  <a:pt x="12425" y="5141"/>
                  <a:pt x="12437" y="5174"/>
                  <a:pt x="12437" y="5174"/>
                </a:cubicBezTo>
                <a:cubicBezTo>
                  <a:pt x="12437" y="5174"/>
                  <a:pt x="12454" y="5179"/>
                  <a:pt x="12452" y="5188"/>
                </a:cubicBezTo>
                <a:cubicBezTo>
                  <a:pt x="12449" y="5198"/>
                  <a:pt x="12416" y="5210"/>
                  <a:pt x="12410" y="5213"/>
                </a:cubicBezTo>
                <a:cubicBezTo>
                  <a:pt x="12404" y="5216"/>
                  <a:pt x="12407" y="5226"/>
                  <a:pt x="12407" y="5226"/>
                </a:cubicBezTo>
                <a:cubicBezTo>
                  <a:pt x="12407" y="5226"/>
                  <a:pt x="12386" y="5245"/>
                  <a:pt x="12369" y="5259"/>
                </a:cubicBezTo>
                <a:cubicBezTo>
                  <a:pt x="12351" y="5272"/>
                  <a:pt x="12299" y="5277"/>
                  <a:pt x="12299" y="5277"/>
                </a:cubicBezTo>
                <a:cubicBezTo>
                  <a:pt x="12265" y="5270"/>
                  <a:pt x="12265" y="5270"/>
                  <a:pt x="12265" y="5270"/>
                </a:cubicBezTo>
                <a:cubicBezTo>
                  <a:pt x="12238" y="5284"/>
                  <a:pt x="12238" y="5284"/>
                  <a:pt x="12238" y="5284"/>
                </a:cubicBezTo>
                <a:cubicBezTo>
                  <a:pt x="12201" y="5289"/>
                  <a:pt x="12201" y="5289"/>
                  <a:pt x="12201" y="5289"/>
                </a:cubicBezTo>
                <a:cubicBezTo>
                  <a:pt x="12196" y="5294"/>
                  <a:pt x="12196" y="5294"/>
                  <a:pt x="12196" y="5294"/>
                </a:cubicBezTo>
                <a:cubicBezTo>
                  <a:pt x="12196" y="5294"/>
                  <a:pt x="12186" y="5294"/>
                  <a:pt x="12177" y="5299"/>
                </a:cubicBezTo>
                <a:cubicBezTo>
                  <a:pt x="12168" y="5303"/>
                  <a:pt x="12157" y="5314"/>
                  <a:pt x="12157" y="5314"/>
                </a:cubicBezTo>
                <a:cubicBezTo>
                  <a:pt x="12157" y="5314"/>
                  <a:pt x="12138" y="5315"/>
                  <a:pt x="12124" y="5319"/>
                </a:cubicBezTo>
                <a:cubicBezTo>
                  <a:pt x="12110" y="5323"/>
                  <a:pt x="12094" y="5352"/>
                  <a:pt x="12094" y="5352"/>
                </a:cubicBezTo>
                <a:cubicBezTo>
                  <a:pt x="12094" y="5352"/>
                  <a:pt x="12059" y="5360"/>
                  <a:pt x="12052" y="5364"/>
                </a:cubicBezTo>
                <a:cubicBezTo>
                  <a:pt x="12044" y="5369"/>
                  <a:pt x="12009" y="5414"/>
                  <a:pt x="12009" y="5414"/>
                </a:cubicBezTo>
                <a:cubicBezTo>
                  <a:pt x="12015" y="5370"/>
                  <a:pt x="12015" y="5370"/>
                  <a:pt x="12015" y="5370"/>
                </a:cubicBezTo>
                <a:cubicBezTo>
                  <a:pt x="12003" y="5377"/>
                  <a:pt x="12003" y="5377"/>
                  <a:pt x="12003" y="5377"/>
                </a:cubicBezTo>
                <a:cubicBezTo>
                  <a:pt x="11989" y="5414"/>
                  <a:pt x="11989" y="5414"/>
                  <a:pt x="11989" y="5414"/>
                </a:cubicBezTo>
                <a:cubicBezTo>
                  <a:pt x="11989" y="5414"/>
                  <a:pt x="11975" y="5440"/>
                  <a:pt x="11968" y="5455"/>
                </a:cubicBezTo>
                <a:cubicBezTo>
                  <a:pt x="11962" y="5470"/>
                  <a:pt x="11985" y="5476"/>
                  <a:pt x="11985" y="5476"/>
                </a:cubicBezTo>
                <a:cubicBezTo>
                  <a:pt x="11985" y="5476"/>
                  <a:pt x="11965" y="5497"/>
                  <a:pt x="11955" y="5506"/>
                </a:cubicBezTo>
                <a:cubicBezTo>
                  <a:pt x="11944" y="5515"/>
                  <a:pt x="11964" y="5554"/>
                  <a:pt x="11965" y="5560"/>
                </a:cubicBezTo>
                <a:cubicBezTo>
                  <a:pt x="11965" y="5567"/>
                  <a:pt x="11990" y="5610"/>
                  <a:pt x="11984" y="5614"/>
                </a:cubicBezTo>
                <a:cubicBezTo>
                  <a:pt x="11978" y="5619"/>
                  <a:pt x="11954" y="5578"/>
                  <a:pt x="11954" y="5578"/>
                </a:cubicBezTo>
                <a:cubicBezTo>
                  <a:pt x="11942" y="5576"/>
                  <a:pt x="11942" y="5576"/>
                  <a:pt x="11942" y="5576"/>
                </a:cubicBezTo>
                <a:cubicBezTo>
                  <a:pt x="11952" y="5606"/>
                  <a:pt x="11952" y="5606"/>
                  <a:pt x="11952" y="5606"/>
                </a:cubicBezTo>
                <a:cubicBezTo>
                  <a:pt x="11929" y="5586"/>
                  <a:pt x="11929" y="5586"/>
                  <a:pt x="11929" y="5586"/>
                </a:cubicBezTo>
                <a:cubicBezTo>
                  <a:pt x="11929" y="5586"/>
                  <a:pt x="11925" y="5609"/>
                  <a:pt x="11928" y="5623"/>
                </a:cubicBezTo>
                <a:cubicBezTo>
                  <a:pt x="11931" y="5637"/>
                  <a:pt x="11954" y="5672"/>
                  <a:pt x="11954" y="5672"/>
                </a:cubicBezTo>
                <a:cubicBezTo>
                  <a:pt x="11954" y="5672"/>
                  <a:pt x="11943" y="5694"/>
                  <a:pt x="11941" y="5702"/>
                </a:cubicBezTo>
                <a:cubicBezTo>
                  <a:pt x="11939" y="5710"/>
                  <a:pt x="11969" y="5733"/>
                  <a:pt x="11970" y="5739"/>
                </a:cubicBezTo>
                <a:cubicBezTo>
                  <a:pt x="11971" y="5746"/>
                  <a:pt x="11972" y="5768"/>
                  <a:pt x="11966" y="5776"/>
                </a:cubicBezTo>
                <a:cubicBezTo>
                  <a:pt x="11961" y="5784"/>
                  <a:pt x="11974" y="5830"/>
                  <a:pt x="11974" y="5830"/>
                </a:cubicBezTo>
                <a:cubicBezTo>
                  <a:pt x="11974" y="5830"/>
                  <a:pt x="11970" y="5832"/>
                  <a:pt x="11962" y="5838"/>
                </a:cubicBezTo>
                <a:cubicBezTo>
                  <a:pt x="11955" y="5844"/>
                  <a:pt x="11971" y="5880"/>
                  <a:pt x="11971" y="5880"/>
                </a:cubicBezTo>
                <a:cubicBezTo>
                  <a:pt x="11971" y="5880"/>
                  <a:pt x="11991" y="5889"/>
                  <a:pt x="11993" y="5906"/>
                </a:cubicBezTo>
                <a:cubicBezTo>
                  <a:pt x="11995" y="5922"/>
                  <a:pt x="11966" y="5951"/>
                  <a:pt x="11966" y="5951"/>
                </a:cubicBezTo>
                <a:cubicBezTo>
                  <a:pt x="11966" y="5951"/>
                  <a:pt x="11975" y="5984"/>
                  <a:pt x="11958" y="6001"/>
                </a:cubicBezTo>
                <a:cubicBezTo>
                  <a:pt x="11941" y="6017"/>
                  <a:pt x="11910" y="6009"/>
                  <a:pt x="11910" y="6009"/>
                </a:cubicBezTo>
                <a:cubicBezTo>
                  <a:pt x="11906" y="6041"/>
                  <a:pt x="11906" y="6041"/>
                  <a:pt x="11906" y="6041"/>
                </a:cubicBezTo>
                <a:cubicBezTo>
                  <a:pt x="11906" y="6041"/>
                  <a:pt x="11938" y="6049"/>
                  <a:pt x="11947" y="6054"/>
                </a:cubicBezTo>
                <a:cubicBezTo>
                  <a:pt x="11956" y="6060"/>
                  <a:pt x="11962" y="6070"/>
                  <a:pt x="11962" y="6070"/>
                </a:cubicBezTo>
                <a:cubicBezTo>
                  <a:pt x="11979" y="6068"/>
                  <a:pt x="11979" y="6068"/>
                  <a:pt x="11979" y="6068"/>
                </a:cubicBezTo>
                <a:cubicBezTo>
                  <a:pt x="11979" y="6068"/>
                  <a:pt x="11988" y="6077"/>
                  <a:pt x="12002" y="6082"/>
                </a:cubicBezTo>
                <a:cubicBezTo>
                  <a:pt x="12015" y="6087"/>
                  <a:pt x="12046" y="6077"/>
                  <a:pt x="12059" y="6076"/>
                </a:cubicBezTo>
                <a:cubicBezTo>
                  <a:pt x="12071" y="6076"/>
                  <a:pt x="12061" y="6060"/>
                  <a:pt x="12061" y="6060"/>
                </a:cubicBezTo>
                <a:cubicBezTo>
                  <a:pt x="12086" y="6062"/>
                  <a:pt x="12086" y="6062"/>
                  <a:pt x="12086" y="6062"/>
                </a:cubicBezTo>
                <a:cubicBezTo>
                  <a:pt x="12092" y="6050"/>
                  <a:pt x="12092" y="6050"/>
                  <a:pt x="12092" y="6050"/>
                </a:cubicBezTo>
                <a:cubicBezTo>
                  <a:pt x="12119" y="6046"/>
                  <a:pt x="12119" y="6046"/>
                  <a:pt x="12119" y="6046"/>
                </a:cubicBezTo>
                <a:cubicBezTo>
                  <a:pt x="12119" y="6046"/>
                  <a:pt x="12143" y="6021"/>
                  <a:pt x="12156" y="6020"/>
                </a:cubicBezTo>
                <a:cubicBezTo>
                  <a:pt x="12168" y="6020"/>
                  <a:pt x="12180" y="6035"/>
                  <a:pt x="12187" y="6033"/>
                </a:cubicBezTo>
                <a:cubicBezTo>
                  <a:pt x="12195" y="6031"/>
                  <a:pt x="12232" y="6013"/>
                  <a:pt x="12232" y="6013"/>
                </a:cubicBezTo>
                <a:cubicBezTo>
                  <a:pt x="12232" y="6013"/>
                  <a:pt x="12254" y="6023"/>
                  <a:pt x="12265" y="6021"/>
                </a:cubicBezTo>
                <a:cubicBezTo>
                  <a:pt x="12276" y="6020"/>
                  <a:pt x="12283" y="6010"/>
                  <a:pt x="12290" y="6009"/>
                </a:cubicBezTo>
                <a:cubicBezTo>
                  <a:pt x="12298" y="6009"/>
                  <a:pt x="12317" y="6021"/>
                  <a:pt x="12332" y="6018"/>
                </a:cubicBezTo>
                <a:cubicBezTo>
                  <a:pt x="12347" y="6015"/>
                  <a:pt x="12344" y="5996"/>
                  <a:pt x="12344" y="5996"/>
                </a:cubicBezTo>
                <a:cubicBezTo>
                  <a:pt x="12344" y="5996"/>
                  <a:pt x="12356" y="5993"/>
                  <a:pt x="12360" y="5990"/>
                </a:cubicBezTo>
                <a:cubicBezTo>
                  <a:pt x="12365" y="5987"/>
                  <a:pt x="12371" y="5960"/>
                  <a:pt x="12384" y="5948"/>
                </a:cubicBezTo>
                <a:cubicBezTo>
                  <a:pt x="12397" y="5936"/>
                  <a:pt x="12430" y="5944"/>
                  <a:pt x="12441" y="5941"/>
                </a:cubicBezTo>
                <a:cubicBezTo>
                  <a:pt x="12451" y="5939"/>
                  <a:pt x="12485" y="5920"/>
                  <a:pt x="12500" y="5918"/>
                </a:cubicBezTo>
                <a:cubicBezTo>
                  <a:pt x="12516" y="5916"/>
                  <a:pt x="12518" y="5923"/>
                  <a:pt x="12537" y="5926"/>
                </a:cubicBezTo>
                <a:cubicBezTo>
                  <a:pt x="12556" y="5929"/>
                  <a:pt x="12603" y="5896"/>
                  <a:pt x="12622" y="5890"/>
                </a:cubicBezTo>
                <a:cubicBezTo>
                  <a:pt x="12642" y="5884"/>
                  <a:pt x="12725" y="5878"/>
                  <a:pt x="12725" y="5878"/>
                </a:cubicBezTo>
                <a:cubicBezTo>
                  <a:pt x="12732" y="5871"/>
                  <a:pt x="12732" y="5871"/>
                  <a:pt x="12732" y="5871"/>
                </a:cubicBezTo>
                <a:cubicBezTo>
                  <a:pt x="12732" y="5871"/>
                  <a:pt x="12760" y="5896"/>
                  <a:pt x="12778" y="5903"/>
                </a:cubicBezTo>
                <a:cubicBezTo>
                  <a:pt x="12795" y="5910"/>
                  <a:pt x="12802" y="5901"/>
                  <a:pt x="12802" y="5901"/>
                </a:cubicBezTo>
                <a:cubicBezTo>
                  <a:pt x="12802" y="5901"/>
                  <a:pt x="12805" y="5918"/>
                  <a:pt x="12813" y="5921"/>
                </a:cubicBezTo>
                <a:cubicBezTo>
                  <a:pt x="12821" y="5924"/>
                  <a:pt x="12826" y="5917"/>
                  <a:pt x="12826" y="5917"/>
                </a:cubicBezTo>
                <a:cubicBezTo>
                  <a:pt x="12829" y="5932"/>
                  <a:pt x="12829" y="5932"/>
                  <a:pt x="12829" y="5932"/>
                </a:cubicBezTo>
                <a:cubicBezTo>
                  <a:pt x="12829" y="5932"/>
                  <a:pt x="12841" y="5930"/>
                  <a:pt x="12842" y="5939"/>
                </a:cubicBezTo>
                <a:cubicBezTo>
                  <a:pt x="12843" y="5947"/>
                  <a:pt x="12824" y="5971"/>
                  <a:pt x="12824" y="5971"/>
                </a:cubicBezTo>
                <a:cubicBezTo>
                  <a:pt x="12838" y="5990"/>
                  <a:pt x="12838" y="5990"/>
                  <a:pt x="12838" y="5990"/>
                </a:cubicBezTo>
                <a:cubicBezTo>
                  <a:pt x="12847" y="5981"/>
                  <a:pt x="12847" y="5981"/>
                  <a:pt x="12847" y="5981"/>
                </a:cubicBezTo>
                <a:cubicBezTo>
                  <a:pt x="12860" y="6008"/>
                  <a:pt x="12860" y="6008"/>
                  <a:pt x="12860" y="6008"/>
                </a:cubicBezTo>
                <a:cubicBezTo>
                  <a:pt x="12860" y="6008"/>
                  <a:pt x="12869" y="6035"/>
                  <a:pt x="12870" y="6044"/>
                </a:cubicBezTo>
                <a:cubicBezTo>
                  <a:pt x="12871" y="6052"/>
                  <a:pt x="12843" y="6045"/>
                  <a:pt x="12843" y="6045"/>
                </a:cubicBezTo>
                <a:cubicBezTo>
                  <a:pt x="12850" y="6068"/>
                  <a:pt x="12850" y="6068"/>
                  <a:pt x="12850" y="6068"/>
                </a:cubicBezTo>
                <a:cubicBezTo>
                  <a:pt x="12850" y="6068"/>
                  <a:pt x="12859" y="6068"/>
                  <a:pt x="12868" y="6069"/>
                </a:cubicBezTo>
                <a:cubicBezTo>
                  <a:pt x="12877" y="6069"/>
                  <a:pt x="12876" y="6076"/>
                  <a:pt x="12876" y="6076"/>
                </a:cubicBezTo>
                <a:cubicBezTo>
                  <a:pt x="12889" y="6073"/>
                  <a:pt x="12889" y="6073"/>
                  <a:pt x="12889" y="6073"/>
                </a:cubicBezTo>
                <a:cubicBezTo>
                  <a:pt x="12889" y="6073"/>
                  <a:pt x="12885" y="6059"/>
                  <a:pt x="12885" y="6048"/>
                </a:cubicBezTo>
                <a:cubicBezTo>
                  <a:pt x="12886" y="6037"/>
                  <a:pt x="12904" y="6028"/>
                  <a:pt x="12916" y="6026"/>
                </a:cubicBezTo>
                <a:cubicBezTo>
                  <a:pt x="12928" y="6023"/>
                  <a:pt x="12951" y="5987"/>
                  <a:pt x="12951" y="5987"/>
                </a:cubicBezTo>
                <a:cubicBezTo>
                  <a:pt x="12966" y="5989"/>
                  <a:pt x="12966" y="5989"/>
                  <a:pt x="12966" y="5989"/>
                </a:cubicBezTo>
                <a:cubicBezTo>
                  <a:pt x="12980" y="5956"/>
                  <a:pt x="12980" y="5956"/>
                  <a:pt x="12980" y="5956"/>
                </a:cubicBezTo>
                <a:cubicBezTo>
                  <a:pt x="12980" y="5956"/>
                  <a:pt x="12999" y="5953"/>
                  <a:pt x="13008" y="5952"/>
                </a:cubicBezTo>
                <a:cubicBezTo>
                  <a:pt x="13016" y="5951"/>
                  <a:pt x="13021" y="5921"/>
                  <a:pt x="13021" y="5921"/>
                </a:cubicBezTo>
                <a:cubicBezTo>
                  <a:pt x="13021" y="5921"/>
                  <a:pt x="13026" y="5945"/>
                  <a:pt x="13027" y="5952"/>
                </a:cubicBezTo>
                <a:cubicBezTo>
                  <a:pt x="13028" y="5960"/>
                  <a:pt x="12999" y="5974"/>
                  <a:pt x="12999" y="5974"/>
                </a:cubicBezTo>
                <a:cubicBezTo>
                  <a:pt x="12989" y="5975"/>
                  <a:pt x="12989" y="5975"/>
                  <a:pt x="12989" y="5975"/>
                </a:cubicBezTo>
                <a:cubicBezTo>
                  <a:pt x="12984" y="5982"/>
                  <a:pt x="12984" y="5982"/>
                  <a:pt x="12984" y="5982"/>
                </a:cubicBezTo>
                <a:cubicBezTo>
                  <a:pt x="12995" y="6005"/>
                  <a:pt x="12995" y="6005"/>
                  <a:pt x="12995" y="6005"/>
                </a:cubicBezTo>
                <a:cubicBezTo>
                  <a:pt x="12995" y="6005"/>
                  <a:pt x="12985" y="6009"/>
                  <a:pt x="12978" y="6013"/>
                </a:cubicBezTo>
                <a:cubicBezTo>
                  <a:pt x="12971" y="6018"/>
                  <a:pt x="12953" y="6041"/>
                  <a:pt x="12953" y="6041"/>
                </a:cubicBezTo>
                <a:cubicBezTo>
                  <a:pt x="12953" y="6041"/>
                  <a:pt x="12948" y="6060"/>
                  <a:pt x="12941" y="6064"/>
                </a:cubicBezTo>
                <a:cubicBezTo>
                  <a:pt x="12934" y="6069"/>
                  <a:pt x="12910" y="6078"/>
                  <a:pt x="12917" y="6084"/>
                </a:cubicBezTo>
                <a:cubicBezTo>
                  <a:pt x="12924" y="6091"/>
                  <a:pt x="12951" y="6081"/>
                  <a:pt x="12960" y="6078"/>
                </a:cubicBezTo>
                <a:cubicBezTo>
                  <a:pt x="12968" y="6074"/>
                  <a:pt x="12969" y="6061"/>
                  <a:pt x="12975" y="6052"/>
                </a:cubicBezTo>
                <a:cubicBezTo>
                  <a:pt x="12982" y="6042"/>
                  <a:pt x="12996" y="6032"/>
                  <a:pt x="12996" y="6032"/>
                </a:cubicBezTo>
                <a:cubicBezTo>
                  <a:pt x="12996" y="6032"/>
                  <a:pt x="12999" y="6057"/>
                  <a:pt x="13001" y="6063"/>
                </a:cubicBezTo>
                <a:cubicBezTo>
                  <a:pt x="13003" y="6069"/>
                  <a:pt x="12990" y="6080"/>
                  <a:pt x="12981" y="6085"/>
                </a:cubicBezTo>
                <a:cubicBezTo>
                  <a:pt x="12973" y="6090"/>
                  <a:pt x="12972" y="6098"/>
                  <a:pt x="12978" y="6104"/>
                </a:cubicBezTo>
                <a:cubicBezTo>
                  <a:pt x="12985" y="6109"/>
                  <a:pt x="13016" y="6109"/>
                  <a:pt x="13016" y="6109"/>
                </a:cubicBezTo>
                <a:cubicBezTo>
                  <a:pt x="13021" y="6116"/>
                  <a:pt x="13021" y="6116"/>
                  <a:pt x="13021" y="6116"/>
                </a:cubicBezTo>
                <a:cubicBezTo>
                  <a:pt x="13006" y="6129"/>
                  <a:pt x="13006" y="6129"/>
                  <a:pt x="13006" y="6129"/>
                </a:cubicBezTo>
                <a:cubicBezTo>
                  <a:pt x="13006" y="6129"/>
                  <a:pt x="13022" y="6158"/>
                  <a:pt x="13024" y="6168"/>
                </a:cubicBezTo>
                <a:cubicBezTo>
                  <a:pt x="13027" y="6179"/>
                  <a:pt x="13003" y="6195"/>
                  <a:pt x="12994" y="6206"/>
                </a:cubicBezTo>
                <a:cubicBezTo>
                  <a:pt x="12984" y="6217"/>
                  <a:pt x="13016" y="6239"/>
                  <a:pt x="13024" y="6242"/>
                </a:cubicBezTo>
                <a:cubicBezTo>
                  <a:pt x="13031" y="6245"/>
                  <a:pt x="13045" y="6265"/>
                  <a:pt x="13060" y="6270"/>
                </a:cubicBezTo>
                <a:cubicBezTo>
                  <a:pt x="13075" y="6275"/>
                  <a:pt x="13086" y="6266"/>
                  <a:pt x="13100" y="6269"/>
                </a:cubicBezTo>
                <a:cubicBezTo>
                  <a:pt x="13113" y="6272"/>
                  <a:pt x="13116" y="6289"/>
                  <a:pt x="13135" y="6292"/>
                </a:cubicBezTo>
                <a:cubicBezTo>
                  <a:pt x="13155" y="6296"/>
                  <a:pt x="13203" y="6263"/>
                  <a:pt x="13203" y="6263"/>
                </a:cubicBezTo>
                <a:cubicBezTo>
                  <a:pt x="13203" y="6263"/>
                  <a:pt x="13196" y="6249"/>
                  <a:pt x="13211" y="6240"/>
                </a:cubicBezTo>
                <a:cubicBezTo>
                  <a:pt x="13226" y="6231"/>
                  <a:pt x="13225" y="6267"/>
                  <a:pt x="13225" y="6267"/>
                </a:cubicBezTo>
                <a:cubicBezTo>
                  <a:pt x="13236" y="6266"/>
                  <a:pt x="13236" y="6266"/>
                  <a:pt x="13236" y="6266"/>
                </a:cubicBezTo>
                <a:cubicBezTo>
                  <a:pt x="13226" y="6282"/>
                  <a:pt x="13226" y="6282"/>
                  <a:pt x="13226" y="6282"/>
                </a:cubicBezTo>
                <a:cubicBezTo>
                  <a:pt x="13239" y="6283"/>
                  <a:pt x="13239" y="6283"/>
                  <a:pt x="13239" y="6283"/>
                </a:cubicBezTo>
                <a:cubicBezTo>
                  <a:pt x="13239" y="6283"/>
                  <a:pt x="13240" y="6295"/>
                  <a:pt x="13247" y="6304"/>
                </a:cubicBezTo>
                <a:cubicBezTo>
                  <a:pt x="13253" y="6312"/>
                  <a:pt x="13260" y="6308"/>
                  <a:pt x="13260" y="6308"/>
                </a:cubicBezTo>
                <a:cubicBezTo>
                  <a:pt x="13266" y="6297"/>
                  <a:pt x="13266" y="6297"/>
                  <a:pt x="13266" y="6297"/>
                </a:cubicBezTo>
                <a:cubicBezTo>
                  <a:pt x="13266" y="6297"/>
                  <a:pt x="13284" y="6295"/>
                  <a:pt x="13294" y="6286"/>
                </a:cubicBezTo>
                <a:cubicBezTo>
                  <a:pt x="13305" y="6278"/>
                  <a:pt x="13349" y="6247"/>
                  <a:pt x="13349" y="6247"/>
                </a:cubicBezTo>
                <a:cubicBezTo>
                  <a:pt x="13344" y="6237"/>
                  <a:pt x="13344" y="6237"/>
                  <a:pt x="13344" y="6237"/>
                </a:cubicBezTo>
                <a:cubicBezTo>
                  <a:pt x="13368" y="6233"/>
                  <a:pt x="13368" y="6233"/>
                  <a:pt x="13368" y="6233"/>
                </a:cubicBezTo>
                <a:cubicBezTo>
                  <a:pt x="13377" y="6241"/>
                  <a:pt x="13377" y="6241"/>
                  <a:pt x="13377" y="6241"/>
                </a:cubicBezTo>
                <a:cubicBezTo>
                  <a:pt x="13377" y="6241"/>
                  <a:pt x="13416" y="6234"/>
                  <a:pt x="13439" y="6226"/>
                </a:cubicBezTo>
                <a:cubicBezTo>
                  <a:pt x="13461" y="6217"/>
                  <a:pt x="13463" y="6173"/>
                  <a:pt x="13466" y="6161"/>
                </a:cubicBezTo>
                <a:cubicBezTo>
                  <a:pt x="13470" y="6150"/>
                  <a:pt x="13496" y="6135"/>
                  <a:pt x="13496" y="6135"/>
                </a:cubicBezTo>
                <a:cubicBezTo>
                  <a:pt x="13496" y="6120"/>
                  <a:pt x="13496" y="6120"/>
                  <a:pt x="13496" y="6120"/>
                </a:cubicBezTo>
                <a:cubicBezTo>
                  <a:pt x="13496" y="6120"/>
                  <a:pt x="13511" y="6114"/>
                  <a:pt x="13519" y="6103"/>
                </a:cubicBezTo>
                <a:cubicBezTo>
                  <a:pt x="13526" y="6093"/>
                  <a:pt x="13537" y="6079"/>
                  <a:pt x="13537" y="6079"/>
                </a:cubicBezTo>
                <a:cubicBezTo>
                  <a:pt x="13537" y="6079"/>
                  <a:pt x="13539" y="6050"/>
                  <a:pt x="13547" y="6040"/>
                </a:cubicBezTo>
                <a:cubicBezTo>
                  <a:pt x="13554" y="6031"/>
                  <a:pt x="13588" y="5993"/>
                  <a:pt x="13601" y="5987"/>
                </a:cubicBezTo>
                <a:cubicBezTo>
                  <a:pt x="13613" y="5981"/>
                  <a:pt x="13615" y="5950"/>
                  <a:pt x="13615" y="5950"/>
                </a:cubicBezTo>
                <a:cubicBezTo>
                  <a:pt x="13615" y="5950"/>
                  <a:pt x="13638" y="5954"/>
                  <a:pt x="13647" y="5944"/>
                </a:cubicBezTo>
                <a:cubicBezTo>
                  <a:pt x="13656" y="5935"/>
                  <a:pt x="13703" y="5876"/>
                  <a:pt x="13706" y="5869"/>
                </a:cubicBezTo>
                <a:cubicBezTo>
                  <a:pt x="13710" y="5863"/>
                  <a:pt x="13709" y="5832"/>
                  <a:pt x="13719" y="5825"/>
                </a:cubicBezTo>
                <a:cubicBezTo>
                  <a:pt x="13728" y="5818"/>
                  <a:pt x="13770" y="5736"/>
                  <a:pt x="13780" y="5717"/>
                </a:cubicBezTo>
                <a:cubicBezTo>
                  <a:pt x="13790" y="5698"/>
                  <a:pt x="13778" y="5685"/>
                  <a:pt x="13777" y="5672"/>
                </a:cubicBezTo>
                <a:cubicBezTo>
                  <a:pt x="13776" y="5659"/>
                  <a:pt x="13786" y="5638"/>
                  <a:pt x="13795" y="5624"/>
                </a:cubicBezTo>
                <a:cubicBezTo>
                  <a:pt x="13804" y="5610"/>
                  <a:pt x="13794" y="5548"/>
                  <a:pt x="13794" y="5548"/>
                </a:cubicBezTo>
                <a:lnTo>
                  <a:pt x="13775" y="5539"/>
                </a:lnTo>
                <a:close/>
                <a:moveTo>
                  <a:pt x="11992" y="4641"/>
                </a:moveTo>
                <a:cubicBezTo>
                  <a:pt x="12002" y="4650"/>
                  <a:pt x="12035" y="4656"/>
                  <a:pt x="12049" y="4657"/>
                </a:cubicBezTo>
                <a:cubicBezTo>
                  <a:pt x="12064" y="4659"/>
                  <a:pt x="12070" y="4656"/>
                  <a:pt x="12092" y="4657"/>
                </a:cubicBezTo>
                <a:cubicBezTo>
                  <a:pt x="12114" y="4659"/>
                  <a:pt x="12132" y="4686"/>
                  <a:pt x="12140" y="4691"/>
                </a:cubicBezTo>
                <a:cubicBezTo>
                  <a:pt x="12149" y="4695"/>
                  <a:pt x="12159" y="4686"/>
                  <a:pt x="12159" y="4686"/>
                </a:cubicBezTo>
                <a:cubicBezTo>
                  <a:pt x="12159" y="4686"/>
                  <a:pt x="12176" y="4695"/>
                  <a:pt x="12176" y="4689"/>
                </a:cubicBezTo>
                <a:cubicBezTo>
                  <a:pt x="12176" y="4678"/>
                  <a:pt x="12165" y="4663"/>
                  <a:pt x="12165" y="4663"/>
                </a:cubicBezTo>
                <a:cubicBezTo>
                  <a:pt x="12165" y="4663"/>
                  <a:pt x="12176" y="4657"/>
                  <a:pt x="12176" y="4638"/>
                </a:cubicBezTo>
                <a:cubicBezTo>
                  <a:pt x="12176" y="4619"/>
                  <a:pt x="12149" y="4619"/>
                  <a:pt x="12134" y="4616"/>
                </a:cubicBezTo>
                <a:cubicBezTo>
                  <a:pt x="12120" y="4613"/>
                  <a:pt x="12121" y="4644"/>
                  <a:pt x="12121" y="4644"/>
                </a:cubicBezTo>
                <a:cubicBezTo>
                  <a:pt x="12096" y="4625"/>
                  <a:pt x="12096" y="4625"/>
                  <a:pt x="12096" y="4625"/>
                </a:cubicBezTo>
                <a:cubicBezTo>
                  <a:pt x="12096" y="4625"/>
                  <a:pt x="12102" y="4609"/>
                  <a:pt x="12102" y="4585"/>
                </a:cubicBezTo>
                <a:cubicBezTo>
                  <a:pt x="12102" y="4562"/>
                  <a:pt x="12054" y="4571"/>
                  <a:pt x="12054" y="4571"/>
                </a:cubicBezTo>
                <a:cubicBezTo>
                  <a:pt x="12033" y="4559"/>
                  <a:pt x="12033" y="4559"/>
                  <a:pt x="12033" y="4559"/>
                </a:cubicBezTo>
                <a:cubicBezTo>
                  <a:pt x="12030" y="4544"/>
                  <a:pt x="12030" y="4544"/>
                  <a:pt x="12030" y="4544"/>
                </a:cubicBezTo>
                <a:cubicBezTo>
                  <a:pt x="12004" y="4544"/>
                  <a:pt x="12004" y="4544"/>
                  <a:pt x="12004" y="4544"/>
                </a:cubicBezTo>
                <a:cubicBezTo>
                  <a:pt x="12004" y="4544"/>
                  <a:pt x="11999" y="4565"/>
                  <a:pt x="11999" y="4569"/>
                </a:cubicBezTo>
                <a:cubicBezTo>
                  <a:pt x="11999" y="4573"/>
                  <a:pt x="11964" y="4562"/>
                  <a:pt x="11948" y="4559"/>
                </a:cubicBezTo>
                <a:cubicBezTo>
                  <a:pt x="11932" y="4556"/>
                  <a:pt x="11903" y="4557"/>
                  <a:pt x="11903" y="4557"/>
                </a:cubicBezTo>
                <a:cubicBezTo>
                  <a:pt x="11903" y="4557"/>
                  <a:pt x="11885" y="4535"/>
                  <a:pt x="11876" y="4525"/>
                </a:cubicBezTo>
                <a:cubicBezTo>
                  <a:pt x="11867" y="4515"/>
                  <a:pt x="11853" y="4526"/>
                  <a:pt x="11853" y="4526"/>
                </a:cubicBezTo>
                <a:cubicBezTo>
                  <a:pt x="11853" y="4526"/>
                  <a:pt x="11828" y="4513"/>
                  <a:pt x="11822" y="4512"/>
                </a:cubicBezTo>
                <a:cubicBezTo>
                  <a:pt x="11816" y="4510"/>
                  <a:pt x="11790" y="4509"/>
                  <a:pt x="11790" y="4509"/>
                </a:cubicBezTo>
                <a:cubicBezTo>
                  <a:pt x="11790" y="4509"/>
                  <a:pt x="11779" y="4500"/>
                  <a:pt x="11766" y="4504"/>
                </a:cubicBezTo>
                <a:cubicBezTo>
                  <a:pt x="11753" y="4509"/>
                  <a:pt x="11753" y="4537"/>
                  <a:pt x="11746" y="4541"/>
                </a:cubicBezTo>
                <a:cubicBezTo>
                  <a:pt x="11738" y="4546"/>
                  <a:pt x="11724" y="4551"/>
                  <a:pt x="11727" y="4562"/>
                </a:cubicBezTo>
                <a:cubicBezTo>
                  <a:pt x="11751" y="4557"/>
                  <a:pt x="11751" y="4557"/>
                  <a:pt x="11751" y="4557"/>
                </a:cubicBezTo>
                <a:cubicBezTo>
                  <a:pt x="11782" y="4560"/>
                  <a:pt x="11782" y="4560"/>
                  <a:pt x="11782" y="4560"/>
                </a:cubicBezTo>
                <a:cubicBezTo>
                  <a:pt x="11782" y="4560"/>
                  <a:pt x="11759" y="4573"/>
                  <a:pt x="11769" y="4584"/>
                </a:cubicBezTo>
                <a:cubicBezTo>
                  <a:pt x="11779" y="4594"/>
                  <a:pt x="11813" y="4576"/>
                  <a:pt x="11813" y="4576"/>
                </a:cubicBezTo>
                <a:cubicBezTo>
                  <a:pt x="11813" y="4576"/>
                  <a:pt x="11863" y="4603"/>
                  <a:pt x="11878" y="4607"/>
                </a:cubicBezTo>
                <a:cubicBezTo>
                  <a:pt x="11892" y="4612"/>
                  <a:pt x="11942" y="4613"/>
                  <a:pt x="11960" y="4613"/>
                </a:cubicBezTo>
                <a:cubicBezTo>
                  <a:pt x="11977" y="4613"/>
                  <a:pt x="11982" y="4632"/>
                  <a:pt x="11992" y="4641"/>
                </a:cubicBezTo>
                <a:close/>
                <a:moveTo>
                  <a:pt x="12892" y="6106"/>
                </a:moveTo>
                <a:cubicBezTo>
                  <a:pt x="12878" y="6108"/>
                  <a:pt x="12860" y="6113"/>
                  <a:pt x="12867" y="6119"/>
                </a:cubicBezTo>
                <a:cubicBezTo>
                  <a:pt x="12874" y="6125"/>
                  <a:pt x="12877" y="6132"/>
                  <a:pt x="12877" y="6132"/>
                </a:cubicBezTo>
                <a:cubicBezTo>
                  <a:pt x="12891" y="6132"/>
                  <a:pt x="12905" y="6124"/>
                  <a:pt x="12905" y="6124"/>
                </a:cubicBezTo>
                <a:cubicBezTo>
                  <a:pt x="12913" y="6124"/>
                  <a:pt x="12913" y="6124"/>
                  <a:pt x="12913" y="6124"/>
                </a:cubicBezTo>
                <a:cubicBezTo>
                  <a:pt x="12917" y="6121"/>
                  <a:pt x="12917" y="6121"/>
                  <a:pt x="12917" y="6121"/>
                </a:cubicBezTo>
                <a:cubicBezTo>
                  <a:pt x="12928" y="6121"/>
                  <a:pt x="12928" y="6121"/>
                  <a:pt x="12928" y="6121"/>
                </a:cubicBezTo>
                <a:cubicBezTo>
                  <a:pt x="12932" y="6116"/>
                  <a:pt x="12932" y="6116"/>
                  <a:pt x="12932" y="6116"/>
                </a:cubicBezTo>
                <a:cubicBezTo>
                  <a:pt x="12914" y="6114"/>
                  <a:pt x="12914" y="6114"/>
                  <a:pt x="12914" y="6114"/>
                </a:cubicBezTo>
                <a:cubicBezTo>
                  <a:pt x="12914" y="6114"/>
                  <a:pt x="12906" y="6105"/>
                  <a:pt x="12892" y="6106"/>
                </a:cubicBezTo>
                <a:close/>
                <a:moveTo>
                  <a:pt x="11485" y="4319"/>
                </a:moveTo>
                <a:cubicBezTo>
                  <a:pt x="11494" y="4318"/>
                  <a:pt x="11481" y="4298"/>
                  <a:pt x="11473" y="4303"/>
                </a:cubicBezTo>
                <a:cubicBezTo>
                  <a:pt x="11466" y="4307"/>
                  <a:pt x="11475" y="4321"/>
                  <a:pt x="11485" y="4319"/>
                </a:cubicBezTo>
                <a:close/>
                <a:moveTo>
                  <a:pt x="13253" y="6389"/>
                </a:moveTo>
                <a:cubicBezTo>
                  <a:pt x="13255" y="6396"/>
                  <a:pt x="13279" y="6384"/>
                  <a:pt x="13270" y="6377"/>
                </a:cubicBezTo>
                <a:cubicBezTo>
                  <a:pt x="13261" y="6370"/>
                  <a:pt x="13253" y="6389"/>
                  <a:pt x="13253" y="6389"/>
                </a:cubicBezTo>
                <a:close/>
                <a:moveTo>
                  <a:pt x="11424" y="4181"/>
                </a:moveTo>
                <a:cubicBezTo>
                  <a:pt x="11409" y="4195"/>
                  <a:pt x="11409" y="4195"/>
                  <a:pt x="11409" y="4195"/>
                </a:cubicBezTo>
                <a:cubicBezTo>
                  <a:pt x="11417" y="4215"/>
                  <a:pt x="11417" y="4215"/>
                  <a:pt x="11417" y="4215"/>
                </a:cubicBezTo>
                <a:cubicBezTo>
                  <a:pt x="11417" y="4215"/>
                  <a:pt x="11407" y="4233"/>
                  <a:pt x="11419" y="4229"/>
                </a:cubicBezTo>
                <a:cubicBezTo>
                  <a:pt x="11426" y="4226"/>
                  <a:pt x="11423" y="4201"/>
                  <a:pt x="11423" y="4201"/>
                </a:cubicBezTo>
                <a:cubicBezTo>
                  <a:pt x="11430" y="4192"/>
                  <a:pt x="11430" y="4192"/>
                  <a:pt x="11430" y="4192"/>
                </a:cubicBezTo>
                <a:lnTo>
                  <a:pt x="11424" y="4181"/>
                </a:lnTo>
                <a:close/>
                <a:moveTo>
                  <a:pt x="13852" y="4748"/>
                </a:moveTo>
                <a:cubicBezTo>
                  <a:pt x="13854" y="4737"/>
                  <a:pt x="13854" y="4737"/>
                  <a:pt x="13854" y="4737"/>
                </a:cubicBezTo>
                <a:cubicBezTo>
                  <a:pt x="13827" y="4720"/>
                  <a:pt x="13827" y="4720"/>
                  <a:pt x="13827" y="4720"/>
                </a:cubicBezTo>
                <a:cubicBezTo>
                  <a:pt x="13839" y="4710"/>
                  <a:pt x="13839" y="4710"/>
                  <a:pt x="13839" y="4710"/>
                </a:cubicBezTo>
                <a:cubicBezTo>
                  <a:pt x="13839" y="4710"/>
                  <a:pt x="13815" y="4709"/>
                  <a:pt x="13808" y="4702"/>
                </a:cubicBezTo>
                <a:cubicBezTo>
                  <a:pt x="13802" y="4695"/>
                  <a:pt x="13810" y="4681"/>
                  <a:pt x="13810" y="4672"/>
                </a:cubicBezTo>
                <a:cubicBezTo>
                  <a:pt x="13810" y="4663"/>
                  <a:pt x="13777" y="4680"/>
                  <a:pt x="13777" y="4680"/>
                </a:cubicBezTo>
                <a:cubicBezTo>
                  <a:pt x="13776" y="4659"/>
                  <a:pt x="13776" y="4659"/>
                  <a:pt x="13776" y="4659"/>
                </a:cubicBezTo>
                <a:cubicBezTo>
                  <a:pt x="13759" y="4651"/>
                  <a:pt x="13759" y="4651"/>
                  <a:pt x="13759" y="4651"/>
                </a:cubicBezTo>
                <a:cubicBezTo>
                  <a:pt x="13759" y="4621"/>
                  <a:pt x="13759" y="4621"/>
                  <a:pt x="13759" y="4621"/>
                </a:cubicBezTo>
                <a:cubicBezTo>
                  <a:pt x="13723" y="4595"/>
                  <a:pt x="13723" y="4595"/>
                  <a:pt x="13723" y="4595"/>
                </a:cubicBezTo>
                <a:cubicBezTo>
                  <a:pt x="13706" y="4558"/>
                  <a:pt x="13706" y="4558"/>
                  <a:pt x="13706" y="4558"/>
                </a:cubicBezTo>
                <a:cubicBezTo>
                  <a:pt x="13706" y="4558"/>
                  <a:pt x="13744" y="4545"/>
                  <a:pt x="13744" y="4529"/>
                </a:cubicBezTo>
                <a:cubicBezTo>
                  <a:pt x="13744" y="4513"/>
                  <a:pt x="13710" y="4504"/>
                  <a:pt x="13710" y="4504"/>
                </a:cubicBezTo>
                <a:cubicBezTo>
                  <a:pt x="13708" y="4500"/>
                  <a:pt x="13658" y="4486"/>
                  <a:pt x="13658" y="4486"/>
                </a:cubicBezTo>
                <a:cubicBezTo>
                  <a:pt x="13658" y="4486"/>
                  <a:pt x="13654" y="4473"/>
                  <a:pt x="13658" y="4453"/>
                </a:cubicBezTo>
                <a:cubicBezTo>
                  <a:pt x="13662" y="4434"/>
                  <a:pt x="13634" y="4431"/>
                  <a:pt x="13634" y="4431"/>
                </a:cubicBezTo>
                <a:cubicBezTo>
                  <a:pt x="13602" y="4397"/>
                  <a:pt x="13602" y="4397"/>
                  <a:pt x="13602" y="4397"/>
                </a:cubicBezTo>
                <a:cubicBezTo>
                  <a:pt x="13577" y="4398"/>
                  <a:pt x="13577" y="4398"/>
                  <a:pt x="13577" y="4398"/>
                </a:cubicBezTo>
                <a:cubicBezTo>
                  <a:pt x="13553" y="4375"/>
                  <a:pt x="13553" y="4375"/>
                  <a:pt x="13553" y="4375"/>
                </a:cubicBezTo>
                <a:cubicBezTo>
                  <a:pt x="13533" y="4371"/>
                  <a:pt x="13533" y="4371"/>
                  <a:pt x="13533" y="4371"/>
                </a:cubicBezTo>
                <a:cubicBezTo>
                  <a:pt x="13451" y="4333"/>
                  <a:pt x="13451" y="4333"/>
                  <a:pt x="13451" y="4333"/>
                </a:cubicBezTo>
                <a:cubicBezTo>
                  <a:pt x="13435" y="4339"/>
                  <a:pt x="13435" y="4339"/>
                  <a:pt x="13435" y="4339"/>
                </a:cubicBezTo>
                <a:cubicBezTo>
                  <a:pt x="13408" y="4320"/>
                  <a:pt x="13408" y="4320"/>
                  <a:pt x="13408" y="4320"/>
                </a:cubicBezTo>
                <a:cubicBezTo>
                  <a:pt x="13408" y="4320"/>
                  <a:pt x="13389" y="4322"/>
                  <a:pt x="13379" y="4322"/>
                </a:cubicBezTo>
                <a:cubicBezTo>
                  <a:pt x="13368" y="4322"/>
                  <a:pt x="13300" y="4279"/>
                  <a:pt x="13287" y="4275"/>
                </a:cubicBezTo>
                <a:cubicBezTo>
                  <a:pt x="13274" y="4271"/>
                  <a:pt x="13253" y="4290"/>
                  <a:pt x="13253" y="4290"/>
                </a:cubicBezTo>
                <a:cubicBezTo>
                  <a:pt x="13262" y="4308"/>
                  <a:pt x="13262" y="4308"/>
                  <a:pt x="13262" y="4308"/>
                </a:cubicBezTo>
                <a:cubicBezTo>
                  <a:pt x="13211" y="4313"/>
                  <a:pt x="13211" y="4313"/>
                  <a:pt x="13211" y="4313"/>
                </a:cubicBezTo>
                <a:cubicBezTo>
                  <a:pt x="13215" y="4331"/>
                  <a:pt x="13215" y="4331"/>
                  <a:pt x="13215" y="4331"/>
                </a:cubicBezTo>
                <a:cubicBezTo>
                  <a:pt x="13215" y="4331"/>
                  <a:pt x="13205" y="4362"/>
                  <a:pt x="13168" y="4369"/>
                </a:cubicBezTo>
                <a:cubicBezTo>
                  <a:pt x="13131" y="4377"/>
                  <a:pt x="13141" y="4328"/>
                  <a:pt x="13135" y="4328"/>
                </a:cubicBezTo>
                <a:cubicBezTo>
                  <a:pt x="13130" y="4328"/>
                  <a:pt x="13124" y="4350"/>
                  <a:pt x="13124" y="4350"/>
                </a:cubicBezTo>
                <a:cubicBezTo>
                  <a:pt x="13124" y="4350"/>
                  <a:pt x="13116" y="4333"/>
                  <a:pt x="13116" y="4324"/>
                </a:cubicBezTo>
                <a:cubicBezTo>
                  <a:pt x="13116" y="4314"/>
                  <a:pt x="13117" y="4287"/>
                  <a:pt x="13114" y="4270"/>
                </a:cubicBezTo>
                <a:cubicBezTo>
                  <a:pt x="13112" y="4253"/>
                  <a:pt x="13101" y="4235"/>
                  <a:pt x="13101" y="4235"/>
                </a:cubicBezTo>
                <a:cubicBezTo>
                  <a:pt x="13075" y="4235"/>
                  <a:pt x="13075" y="4235"/>
                  <a:pt x="13075" y="4235"/>
                </a:cubicBezTo>
                <a:cubicBezTo>
                  <a:pt x="13075" y="4235"/>
                  <a:pt x="13054" y="4211"/>
                  <a:pt x="13036" y="4211"/>
                </a:cubicBezTo>
                <a:cubicBezTo>
                  <a:pt x="13018" y="4211"/>
                  <a:pt x="12999" y="4236"/>
                  <a:pt x="12999" y="4236"/>
                </a:cubicBezTo>
                <a:cubicBezTo>
                  <a:pt x="12983" y="4240"/>
                  <a:pt x="12983" y="4240"/>
                  <a:pt x="12983" y="4240"/>
                </a:cubicBezTo>
                <a:cubicBezTo>
                  <a:pt x="12978" y="4252"/>
                  <a:pt x="12978" y="4252"/>
                  <a:pt x="12978" y="4252"/>
                </a:cubicBezTo>
                <a:cubicBezTo>
                  <a:pt x="12966" y="4258"/>
                  <a:pt x="12966" y="4258"/>
                  <a:pt x="12966" y="4258"/>
                </a:cubicBezTo>
                <a:cubicBezTo>
                  <a:pt x="12966" y="4249"/>
                  <a:pt x="12966" y="4249"/>
                  <a:pt x="12966" y="4249"/>
                </a:cubicBezTo>
                <a:cubicBezTo>
                  <a:pt x="12966" y="4249"/>
                  <a:pt x="12959" y="4237"/>
                  <a:pt x="12948" y="4241"/>
                </a:cubicBezTo>
                <a:cubicBezTo>
                  <a:pt x="12948" y="4241"/>
                  <a:pt x="12948" y="4254"/>
                  <a:pt x="12957" y="4267"/>
                </a:cubicBezTo>
                <a:cubicBezTo>
                  <a:pt x="12966" y="4280"/>
                  <a:pt x="12987" y="4273"/>
                  <a:pt x="13004" y="4278"/>
                </a:cubicBezTo>
                <a:cubicBezTo>
                  <a:pt x="13021" y="4283"/>
                  <a:pt x="13006" y="4291"/>
                  <a:pt x="13015" y="4307"/>
                </a:cubicBezTo>
                <a:cubicBezTo>
                  <a:pt x="13024" y="4322"/>
                  <a:pt x="13054" y="4309"/>
                  <a:pt x="13076" y="4309"/>
                </a:cubicBezTo>
                <a:cubicBezTo>
                  <a:pt x="13099" y="4309"/>
                  <a:pt x="13100" y="4314"/>
                  <a:pt x="13100" y="4325"/>
                </a:cubicBezTo>
                <a:cubicBezTo>
                  <a:pt x="13100" y="4335"/>
                  <a:pt x="13074" y="4325"/>
                  <a:pt x="13066" y="4326"/>
                </a:cubicBezTo>
                <a:cubicBezTo>
                  <a:pt x="13058" y="4328"/>
                  <a:pt x="13040" y="4339"/>
                  <a:pt x="13040" y="4339"/>
                </a:cubicBezTo>
                <a:cubicBezTo>
                  <a:pt x="13040" y="4339"/>
                  <a:pt x="13012" y="4339"/>
                  <a:pt x="13006" y="4346"/>
                </a:cubicBezTo>
                <a:cubicBezTo>
                  <a:pt x="12999" y="4352"/>
                  <a:pt x="13029" y="4359"/>
                  <a:pt x="13036" y="4363"/>
                </a:cubicBezTo>
                <a:cubicBezTo>
                  <a:pt x="13042" y="4367"/>
                  <a:pt x="13052" y="4383"/>
                  <a:pt x="13052" y="4383"/>
                </a:cubicBezTo>
                <a:cubicBezTo>
                  <a:pt x="13052" y="4383"/>
                  <a:pt x="13036" y="4402"/>
                  <a:pt x="13045" y="4415"/>
                </a:cubicBezTo>
                <a:cubicBezTo>
                  <a:pt x="13054" y="4428"/>
                  <a:pt x="13074" y="4393"/>
                  <a:pt x="13074" y="4389"/>
                </a:cubicBezTo>
                <a:cubicBezTo>
                  <a:pt x="13074" y="4385"/>
                  <a:pt x="13093" y="4356"/>
                  <a:pt x="13093" y="4356"/>
                </a:cubicBezTo>
                <a:cubicBezTo>
                  <a:pt x="13091" y="4381"/>
                  <a:pt x="13091" y="4381"/>
                  <a:pt x="13091" y="4381"/>
                </a:cubicBezTo>
                <a:cubicBezTo>
                  <a:pt x="13091" y="4381"/>
                  <a:pt x="13104" y="4394"/>
                  <a:pt x="13114" y="4403"/>
                </a:cubicBezTo>
                <a:cubicBezTo>
                  <a:pt x="13125" y="4413"/>
                  <a:pt x="13146" y="4405"/>
                  <a:pt x="13146" y="4405"/>
                </a:cubicBezTo>
                <a:cubicBezTo>
                  <a:pt x="13137" y="4414"/>
                  <a:pt x="13137" y="4414"/>
                  <a:pt x="13137" y="4414"/>
                </a:cubicBezTo>
                <a:cubicBezTo>
                  <a:pt x="13158" y="4434"/>
                  <a:pt x="13158" y="4434"/>
                  <a:pt x="13158" y="4434"/>
                </a:cubicBezTo>
                <a:cubicBezTo>
                  <a:pt x="13196" y="4435"/>
                  <a:pt x="13196" y="4435"/>
                  <a:pt x="13196" y="4435"/>
                </a:cubicBezTo>
                <a:cubicBezTo>
                  <a:pt x="13219" y="4452"/>
                  <a:pt x="13219" y="4452"/>
                  <a:pt x="13219" y="4452"/>
                </a:cubicBezTo>
                <a:cubicBezTo>
                  <a:pt x="13219" y="4452"/>
                  <a:pt x="13261" y="4466"/>
                  <a:pt x="13285" y="4483"/>
                </a:cubicBezTo>
                <a:cubicBezTo>
                  <a:pt x="13308" y="4500"/>
                  <a:pt x="13303" y="4506"/>
                  <a:pt x="13304" y="4525"/>
                </a:cubicBezTo>
                <a:cubicBezTo>
                  <a:pt x="13306" y="4545"/>
                  <a:pt x="13328" y="4554"/>
                  <a:pt x="13328" y="4554"/>
                </a:cubicBezTo>
                <a:cubicBezTo>
                  <a:pt x="13328" y="4554"/>
                  <a:pt x="13311" y="4557"/>
                  <a:pt x="13311" y="4566"/>
                </a:cubicBezTo>
                <a:cubicBezTo>
                  <a:pt x="13311" y="4575"/>
                  <a:pt x="13337" y="4576"/>
                  <a:pt x="13337" y="4576"/>
                </a:cubicBezTo>
                <a:cubicBezTo>
                  <a:pt x="13321" y="4582"/>
                  <a:pt x="13321" y="4582"/>
                  <a:pt x="13321" y="4582"/>
                </a:cubicBezTo>
                <a:cubicBezTo>
                  <a:pt x="13322" y="4590"/>
                  <a:pt x="13322" y="4590"/>
                  <a:pt x="13322" y="4590"/>
                </a:cubicBezTo>
                <a:cubicBezTo>
                  <a:pt x="13327" y="4593"/>
                  <a:pt x="13327" y="4593"/>
                  <a:pt x="13327" y="4593"/>
                </a:cubicBezTo>
                <a:cubicBezTo>
                  <a:pt x="13332" y="4614"/>
                  <a:pt x="13332" y="4614"/>
                  <a:pt x="13332" y="4614"/>
                </a:cubicBezTo>
                <a:cubicBezTo>
                  <a:pt x="13322" y="4635"/>
                  <a:pt x="13322" y="4635"/>
                  <a:pt x="13322" y="4635"/>
                </a:cubicBezTo>
                <a:cubicBezTo>
                  <a:pt x="13328" y="4634"/>
                  <a:pt x="13333" y="4633"/>
                  <a:pt x="13336" y="4634"/>
                </a:cubicBezTo>
                <a:cubicBezTo>
                  <a:pt x="13341" y="4637"/>
                  <a:pt x="13375" y="4622"/>
                  <a:pt x="13375" y="4622"/>
                </a:cubicBezTo>
                <a:cubicBezTo>
                  <a:pt x="13375" y="4640"/>
                  <a:pt x="13375" y="4640"/>
                  <a:pt x="13375" y="4640"/>
                </a:cubicBezTo>
                <a:cubicBezTo>
                  <a:pt x="13375" y="4640"/>
                  <a:pt x="13402" y="4673"/>
                  <a:pt x="13414" y="4682"/>
                </a:cubicBezTo>
                <a:cubicBezTo>
                  <a:pt x="13416" y="4683"/>
                  <a:pt x="13417" y="4684"/>
                  <a:pt x="13419" y="4685"/>
                </a:cubicBezTo>
                <a:cubicBezTo>
                  <a:pt x="13419" y="4685"/>
                  <a:pt x="13419" y="4685"/>
                  <a:pt x="13419" y="4685"/>
                </a:cubicBezTo>
                <a:cubicBezTo>
                  <a:pt x="13436" y="4689"/>
                  <a:pt x="13477" y="4680"/>
                  <a:pt x="13477" y="4680"/>
                </a:cubicBezTo>
                <a:cubicBezTo>
                  <a:pt x="13490" y="4692"/>
                  <a:pt x="13490" y="4692"/>
                  <a:pt x="13490" y="4692"/>
                </a:cubicBezTo>
                <a:cubicBezTo>
                  <a:pt x="13490" y="4692"/>
                  <a:pt x="13516" y="4682"/>
                  <a:pt x="13528" y="4672"/>
                </a:cubicBezTo>
                <a:cubicBezTo>
                  <a:pt x="13540" y="4661"/>
                  <a:pt x="13473" y="4631"/>
                  <a:pt x="13473" y="4631"/>
                </a:cubicBezTo>
                <a:cubicBezTo>
                  <a:pt x="13473" y="4631"/>
                  <a:pt x="13528" y="4639"/>
                  <a:pt x="13540" y="4637"/>
                </a:cubicBezTo>
                <a:cubicBezTo>
                  <a:pt x="13552" y="4634"/>
                  <a:pt x="13532" y="4613"/>
                  <a:pt x="13532" y="4613"/>
                </a:cubicBezTo>
                <a:cubicBezTo>
                  <a:pt x="13532" y="4613"/>
                  <a:pt x="13548" y="4625"/>
                  <a:pt x="13553" y="4622"/>
                </a:cubicBezTo>
                <a:cubicBezTo>
                  <a:pt x="13558" y="4620"/>
                  <a:pt x="13548" y="4597"/>
                  <a:pt x="13548" y="4597"/>
                </a:cubicBezTo>
                <a:cubicBezTo>
                  <a:pt x="13548" y="4597"/>
                  <a:pt x="13558" y="4606"/>
                  <a:pt x="13565" y="4608"/>
                </a:cubicBezTo>
                <a:cubicBezTo>
                  <a:pt x="13571" y="4609"/>
                  <a:pt x="13581" y="4596"/>
                  <a:pt x="13587" y="4595"/>
                </a:cubicBezTo>
                <a:cubicBezTo>
                  <a:pt x="13594" y="4593"/>
                  <a:pt x="13604" y="4613"/>
                  <a:pt x="13611" y="4617"/>
                </a:cubicBezTo>
                <a:cubicBezTo>
                  <a:pt x="13617" y="4621"/>
                  <a:pt x="13642" y="4616"/>
                  <a:pt x="13660" y="4626"/>
                </a:cubicBezTo>
                <a:cubicBezTo>
                  <a:pt x="13679" y="4637"/>
                  <a:pt x="13672" y="4660"/>
                  <a:pt x="13679" y="4672"/>
                </a:cubicBezTo>
                <a:cubicBezTo>
                  <a:pt x="13685" y="4684"/>
                  <a:pt x="13698" y="4676"/>
                  <a:pt x="13704" y="4682"/>
                </a:cubicBezTo>
                <a:cubicBezTo>
                  <a:pt x="13709" y="4689"/>
                  <a:pt x="13718" y="4730"/>
                  <a:pt x="13732" y="4740"/>
                </a:cubicBezTo>
                <a:cubicBezTo>
                  <a:pt x="13747" y="4750"/>
                  <a:pt x="13811" y="4744"/>
                  <a:pt x="13820" y="4748"/>
                </a:cubicBezTo>
                <a:cubicBezTo>
                  <a:pt x="13829" y="4752"/>
                  <a:pt x="13849" y="4775"/>
                  <a:pt x="13861" y="4775"/>
                </a:cubicBezTo>
                <a:cubicBezTo>
                  <a:pt x="13873" y="4775"/>
                  <a:pt x="13852" y="4748"/>
                  <a:pt x="13852" y="4748"/>
                </a:cubicBezTo>
                <a:close/>
                <a:moveTo>
                  <a:pt x="14324" y="6411"/>
                </a:moveTo>
                <a:cubicBezTo>
                  <a:pt x="14315" y="6411"/>
                  <a:pt x="14315" y="6411"/>
                  <a:pt x="14315" y="6411"/>
                </a:cubicBezTo>
                <a:cubicBezTo>
                  <a:pt x="14321" y="6386"/>
                  <a:pt x="14321" y="6386"/>
                  <a:pt x="14321" y="6386"/>
                </a:cubicBezTo>
                <a:cubicBezTo>
                  <a:pt x="14303" y="6397"/>
                  <a:pt x="14303" y="6397"/>
                  <a:pt x="14303" y="6397"/>
                </a:cubicBezTo>
                <a:cubicBezTo>
                  <a:pt x="14303" y="6397"/>
                  <a:pt x="14316" y="6371"/>
                  <a:pt x="14304" y="6371"/>
                </a:cubicBezTo>
                <a:cubicBezTo>
                  <a:pt x="14292" y="6370"/>
                  <a:pt x="14282" y="6387"/>
                  <a:pt x="14282" y="6387"/>
                </a:cubicBezTo>
                <a:cubicBezTo>
                  <a:pt x="14271" y="6394"/>
                  <a:pt x="14271" y="6394"/>
                  <a:pt x="14271" y="6394"/>
                </a:cubicBezTo>
                <a:cubicBezTo>
                  <a:pt x="14271" y="6394"/>
                  <a:pt x="14260" y="6405"/>
                  <a:pt x="14251" y="6416"/>
                </a:cubicBezTo>
                <a:cubicBezTo>
                  <a:pt x="14243" y="6427"/>
                  <a:pt x="14222" y="6429"/>
                  <a:pt x="14207" y="6439"/>
                </a:cubicBezTo>
                <a:cubicBezTo>
                  <a:pt x="14192" y="6450"/>
                  <a:pt x="14186" y="6468"/>
                  <a:pt x="14186" y="6468"/>
                </a:cubicBezTo>
                <a:cubicBezTo>
                  <a:pt x="14186" y="6468"/>
                  <a:pt x="14139" y="6482"/>
                  <a:pt x="14126" y="6491"/>
                </a:cubicBezTo>
                <a:cubicBezTo>
                  <a:pt x="14111" y="6500"/>
                  <a:pt x="14087" y="6520"/>
                  <a:pt x="14087" y="6520"/>
                </a:cubicBezTo>
                <a:cubicBezTo>
                  <a:pt x="14087" y="6520"/>
                  <a:pt x="14060" y="6524"/>
                  <a:pt x="14043" y="6531"/>
                </a:cubicBezTo>
                <a:cubicBezTo>
                  <a:pt x="14027" y="6539"/>
                  <a:pt x="14018" y="6541"/>
                  <a:pt x="14003" y="6549"/>
                </a:cubicBezTo>
                <a:cubicBezTo>
                  <a:pt x="13987" y="6558"/>
                  <a:pt x="13957" y="6569"/>
                  <a:pt x="13945" y="6575"/>
                </a:cubicBezTo>
                <a:cubicBezTo>
                  <a:pt x="13932" y="6581"/>
                  <a:pt x="13938" y="6600"/>
                  <a:pt x="13938" y="6600"/>
                </a:cubicBezTo>
                <a:cubicBezTo>
                  <a:pt x="13928" y="6591"/>
                  <a:pt x="13928" y="6591"/>
                  <a:pt x="13928" y="6591"/>
                </a:cubicBezTo>
                <a:cubicBezTo>
                  <a:pt x="13928" y="6591"/>
                  <a:pt x="13893" y="6613"/>
                  <a:pt x="13882" y="6619"/>
                </a:cubicBezTo>
                <a:cubicBezTo>
                  <a:pt x="13870" y="6626"/>
                  <a:pt x="13865" y="6623"/>
                  <a:pt x="13849" y="6629"/>
                </a:cubicBezTo>
                <a:cubicBezTo>
                  <a:pt x="13833" y="6635"/>
                  <a:pt x="13826" y="6644"/>
                  <a:pt x="13826" y="6644"/>
                </a:cubicBezTo>
                <a:cubicBezTo>
                  <a:pt x="13826" y="6644"/>
                  <a:pt x="13846" y="6643"/>
                  <a:pt x="13844" y="6647"/>
                </a:cubicBezTo>
                <a:cubicBezTo>
                  <a:pt x="13842" y="6651"/>
                  <a:pt x="13834" y="6656"/>
                  <a:pt x="13838" y="6665"/>
                </a:cubicBezTo>
                <a:cubicBezTo>
                  <a:pt x="13843" y="6674"/>
                  <a:pt x="13866" y="6660"/>
                  <a:pt x="13866" y="6660"/>
                </a:cubicBezTo>
                <a:cubicBezTo>
                  <a:pt x="13873" y="6667"/>
                  <a:pt x="13873" y="6667"/>
                  <a:pt x="13873" y="6667"/>
                </a:cubicBezTo>
                <a:cubicBezTo>
                  <a:pt x="13889" y="6667"/>
                  <a:pt x="13889" y="6667"/>
                  <a:pt x="13889" y="6667"/>
                </a:cubicBezTo>
                <a:cubicBezTo>
                  <a:pt x="13891" y="6673"/>
                  <a:pt x="13891" y="6673"/>
                  <a:pt x="13891" y="6673"/>
                </a:cubicBezTo>
                <a:cubicBezTo>
                  <a:pt x="13913" y="6670"/>
                  <a:pt x="13913" y="6670"/>
                  <a:pt x="13913" y="6670"/>
                </a:cubicBezTo>
                <a:cubicBezTo>
                  <a:pt x="13922" y="6684"/>
                  <a:pt x="13922" y="6684"/>
                  <a:pt x="13922" y="6684"/>
                </a:cubicBezTo>
                <a:cubicBezTo>
                  <a:pt x="13944" y="6681"/>
                  <a:pt x="13944" y="6681"/>
                  <a:pt x="13944" y="6681"/>
                </a:cubicBezTo>
                <a:cubicBezTo>
                  <a:pt x="13944" y="6681"/>
                  <a:pt x="13962" y="6692"/>
                  <a:pt x="13978" y="6689"/>
                </a:cubicBezTo>
                <a:cubicBezTo>
                  <a:pt x="13993" y="6686"/>
                  <a:pt x="13998" y="6670"/>
                  <a:pt x="14008" y="6663"/>
                </a:cubicBezTo>
                <a:cubicBezTo>
                  <a:pt x="14018" y="6656"/>
                  <a:pt x="14026" y="6666"/>
                  <a:pt x="14041" y="6656"/>
                </a:cubicBezTo>
                <a:cubicBezTo>
                  <a:pt x="14056" y="6646"/>
                  <a:pt x="14046" y="6633"/>
                  <a:pt x="14058" y="6622"/>
                </a:cubicBezTo>
                <a:cubicBezTo>
                  <a:pt x="14069" y="6610"/>
                  <a:pt x="14083" y="6618"/>
                  <a:pt x="14091" y="6610"/>
                </a:cubicBezTo>
                <a:cubicBezTo>
                  <a:pt x="14099" y="6603"/>
                  <a:pt x="14091" y="6594"/>
                  <a:pt x="14091" y="6594"/>
                </a:cubicBezTo>
                <a:cubicBezTo>
                  <a:pt x="14105" y="6593"/>
                  <a:pt x="14105" y="6593"/>
                  <a:pt x="14105" y="6593"/>
                </a:cubicBezTo>
                <a:cubicBezTo>
                  <a:pt x="14144" y="6563"/>
                  <a:pt x="14144" y="6563"/>
                  <a:pt x="14144" y="6563"/>
                </a:cubicBezTo>
                <a:cubicBezTo>
                  <a:pt x="14132" y="6553"/>
                  <a:pt x="14132" y="6553"/>
                  <a:pt x="14132" y="6553"/>
                </a:cubicBezTo>
                <a:cubicBezTo>
                  <a:pt x="14159" y="6563"/>
                  <a:pt x="14159" y="6563"/>
                  <a:pt x="14159" y="6563"/>
                </a:cubicBezTo>
                <a:cubicBezTo>
                  <a:pt x="14159" y="6563"/>
                  <a:pt x="14160" y="6547"/>
                  <a:pt x="14169" y="6546"/>
                </a:cubicBezTo>
                <a:cubicBezTo>
                  <a:pt x="14178" y="6545"/>
                  <a:pt x="14186" y="6553"/>
                  <a:pt x="14198" y="6556"/>
                </a:cubicBezTo>
                <a:cubicBezTo>
                  <a:pt x="14209" y="6558"/>
                  <a:pt x="14214" y="6539"/>
                  <a:pt x="14214" y="6539"/>
                </a:cubicBezTo>
                <a:cubicBezTo>
                  <a:pt x="14204" y="6531"/>
                  <a:pt x="14204" y="6531"/>
                  <a:pt x="14204" y="6531"/>
                </a:cubicBezTo>
                <a:cubicBezTo>
                  <a:pt x="14221" y="6516"/>
                  <a:pt x="14221" y="6516"/>
                  <a:pt x="14221" y="6516"/>
                </a:cubicBezTo>
                <a:cubicBezTo>
                  <a:pt x="14233" y="6502"/>
                  <a:pt x="14233" y="6502"/>
                  <a:pt x="14233" y="6502"/>
                </a:cubicBezTo>
                <a:cubicBezTo>
                  <a:pt x="14233" y="6502"/>
                  <a:pt x="14244" y="6495"/>
                  <a:pt x="14256" y="6492"/>
                </a:cubicBezTo>
                <a:cubicBezTo>
                  <a:pt x="14268" y="6489"/>
                  <a:pt x="14273" y="6472"/>
                  <a:pt x="14273" y="6472"/>
                </a:cubicBezTo>
                <a:cubicBezTo>
                  <a:pt x="14273" y="6472"/>
                  <a:pt x="14284" y="6470"/>
                  <a:pt x="14294" y="6466"/>
                </a:cubicBezTo>
                <a:cubicBezTo>
                  <a:pt x="14305" y="6462"/>
                  <a:pt x="14314" y="6444"/>
                  <a:pt x="14314" y="6444"/>
                </a:cubicBezTo>
                <a:cubicBezTo>
                  <a:pt x="14314" y="6444"/>
                  <a:pt x="14334" y="6437"/>
                  <a:pt x="14344" y="6425"/>
                </a:cubicBezTo>
                <a:cubicBezTo>
                  <a:pt x="14355" y="6412"/>
                  <a:pt x="14342" y="6389"/>
                  <a:pt x="14342" y="6389"/>
                </a:cubicBezTo>
                <a:lnTo>
                  <a:pt x="14324" y="6411"/>
                </a:lnTo>
                <a:close/>
                <a:moveTo>
                  <a:pt x="13321" y="4635"/>
                </a:moveTo>
                <a:cubicBezTo>
                  <a:pt x="13327" y="4613"/>
                  <a:pt x="13327" y="4613"/>
                  <a:pt x="13327" y="4613"/>
                </a:cubicBezTo>
                <a:cubicBezTo>
                  <a:pt x="13323" y="4599"/>
                  <a:pt x="13323" y="4599"/>
                  <a:pt x="13323" y="4599"/>
                </a:cubicBezTo>
                <a:cubicBezTo>
                  <a:pt x="13322" y="4598"/>
                  <a:pt x="13322" y="4598"/>
                  <a:pt x="13322" y="4598"/>
                </a:cubicBezTo>
                <a:cubicBezTo>
                  <a:pt x="13320" y="4595"/>
                  <a:pt x="13311" y="4587"/>
                  <a:pt x="13292" y="4596"/>
                </a:cubicBezTo>
                <a:cubicBezTo>
                  <a:pt x="13270" y="4606"/>
                  <a:pt x="13266" y="4644"/>
                  <a:pt x="13266" y="4644"/>
                </a:cubicBezTo>
                <a:cubicBezTo>
                  <a:pt x="13308" y="4639"/>
                  <a:pt x="13308" y="4639"/>
                  <a:pt x="13308" y="4639"/>
                </a:cubicBezTo>
                <a:cubicBezTo>
                  <a:pt x="13308" y="4639"/>
                  <a:pt x="13314" y="4637"/>
                  <a:pt x="13321" y="4635"/>
                </a:cubicBezTo>
                <a:close/>
                <a:moveTo>
                  <a:pt x="11435" y="4245"/>
                </a:moveTo>
                <a:cubicBezTo>
                  <a:pt x="11425" y="4257"/>
                  <a:pt x="11431" y="4299"/>
                  <a:pt x="11453" y="4295"/>
                </a:cubicBezTo>
                <a:cubicBezTo>
                  <a:pt x="11462" y="4293"/>
                  <a:pt x="11446" y="4233"/>
                  <a:pt x="11435" y="4245"/>
                </a:cubicBezTo>
                <a:close/>
                <a:moveTo>
                  <a:pt x="13175" y="4927"/>
                </a:moveTo>
                <a:cubicBezTo>
                  <a:pt x="13169" y="4927"/>
                  <a:pt x="13165" y="4958"/>
                  <a:pt x="13165" y="4958"/>
                </a:cubicBezTo>
                <a:cubicBezTo>
                  <a:pt x="13175" y="4972"/>
                  <a:pt x="13196" y="4960"/>
                  <a:pt x="13196" y="4960"/>
                </a:cubicBezTo>
                <a:cubicBezTo>
                  <a:pt x="13192" y="4951"/>
                  <a:pt x="13192" y="4951"/>
                  <a:pt x="13192" y="4951"/>
                </a:cubicBezTo>
                <a:cubicBezTo>
                  <a:pt x="13196" y="4932"/>
                  <a:pt x="13196" y="4932"/>
                  <a:pt x="13196" y="4932"/>
                </a:cubicBezTo>
                <a:cubicBezTo>
                  <a:pt x="13196" y="4932"/>
                  <a:pt x="13180" y="4927"/>
                  <a:pt x="13175" y="4927"/>
                </a:cubicBezTo>
                <a:close/>
                <a:moveTo>
                  <a:pt x="13263" y="6362"/>
                </a:moveTo>
                <a:cubicBezTo>
                  <a:pt x="13251" y="6337"/>
                  <a:pt x="13251" y="6337"/>
                  <a:pt x="13251" y="6337"/>
                </a:cubicBezTo>
                <a:cubicBezTo>
                  <a:pt x="13251" y="6337"/>
                  <a:pt x="13239" y="6344"/>
                  <a:pt x="13238" y="6352"/>
                </a:cubicBezTo>
                <a:cubicBezTo>
                  <a:pt x="13238" y="6359"/>
                  <a:pt x="13240" y="6362"/>
                  <a:pt x="13249" y="6365"/>
                </a:cubicBezTo>
                <a:cubicBezTo>
                  <a:pt x="13258" y="6368"/>
                  <a:pt x="13263" y="6362"/>
                  <a:pt x="13263" y="6362"/>
                </a:cubicBezTo>
                <a:close/>
                <a:moveTo>
                  <a:pt x="6552" y="1145"/>
                </a:moveTo>
                <a:cubicBezTo>
                  <a:pt x="6547" y="1137"/>
                  <a:pt x="6547" y="1137"/>
                  <a:pt x="6547" y="1137"/>
                </a:cubicBezTo>
                <a:cubicBezTo>
                  <a:pt x="6541" y="1159"/>
                  <a:pt x="6541" y="1159"/>
                  <a:pt x="6541" y="1159"/>
                </a:cubicBezTo>
                <a:lnTo>
                  <a:pt x="6552" y="1145"/>
                </a:lnTo>
                <a:close/>
                <a:moveTo>
                  <a:pt x="6608" y="1224"/>
                </a:moveTo>
                <a:cubicBezTo>
                  <a:pt x="6600" y="1224"/>
                  <a:pt x="6599" y="1230"/>
                  <a:pt x="6596" y="1245"/>
                </a:cubicBezTo>
                <a:cubicBezTo>
                  <a:pt x="6594" y="1257"/>
                  <a:pt x="6616" y="1224"/>
                  <a:pt x="6608" y="1224"/>
                </a:cubicBezTo>
                <a:close/>
                <a:moveTo>
                  <a:pt x="6587" y="1127"/>
                </a:moveTo>
                <a:cubicBezTo>
                  <a:pt x="6577" y="1127"/>
                  <a:pt x="6583" y="1137"/>
                  <a:pt x="6583" y="1137"/>
                </a:cubicBezTo>
                <a:cubicBezTo>
                  <a:pt x="6583" y="1137"/>
                  <a:pt x="6575" y="1134"/>
                  <a:pt x="6572" y="1137"/>
                </a:cubicBezTo>
                <a:cubicBezTo>
                  <a:pt x="6569" y="1140"/>
                  <a:pt x="6581" y="1147"/>
                  <a:pt x="6583" y="1151"/>
                </a:cubicBezTo>
                <a:cubicBezTo>
                  <a:pt x="6585" y="1155"/>
                  <a:pt x="6600" y="1152"/>
                  <a:pt x="6600" y="1152"/>
                </a:cubicBezTo>
                <a:cubicBezTo>
                  <a:pt x="6593" y="1144"/>
                  <a:pt x="6593" y="1144"/>
                  <a:pt x="6593" y="1144"/>
                </a:cubicBezTo>
                <a:cubicBezTo>
                  <a:pt x="6593" y="1144"/>
                  <a:pt x="6597" y="1127"/>
                  <a:pt x="6587" y="1127"/>
                </a:cubicBezTo>
                <a:close/>
                <a:moveTo>
                  <a:pt x="6627" y="1237"/>
                </a:moveTo>
                <a:cubicBezTo>
                  <a:pt x="6633" y="1233"/>
                  <a:pt x="6624" y="1220"/>
                  <a:pt x="6618" y="1226"/>
                </a:cubicBezTo>
                <a:cubicBezTo>
                  <a:pt x="6612" y="1232"/>
                  <a:pt x="6620" y="1241"/>
                  <a:pt x="6627" y="1237"/>
                </a:cubicBezTo>
                <a:close/>
                <a:moveTo>
                  <a:pt x="6647" y="1293"/>
                </a:moveTo>
                <a:cubicBezTo>
                  <a:pt x="6642" y="1278"/>
                  <a:pt x="6637" y="1298"/>
                  <a:pt x="6628" y="1306"/>
                </a:cubicBezTo>
                <a:cubicBezTo>
                  <a:pt x="6628" y="1306"/>
                  <a:pt x="6652" y="1308"/>
                  <a:pt x="6647" y="1293"/>
                </a:cubicBezTo>
                <a:close/>
                <a:moveTo>
                  <a:pt x="6576" y="1101"/>
                </a:moveTo>
                <a:cubicBezTo>
                  <a:pt x="6576" y="1101"/>
                  <a:pt x="6568" y="1093"/>
                  <a:pt x="6562" y="1096"/>
                </a:cubicBezTo>
                <a:cubicBezTo>
                  <a:pt x="6557" y="1099"/>
                  <a:pt x="6563" y="1121"/>
                  <a:pt x="6563" y="1121"/>
                </a:cubicBezTo>
                <a:cubicBezTo>
                  <a:pt x="6572" y="1112"/>
                  <a:pt x="6572" y="1112"/>
                  <a:pt x="6572" y="1112"/>
                </a:cubicBezTo>
                <a:cubicBezTo>
                  <a:pt x="6572" y="1112"/>
                  <a:pt x="6578" y="1114"/>
                  <a:pt x="6584" y="1113"/>
                </a:cubicBezTo>
                <a:cubicBezTo>
                  <a:pt x="6590" y="1112"/>
                  <a:pt x="6598" y="1083"/>
                  <a:pt x="6598" y="1083"/>
                </a:cubicBezTo>
                <a:cubicBezTo>
                  <a:pt x="6598" y="1083"/>
                  <a:pt x="6590" y="1085"/>
                  <a:pt x="6584" y="1090"/>
                </a:cubicBezTo>
                <a:cubicBezTo>
                  <a:pt x="6578" y="1094"/>
                  <a:pt x="6576" y="1101"/>
                  <a:pt x="6576" y="1101"/>
                </a:cubicBezTo>
                <a:close/>
                <a:moveTo>
                  <a:pt x="6370" y="744"/>
                </a:moveTo>
                <a:cubicBezTo>
                  <a:pt x="6356" y="737"/>
                  <a:pt x="6344" y="744"/>
                  <a:pt x="6344" y="744"/>
                </a:cubicBezTo>
                <a:cubicBezTo>
                  <a:pt x="6347" y="734"/>
                  <a:pt x="6347" y="734"/>
                  <a:pt x="6347" y="734"/>
                </a:cubicBezTo>
                <a:cubicBezTo>
                  <a:pt x="6329" y="735"/>
                  <a:pt x="6329" y="735"/>
                  <a:pt x="6329" y="735"/>
                </a:cubicBezTo>
                <a:cubicBezTo>
                  <a:pt x="6339" y="720"/>
                  <a:pt x="6339" y="720"/>
                  <a:pt x="6339" y="720"/>
                </a:cubicBezTo>
                <a:cubicBezTo>
                  <a:pt x="6330" y="718"/>
                  <a:pt x="6330" y="718"/>
                  <a:pt x="6330" y="718"/>
                </a:cubicBezTo>
                <a:cubicBezTo>
                  <a:pt x="6334" y="706"/>
                  <a:pt x="6334" y="706"/>
                  <a:pt x="6334" y="706"/>
                </a:cubicBezTo>
                <a:cubicBezTo>
                  <a:pt x="6313" y="711"/>
                  <a:pt x="6313" y="711"/>
                  <a:pt x="6313" y="711"/>
                </a:cubicBezTo>
                <a:cubicBezTo>
                  <a:pt x="6313" y="711"/>
                  <a:pt x="6292" y="694"/>
                  <a:pt x="6285" y="694"/>
                </a:cubicBezTo>
                <a:cubicBezTo>
                  <a:pt x="6278" y="694"/>
                  <a:pt x="6282" y="710"/>
                  <a:pt x="6282" y="710"/>
                </a:cubicBezTo>
                <a:cubicBezTo>
                  <a:pt x="6268" y="716"/>
                  <a:pt x="6268" y="716"/>
                  <a:pt x="6268" y="716"/>
                </a:cubicBezTo>
                <a:cubicBezTo>
                  <a:pt x="6268" y="716"/>
                  <a:pt x="6256" y="713"/>
                  <a:pt x="6250" y="713"/>
                </a:cubicBezTo>
                <a:cubicBezTo>
                  <a:pt x="6244" y="713"/>
                  <a:pt x="6237" y="723"/>
                  <a:pt x="6237" y="723"/>
                </a:cubicBezTo>
                <a:cubicBezTo>
                  <a:pt x="6237" y="723"/>
                  <a:pt x="6221" y="711"/>
                  <a:pt x="6215" y="713"/>
                </a:cubicBezTo>
                <a:cubicBezTo>
                  <a:pt x="6209" y="715"/>
                  <a:pt x="6214" y="735"/>
                  <a:pt x="6214" y="735"/>
                </a:cubicBezTo>
                <a:cubicBezTo>
                  <a:pt x="6214" y="735"/>
                  <a:pt x="6196" y="710"/>
                  <a:pt x="6189" y="710"/>
                </a:cubicBezTo>
                <a:cubicBezTo>
                  <a:pt x="6182" y="710"/>
                  <a:pt x="6186" y="717"/>
                  <a:pt x="6186" y="717"/>
                </a:cubicBezTo>
                <a:cubicBezTo>
                  <a:pt x="6186" y="717"/>
                  <a:pt x="6171" y="717"/>
                  <a:pt x="6170" y="720"/>
                </a:cubicBezTo>
                <a:cubicBezTo>
                  <a:pt x="6169" y="723"/>
                  <a:pt x="6169" y="732"/>
                  <a:pt x="6169" y="732"/>
                </a:cubicBezTo>
                <a:cubicBezTo>
                  <a:pt x="6159" y="733"/>
                  <a:pt x="6159" y="733"/>
                  <a:pt x="6159" y="733"/>
                </a:cubicBezTo>
                <a:cubicBezTo>
                  <a:pt x="6159" y="733"/>
                  <a:pt x="6143" y="712"/>
                  <a:pt x="6138" y="716"/>
                </a:cubicBezTo>
                <a:cubicBezTo>
                  <a:pt x="6133" y="720"/>
                  <a:pt x="6138" y="743"/>
                  <a:pt x="6133" y="744"/>
                </a:cubicBezTo>
                <a:cubicBezTo>
                  <a:pt x="6128" y="745"/>
                  <a:pt x="6121" y="736"/>
                  <a:pt x="6117" y="736"/>
                </a:cubicBezTo>
                <a:cubicBezTo>
                  <a:pt x="6113" y="736"/>
                  <a:pt x="6100" y="757"/>
                  <a:pt x="6100" y="757"/>
                </a:cubicBezTo>
                <a:cubicBezTo>
                  <a:pt x="6098" y="750"/>
                  <a:pt x="6098" y="750"/>
                  <a:pt x="6098" y="750"/>
                </a:cubicBezTo>
                <a:cubicBezTo>
                  <a:pt x="6090" y="734"/>
                  <a:pt x="6090" y="734"/>
                  <a:pt x="6090" y="734"/>
                </a:cubicBezTo>
                <a:cubicBezTo>
                  <a:pt x="6090" y="734"/>
                  <a:pt x="6106" y="729"/>
                  <a:pt x="6100" y="720"/>
                </a:cubicBezTo>
                <a:cubicBezTo>
                  <a:pt x="6094" y="711"/>
                  <a:pt x="6061" y="697"/>
                  <a:pt x="6056" y="701"/>
                </a:cubicBezTo>
                <a:cubicBezTo>
                  <a:pt x="6051" y="705"/>
                  <a:pt x="6057" y="720"/>
                  <a:pt x="6057" y="720"/>
                </a:cubicBezTo>
                <a:cubicBezTo>
                  <a:pt x="6057" y="720"/>
                  <a:pt x="6037" y="713"/>
                  <a:pt x="6031" y="713"/>
                </a:cubicBezTo>
                <a:cubicBezTo>
                  <a:pt x="6025" y="713"/>
                  <a:pt x="6013" y="725"/>
                  <a:pt x="6013" y="725"/>
                </a:cubicBezTo>
                <a:cubicBezTo>
                  <a:pt x="6023" y="731"/>
                  <a:pt x="6023" y="731"/>
                  <a:pt x="6023" y="731"/>
                </a:cubicBezTo>
                <a:cubicBezTo>
                  <a:pt x="6023" y="731"/>
                  <a:pt x="6011" y="729"/>
                  <a:pt x="6005" y="735"/>
                </a:cubicBezTo>
                <a:cubicBezTo>
                  <a:pt x="5999" y="741"/>
                  <a:pt x="5992" y="741"/>
                  <a:pt x="5992" y="741"/>
                </a:cubicBezTo>
                <a:cubicBezTo>
                  <a:pt x="5992" y="741"/>
                  <a:pt x="6000" y="748"/>
                  <a:pt x="6008" y="748"/>
                </a:cubicBezTo>
                <a:cubicBezTo>
                  <a:pt x="6016" y="748"/>
                  <a:pt x="6043" y="737"/>
                  <a:pt x="6043" y="737"/>
                </a:cubicBezTo>
                <a:cubicBezTo>
                  <a:pt x="6078" y="743"/>
                  <a:pt x="6078" y="743"/>
                  <a:pt x="6078" y="743"/>
                </a:cubicBezTo>
                <a:cubicBezTo>
                  <a:pt x="6052" y="755"/>
                  <a:pt x="6052" y="755"/>
                  <a:pt x="6052" y="755"/>
                </a:cubicBezTo>
                <a:cubicBezTo>
                  <a:pt x="6052" y="755"/>
                  <a:pt x="6072" y="758"/>
                  <a:pt x="6072" y="762"/>
                </a:cubicBezTo>
                <a:cubicBezTo>
                  <a:pt x="6072" y="766"/>
                  <a:pt x="6027" y="766"/>
                  <a:pt x="6023" y="767"/>
                </a:cubicBezTo>
                <a:cubicBezTo>
                  <a:pt x="6019" y="768"/>
                  <a:pt x="5988" y="766"/>
                  <a:pt x="5994" y="773"/>
                </a:cubicBezTo>
                <a:cubicBezTo>
                  <a:pt x="6000" y="780"/>
                  <a:pt x="6013" y="775"/>
                  <a:pt x="6026" y="776"/>
                </a:cubicBezTo>
                <a:cubicBezTo>
                  <a:pt x="6039" y="777"/>
                  <a:pt x="6053" y="789"/>
                  <a:pt x="6053" y="789"/>
                </a:cubicBezTo>
                <a:cubicBezTo>
                  <a:pt x="6076" y="785"/>
                  <a:pt x="6076" y="785"/>
                  <a:pt x="6076" y="785"/>
                </a:cubicBezTo>
                <a:cubicBezTo>
                  <a:pt x="6063" y="795"/>
                  <a:pt x="6063" y="795"/>
                  <a:pt x="6063" y="795"/>
                </a:cubicBezTo>
                <a:cubicBezTo>
                  <a:pt x="6073" y="799"/>
                  <a:pt x="6073" y="799"/>
                  <a:pt x="6073" y="799"/>
                </a:cubicBezTo>
                <a:cubicBezTo>
                  <a:pt x="6073" y="799"/>
                  <a:pt x="6070" y="808"/>
                  <a:pt x="6063" y="812"/>
                </a:cubicBezTo>
                <a:cubicBezTo>
                  <a:pt x="6056" y="816"/>
                  <a:pt x="6023" y="810"/>
                  <a:pt x="6029" y="819"/>
                </a:cubicBezTo>
                <a:cubicBezTo>
                  <a:pt x="6035" y="828"/>
                  <a:pt x="6063" y="824"/>
                  <a:pt x="6070" y="824"/>
                </a:cubicBezTo>
                <a:cubicBezTo>
                  <a:pt x="6077" y="824"/>
                  <a:pt x="6086" y="817"/>
                  <a:pt x="6086" y="817"/>
                </a:cubicBezTo>
                <a:cubicBezTo>
                  <a:pt x="6104" y="828"/>
                  <a:pt x="6104" y="828"/>
                  <a:pt x="6104" y="828"/>
                </a:cubicBezTo>
                <a:cubicBezTo>
                  <a:pt x="6112" y="821"/>
                  <a:pt x="6112" y="821"/>
                  <a:pt x="6112" y="821"/>
                </a:cubicBezTo>
                <a:cubicBezTo>
                  <a:pt x="6112" y="821"/>
                  <a:pt x="6109" y="827"/>
                  <a:pt x="6119" y="832"/>
                </a:cubicBezTo>
                <a:cubicBezTo>
                  <a:pt x="6129" y="837"/>
                  <a:pt x="6152" y="846"/>
                  <a:pt x="6160" y="844"/>
                </a:cubicBezTo>
                <a:cubicBezTo>
                  <a:pt x="6188" y="837"/>
                  <a:pt x="6188" y="843"/>
                  <a:pt x="6195" y="838"/>
                </a:cubicBezTo>
                <a:cubicBezTo>
                  <a:pt x="6202" y="833"/>
                  <a:pt x="6199" y="825"/>
                  <a:pt x="6199" y="825"/>
                </a:cubicBezTo>
                <a:cubicBezTo>
                  <a:pt x="6199" y="825"/>
                  <a:pt x="6218" y="833"/>
                  <a:pt x="6226" y="830"/>
                </a:cubicBezTo>
                <a:cubicBezTo>
                  <a:pt x="6234" y="827"/>
                  <a:pt x="6234" y="820"/>
                  <a:pt x="6234" y="820"/>
                </a:cubicBezTo>
                <a:cubicBezTo>
                  <a:pt x="6234" y="820"/>
                  <a:pt x="6245" y="824"/>
                  <a:pt x="6250" y="824"/>
                </a:cubicBezTo>
                <a:cubicBezTo>
                  <a:pt x="6255" y="824"/>
                  <a:pt x="6293" y="801"/>
                  <a:pt x="6301" y="800"/>
                </a:cubicBezTo>
                <a:cubicBezTo>
                  <a:pt x="6309" y="799"/>
                  <a:pt x="6320" y="806"/>
                  <a:pt x="6327" y="799"/>
                </a:cubicBezTo>
                <a:cubicBezTo>
                  <a:pt x="6334" y="792"/>
                  <a:pt x="6335" y="781"/>
                  <a:pt x="6335" y="781"/>
                </a:cubicBezTo>
                <a:cubicBezTo>
                  <a:pt x="6335" y="781"/>
                  <a:pt x="6342" y="781"/>
                  <a:pt x="6351" y="777"/>
                </a:cubicBezTo>
                <a:cubicBezTo>
                  <a:pt x="6360" y="773"/>
                  <a:pt x="6371" y="763"/>
                  <a:pt x="6371" y="763"/>
                </a:cubicBezTo>
                <a:cubicBezTo>
                  <a:pt x="6361" y="762"/>
                  <a:pt x="6361" y="762"/>
                  <a:pt x="6361" y="762"/>
                </a:cubicBezTo>
                <a:cubicBezTo>
                  <a:pt x="6361" y="762"/>
                  <a:pt x="6384" y="751"/>
                  <a:pt x="6370" y="744"/>
                </a:cubicBezTo>
                <a:close/>
                <a:moveTo>
                  <a:pt x="6577" y="1229"/>
                </a:moveTo>
                <a:cubicBezTo>
                  <a:pt x="6592" y="1229"/>
                  <a:pt x="6599" y="1218"/>
                  <a:pt x="6588" y="1216"/>
                </a:cubicBezTo>
                <a:cubicBezTo>
                  <a:pt x="6577" y="1214"/>
                  <a:pt x="6568" y="1229"/>
                  <a:pt x="6577" y="1229"/>
                </a:cubicBezTo>
                <a:close/>
                <a:moveTo>
                  <a:pt x="6553" y="1123"/>
                </a:moveTo>
                <a:cubicBezTo>
                  <a:pt x="6547" y="1123"/>
                  <a:pt x="6544" y="1123"/>
                  <a:pt x="6542" y="1131"/>
                </a:cubicBezTo>
                <a:cubicBezTo>
                  <a:pt x="6556" y="1131"/>
                  <a:pt x="6556" y="1131"/>
                  <a:pt x="6556" y="1131"/>
                </a:cubicBezTo>
                <a:cubicBezTo>
                  <a:pt x="6556" y="1131"/>
                  <a:pt x="6559" y="1123"/>
                  <a:pt x="6553" y="1123"/>
                </a:cubicBezTo>
                <a:close/>
                <a:moveTo>
                  <a:pt x="6576" y="1346"/>
                </a:moveTo>
                <a:cubicBezTo>
                  <a:pt x="6576" y="1336"/>
                  <a:pt x="6567" y="1329"/>
                  <a:pt x="6567" y="1329"/>
                </a:cubicBezTo>
                <a:cubicBezTo>
                  <a:pt x="6567" y="1329"/>
                  <a:pt x="6567" y="1320"/>
                  <a:pt x="6565" y="1315"/>
                </a:cubicBezTo>
                <a:cubicBezTo>
                  <a:pt x="6565" y="1311"/>
                  <a:pt x="6574" y="1310"/>
                  <a:pt x="6579" y="1308"/>
                </a:cubicBezTo>
                <a:cubicBezTo>
                  <a:pt x="6581" y="1308"/>
                  <a:pt x="6583" y="1307"/>
                  <a:pt x="6584" y="1306"/>
                </a:cubicBezTo>
                <a:cubicBezTo>
                  <a:pt x="6587" y="1303"/>
                  <a:pt x="6589" y="1297"/>
                  <a:pt x="6589" y="1297"/>
                </a:cubicBezTo>
                <a:cubicBezTo>
                  <a:pt x="6589" y="1297"/>
                  <a:pt x="6594" y="1304"/>
                  <a:pt x="6597" y="1298"/>
                </a:cubicBezTo>
                <a:cubicBezTo>
                  <a:pt x="6600" y="1292"/>
                  <a:pt x="6607" y="1282"/>
                  <a:pt x="6600" y="1276"/>
                </a:cubicBezTo>
                <a:cubicBezTo>
                  <a:pt x="6593" y="1270"/>
                  <a:pt x="6593" y="1261"/>
                  <a:pt x="6593" y="1261"/>
                </a:cubicBezTo>
                <a:cubicBezTo>
                  <a:pt x="6588" y="1263"/>
                  <a:pt x="6588" y="1263"/>
                  <a:pt x="6588" y="1263"/>
                </a:cubicBezTo>
                <a:cubicBezTo>
                  <a:pt x="6588" y="1263"/>
                  <a:pt x="6583" y="1251"/>
                  <a:pt x="6576" y="1249"/>
                </a:cubicBezTo>
                <a:cubicBezTo>
                  <a:pt x="6569" y="1247"/>
                  <a:pt x="6551" y="1250"/>
                  <a:pt x="6551" y="1250"/>
                </a:cubicBezTo>
                <a:cubicBezTo>
                  <a:pt x="6551" y="1250"/>
                  <a:pt x="6551" y="1250"/>
                  <a:pt x="6551" y="1249"/>
                </a:cubicBezTo>
                <a:cubicBezTo>
                  <a:pt x="6550" y="1248"/>
                  <a:pt x="6548" y="1246"/>
                  <a:pt x="6543" y="1244"/>
                </a:cubicBezTo>
                <a:cubicBezTo>
                  <a:pt x="6536" y="1242"/>
                  <a:pt x="6528" y="1256"/>
                  <a:pt x="6528" y="1256"/>
                </a:cubicBezTo>
                <a:cubicBezTo>
                  <a:pt x="6524" y="1246"/>
                  <a:pt x="6524" y="1246"/>
                  <a:pt x="6524" y="1246"/>
                </a:cubicBezTo>
                <a:cubicBezTo>
                  <a:pt x="6524" y="1246"/>
                  <a:pt x="6501" y="1246"/>
                  <a:pt x="6497" y="1251"/>
                </a:cubicBezTo>
                <a:cubicBezTo>
                  <a:pt x="6493" y="1257"/>
                  <a:pt x="6489" y="1272"/>
                  <a:pt x="6489" y="1272"/>
                </a:cubicBezTo>
                <a:cubicBezTo>
                  <a:pt x="6489" y="1272"/>
                  <a:pt x="6474" y="1271"/>
                  <a:pt x="6474" y="1277"/>
                </a:cubicBezTo>
                <a:cubicBezTo>
                  <a:pt x="6474" y="1283"/>
                  <a:pt x="6496" y="1279"/>
                  <a:pt x="6492" y="1286"/>
                </a:cubicBezTo>
                <a:cubicBezTo>
                  <a:pt x="6488" y="1293"/>
                  <a:pt x="6484" y="1289"/>
                  <a:pt x="6482" y="1292"/>
                </a:cubicBezTo>
                <a:cubicBezTo>
                  <a:pt x="6480" y="1295"/>
                  <a:pt x="6477" y="1299"/>
                  <a:pt x="6477" y="1299"/>
                </a:cubicBezTo>
                <a:cubicBezTo>
                  <a:pt x="6459" y="1298"/>
                  <a:pt x="6459" y="1298"/>
                  <a:pt x="6459" y="1298"/>
                </a:cubicBezTo>
                <a:cubicBezTo>
                  <a:pt x="6459" y="1303"/>
                  <a:pt x="6459" y="1303"/>
                  <a:pt x="6459" y="1303"/>
                </a:cubicBezTo>
                <a:cubicBezTo>
                  <a:pt x="6459" y="1303"/>
                  <a:pt x="6446" y="1289"/>
                  <a:pt x="6438" y="1293"/>
                </a:cubicBezTo>
                <a:cubicBezTo>
                  <a:pt x="6430" y="1297"/>
                  <a:pt x="6420" y="1296"/>
                  <a:pt x="6420" y="1296"/>
                </a:cubicBezTo>
                <a:cubicBezTo>
                  <a:pt x="6420" y="1296"/>
                  <a:pt x="6418" y="1313"/>
                  <a:pt x="6423" y="1313"/>
                </a:cubicBezTo>
                <a:cubicBezTo>
                  <a:pt x="6428" y="1313"/>
                  <a:pt x="6432" y="1321"/>
                  <a:pt x="6432" y="1321"/>
                </a:cubicBezTo>
                <a:cubicBezTo>
                  <a:pt x="6421" y="1328"/>
                  <a:pt x="6421" y="1328"/>
                  <a:pt x="6421" y="1328"/>
                </a:cubicBezTo>
                <a:cubicBezTo>
                  <a:pt x="6421" y="1328"/>
                  <a:pt x="6410" y="1332"/>
                  <a:pt x="6415" y="1340"/>
                </a:cubicBezTo>
                <a:cubicBezTo>
                  <a:pt x="6420" y="1348"/>
                  <a:pt x="6438" y="1349"/>
                  <a:pt x="6438" y="1349"/>
                </a:cubicBezTo>
                <a:cubicBezTo>
                  <a:pt x="6438" y="1349"/>
                  <a:pt x="6457" y="1341"/>
                  <a:pt x="6456" y="1349"/>
                </a:cubicBezTo>
                <a:cubicBezTo>
                  <a:pt x="6455" y="1357"/>
                  <a:pt x="6440" y="1358"/>
                  <a:pt x="6440" y="1358"/>
                </a:cubicBezTo>
                <a:cubicBezTo>
                  <a:pt x="6440" y="1372"/>
                  <a:pt x="6440" y="1372"/>
                  <a:pt x="6440" y="1372"/>
                </a:cubicBezTo>
                <a:cubicBezTo>
                  <a:pt x="6440" y="1372"/>
                  <a:pt x="6427" y="1367"/>
                  <a:pt x="6425" y="1376"/>
                </a:cubicBezTo>
                <a:cubicBezTo>
                  <a:pt x="6423" y="1385"/>
                  <a:pt x="6420" y="1398"/>
                  <a:pt x="6420" y="1398"/>
                </a:cubicBezTo>
                <a:cubicBezTo>
                  <a:pt x="6420" y="1398"/>
                  <a:pt x="6395" y="1398"/>
                  <a:pt x="6394" y="1403"/>
                </a:cubicBezTo>
                <a:cubicBezTo>
                  <a:pt x="6393" y="1408"/>
                  <a:pt x="6405" y="1409"/>
                  <a:pt x="6405" y="1409"/>
                </a:cubicBezTo>
                <a:cubicBezTo>
                  <a:pt x="6405" y="1409"/>
                  <a:pt x="6390" y="1411"/>
                  <a:pt x="6390" y="1418"/>
                </a:cubicBezTo>
                <a:cubicBezTo>
                  <a:pt x="6390" y="1426"/>
                  <a:pt x="6397" y="1425"/>
                  <a:pt x="6397" y="1425"/>
                </a:cubicBezTo>
                <a:cubicBezTo>
                  <a:pt x="6420" y="1422"/>
                  <a:pt x="6420" y="1422"/>
                  <a:pt x="6420" y="1422"/>
                </a:cubicBezTo>
                <a:cubicBezTo>
                  <a:pt x="6409" y="1434"/>
                  <a:pt x="6409" y="1434"/>
                  <a:pt x="6409" y="1434"/>
                </a:cubicBezTo>
                <a:cubicBezTo>
                  <a:pt x="6409" y="1434"/>
                  <a:pt x="6426" y="1429"/>
                  <a:pt x="6425" y="1432"/>
                </a:cubicBezTo>
                <a:cubicBezTo>
                  <a:pt x="6424" y="1435"/>
                  <a:pt x="6404" y="1444"/>
                  <a:pt x="6419" y="1444"/>
                </a:cubicBezTo>
                <a:cubicBezTo>
                  <a:pt x="6434" y="1444"/>
                  <a:pt x="6455" y="1438"/>
                  <a:pt x="6464" y="1433"/>
                </a:cubicBezTo>
                <a:cubicBezTo>
                  <a:pt x="6473" y="1428"/>
                  <a:pt x="6473" y="1420"/>
                  <a:pt x="6473" y="1420"/>
                </a:cubicBezTo>
                <a:cubicBezTo>
                  <a:pt x="6473" y="1420"/>
                  <a:pt x="6483" y="1426"/>
                  <a:pt x="6492" y="1420"/>
                </a:cubicBezTo>
                <a:cubicBezTo>
                  <a:pt x="6501" y="1415"/>
                  <a:pt x="6502" y="1409"/>
                  <a:pt x="6514" y="1408"/>
                </a:cubicBezTo>
                <a:cubicBezTo>
                  <a:pt x="6525" y="1407"/>
                  <a:pt x="6530" y="1407"/>
                  <a:pt x="6530" y="1407"/>
                </a:cubicBezTo>
                <a:cubicBezTo>
                  <a:pt x="6533" y="1401"/>
                  <a:pt x="6533" y="1401"/>
                  <a:pt x="6533" y="1401"/>
                </a:cubicBezTo>
                <a:cubicBezTo>
                  <a:pt x="6558" y="1402"/>
                  <a:pt x="6558" y="1402"/>
                  <a:pt x="6558" y="1402"/>
                </a:cubicBezTo>
                <a:cubicBezTo>
                  <a:pt x="6557" y="1390"/>
                  <a:pt x="6557" y="1390"/>
                  <a:pt x="6557" y="1390"/>
                </a:cubicBezTo>
                <a:cubicBezTo>
                  <a:pt x="6557" y="1390"/>
                  <a:pt x="6569" y="1392"/>
                  <a:pt x="6569" y="1388"/>
                </a:cubicBezTo>
                <a:cubicBezTo>
                  <a:pt x="6569" y="1384"/>
                  <a:pt x="6564" y="1380"/>
                  <a:pt x="6568" y="1375"/>
                </a:cubicBezTo>
                <a:cubicBezTo>
                  <a:pt x="6571" y="1370"/>
                  <a:pt x="6576" y="1356"/>
                  <a:pt x="6576" y="1346"/>
                </a:cubicBezTo>
                <a:close/>
                <a:moveTo>
                  <a:pt x="6590" y="1178"/>
                </a:moveTo>
                <a:cubicBezTo>
                  <a:pt x="6586" y="1178"/>
                  <a:pt x="6580" y="1190"/>
                  <a:pt x="6584" y="1193"/>
                </a:cubicBezTo>
                <a:cubicBezTo>
                  <a:pt x="6588" y="1196"/>
                  <a:pt x="6601" y="1189"/>
                  <a:pt x="6601" y="1189"/>
                </a:cubicBezTo>
                <a:cubicBezTo>
                  <a:pt x="6601" y="1189"/>
                  <a:pt x="6594" y="1178"/>
                  <a:pt x="6590" y="1178"/>
                </a:cubicBezTo>
                <a:close/>
                <a:moveTo>
                  <a:pt x="7967" y="2161"/>
                </a:moveTo>
                <a:cubicBezTo>
                  <a:pt x="7957" y="2153"/>
                  <a:pt x="7959" y="2171"/>
                  <a:pt x="7959" y="2171"/>
                </a:cubicBezTo>
                <a:cubicBezTo>
                  <a:pt x="7973" y="2178"/>
                  <a:pt x="7977" y="2169"/>
                  <a:pt x="7967" y="2161"/>
                </a:cubicBezTo>
                <a:close/>
                <a:moveTo>
                  <a:pt x="7937" y="2078"/>
                </a:moveTo>
                <a:cubicBezTo>
                  <a:pt x="7918" y="2083"/>
                  <a:pt x="7918" y="2083"/>
                  <a:pt x="7918" y="2083"/>
                </a:cubicBezTo>
                <a:cubicBezTo>
                  <a:pt x="7919" y="2099"/>
                  <a:pt x="7932" y="2092"/>
                  <a:pt x="7932" y="2092"/>
                </a:cubicBezTo>
                <a:cubicBezTo>
                  <a:pt x="7932" y="2092"/>
                  <a:pt x="7937" y="2103"/>
                  <a:pt x="7946" y="2099"/>
                </a:cubicBezTo>
                <a:cubicBezTo>
                  <a:pt x="7955" y="2095"/>
                  <a:pt x="7937" y="2078"/>
                  <a:pt x="7937" y="2078"/>
                </a:cubicBezTo>
                <a:close/>
                <a:moveTo>
                  <a:pt x="7491" y="141"/>
                </a:moveTo>
                <a:cubicBezTo>
                  <a:pt x="7519" y="141"/>
                  <a:pt x="7519" y="141"/>
                  <a:pt x="7519" y="141"/>
                </a:cubicBezTo>
                <a:cubicBezTo>
                  <a:pt x="7519" y="141"/>
                  <a:pt x="7550" y="152"/>
                  <a:pt x="7554" y="150"/>
                </a:cubicBezTo>
                <a:cubicBezTo>
                  <a:pt x="7558" y="149"/>
                  <a:pt x="7580" y="145"/>
                  <a:pt x="7585" y="145"/>
                </a:cubicBezTo>
                <a:cubicBezTo>
                  <a:pt x="7591" y="145"/>
                  <a:pt x="7637" y="163"/>
                  <a:pt x="7637" y="163"/>
                </a:cubicBezTo>
                <a:cubicBezTo>
                  <a:pt x="7651" y="148"/>
                  <a:pt x="7651" y="148"/>
                  <a:pt x="7651" y="148"/>
                </a:cubicBezTo>
                <a:cubicBezTo>
                  <a:pt x="7691" y="149"/>
                  <a:pt x="7691" y="149"/>
                  <a:pt x="7691" y="149"/>
                </a:cubicBezTo>
                <a:cubicBezTo>
                  <a:pt x="7694" y="136"/>
                  <a:pt x="7694" y="136"/>
                  <a:pt x="7694" y="136"/>
                </a:cubicBezTo>
                <a:cubicBezTo>
                  <a:pt x="7694" y="136"/>
                  <a:pt x="7715" y="143"/>
                  <a:pt x="7726" y="122"/>
                </a:cubicBezTo>
                <a:cubicBezTo>
                  <a:pt x="7737" y="101"/>
                  <a:pt x="7691" y="118"/>
                  <a:pt x="7691" y="118"/>
                </a:cubicBezTo>
                <a:cubicBezTo>
                  <a:pt x="7691" y="118"/>
                  <a:pt x="7688" y="108"/>
                  <a:pt x="7664" y="108"/>
                </a:cubicBezTo>
                <a:cubicBezTo>
                  <a:pt x="7640" y="108"/>
                  <a:pt x="7623" y="120"/>
                  <a:pt x="7616" y="118"/>
                </a:cubicBezTo>
                <a:cubicBezTo>
                  <a:pt x="7609" y="117"/>
                  <a:pt x="7615" y="105"/>
                  <a:pt x="7596" y="105"/>
                </a:cubicBezTo>
                <a:cubicBezTo>
                  <a:pt x="7578" y="105"/>
                  <a:pt x="7573" y="121"/>
                  <a:pt x="7573" y="121"/>
                </a:cubicBezTo>
                <a:cubicBezTo>
                  <a:pt x="7529" y="105"/>
                  <a:pt x="7529" y="105"/>
                  <a:pt x="7529" y="105"/>
                </a:cubicBezTo>
                <a:cubicBezTo>
                  <a:pt x="7529" y="105"/>
                  <a:pt x="7508" y="112"/>
                  <a:pt x="7485" y="117"/>
                </a:cubicBezTo>
                <a:cubicBezTo>
                  <a:pt x="7463" y="121"/>
                  <a:pt x="7478" y="105"/>
                  <a:pt x="7478" y="105"/>
                </a:cubicBezTo>
                <a:cubicBezTo>
                  <a:pt x="7457" y="115"/>
                  <a:pt x="7457" y="115"/>
                  <a:pt x="7457" y="115"/>
                </a:cubicBezTo>
                <a:cubicBezTo>
                  <a:pt x="7467" y="129"/>
                  <a:pt x="7467" y="129"/>
                  <a:pt x="7467" y="129"/>
                </a:cubicBezTo>
                <a:lnTo>
                  <a:pt x="7491" y="141"/>
                </a:lnTo>
                <a:close/>
                <a:moveTo>
                  <a:pt x="7945" y="2230"/>
                </a:moveTo>
                <a:cubicBezTo>
                  <a:pt x="7952" y="2235"/>
                  <a:pt x="7962" y="2227"/>
                  <a:pt x="7953" y="2223"/>
                </a:cubicBezTo>
                <a:cubicBezTo>
                  <a:pt x="7944" y="2219"/>
                  <a:pt x="7940" y="2227"/>
                  <a:pt x="7945" y="2230"/>
                </a:cubicBezTo>
                <a:close/>
                <a:moveTo>
                  <a:pt x="7943" y="2171"/>
                </a:moveTo>
                <a:cubicBezTo>
                  <a:pt x="7939" y="2167"/>
                  <a:pt x="7927" y="2170"/>
                  <a:pt x="7927" y="2178"/>
                </a:cubicBezTo>
                <a:cubicBezTo>
                  <a:pt x="7927" y="2183"/>
                  <a:pt x="7947" y="2175"/>
                  <a:pt x="7943" y="2171"/>
                </a:cubicBezTo>
                <a:close/>
                <a:moveTo>
                  <a:pt x="7898" y="2198"/>
                </a:moveTo>
                <a:cubicBezTo>
                  <a:pt x="7900" y="2210"/>
                  <a:pt x="7910" y="2213"/>
                  <a:pt x="7915" y="2205"/>
                </a:cubicBezTo>
                <a:cubicBezTo>
                  <a:pt x="7921" y="2195"/>
                  <a:pt x="7896" y="2186"/>
                  <a:pt x="7898" y="2198"/>
                </a:cubicBezTo>
                <a:close/>
                <a:moveTo>
                  <a:pt x="7885" y="2175"/>
                </a:moveTo>
                <a:cubicBezTo>
                  <a:pt x="7891" y="2164"/>
                  <a:pt x="7891" y="2164"/>
                  <a:pt x="7891" y="2164"/>
                </a:cubicBezTo>
                <a:cubicBezTo>
                  <a:pt x="7869" y="2147"/>
                  <a:pt x="7869" y="2147"/>
                  <a:pt x="7869" y="2147"/>
                </a:cubicBezTo>
                <a:lnTo>
                  <a:pt x="7885" y="2175"/>
                </a:lnTo>
                <a:close/>
                <a:moveTo>
                  <a:pt x="8551" y="596"/>
                </a:moveTo>
                <a:cubicBezTo>
                  <a:pt x="8573" y="601"/>
                  <a:pt x="8581" y="594"/>
                  <a:pt x="8588" y="590"/>
                </a:cubicBezTo>
                <a:cubicBezTo>
                  <a:pt x="8595" y="586"/>
                  <a:pt x="8601" y="578"/>
                  <a:pt x="8601" y="578"/>
                </a:cubicBezTo>
                <a:cubicBezTo>
                  <a:pt x="8610" y="577"/>
                  <a:pt x="8610" y="577"/>
                  <a:pt x="8610" y="577"/>
                </a:cubicBezTo>
                <a:cubicBezTo>
                  <a:pt x="8610" y="577"/>
                  <a:pt x="8602" y="566"/>
                  <a:pt x="8576" y="560"/>
                </a:cubicBezTo>
                <a:cubicBezTo>
                  <a:pt x="8550" y="554"/>
                  <a:pt x="8535" y="577"/>
                  <a:pt x="8535" y="577"/>
                </a:cubicBezTo>
                <a:cubicBezTo>
                  <a:pt x="8535" y="580"/>
                  <a:pt x="8529" y="592"/>
                  <a:pt x="8551" y="596"/>
                </a:cubicBezTo>
                <a:close/>
                <a:moveTo>
                  <a:pt x="7829" y="2293"/>
                </a:moveTo>
                <a:cubicBezTo>
                  <a:pt x="7838" y="2303"/>
                  <a:pt x="7843" y="2296"/>
                  <a:pt x="7843" y="2296"/>
                </a:cubicBezTo>
                <a:cubicBezTo>
                  <a:pt x="7849" y="2302"/>
                  <a:pt x="7849" y="2302"/>
                  <a:pt x="7849" y="2302"/>
                </a:cubicBezTo>
                <a:cubicBezTo>
                  <a:pt x="7873" y="2303"/>
                  <a:pt x="7873" y="2303"/>
                  <a:pt x="7873" y="2303"/>
                </a:cubicBezTo>
                <a:cubicBezTo>
                  <a:pt x="7881" y="2318"/>
                  <a:pt x="7881" y="2318"/>
                  <a:pt x="7881" y="2318"/>
                </a:cubicBezTo>
                <a:cubicBezTo>
                  <a:pt x="7906" y="2317"/>
                  <a:pt x="7906" y="2317"/>
                  <a:pt x="7906" y="2317"/>
                </a:cubicBezTo>
                <a:cubicBezTo>
                  <a:pt x="7909" y="2313"/>
                  <a:pt x="7909" y="2313"/>
                  <a:pt x="7909" y="2313"/>
                </a:cubicBezTo>
                <a:cubicBezTo>
                  <a:pt x="7909" y="2313"/>
                  <a:pt x="7947" y="2318"/>
                  <a:pt x="7949" y="2304"/>
                </a:cubicBezTo>
                <a:cubicBezTo>
                  <a:pt x="7951" y="2290"/>
                  <a:pt x="7931" y="2301"/>
                  <a:pt x="7927" y="2303"/>
                </a:cubicBezTo>
                <a:cubicBezTo>
                  <a:pt x="7923" y="2305"/>
                  <a:pt x="7920" y="2293"/>
                  <a:pt x="7920" y="2293"/>
                </a:cubicBezTo>
                <a:cubicBezTo>
                  <a:pt x="7898" y="2292"/>
                  <a:pt x="7898" y="2292"/>
                  <a:pt x="7898" y="2292"/>
                </a:cubicBezTo>
                <a:cubicBezTo>
                  <a:pt x="7877" y="2287"/>
                  <a:pt x="7877" y="2287"/>
                  <a:pt x="7877" y="2287"/>
                </a:cubicBezTo>
                <a:cubicBezTo>
                  <a:pt x="7856" y="2287"/>
                  <a:pt x="7856" y="2287"/>
                  <a:pt x="7856" y="2287"/>
                </a:cubicBezTo>
                <a:cubicBezTo>
                  <a:pt x="7836" y="2276"/>
                  <a:pt x="7836" y="2276"/>
                  <a:pt x="7836" y="2276"/>
                </a:cubicBezTo>
                <a:cubicBezTo>
                  <a:pt x="7836" y="2276"/>
                  <a:pt x="7820" y="2283"/>
                  <a:pt x="7829" y="2293"/>
                </a:cubicBezTo>
                <a:close/>
                <a:moveTo>
                  <a:pt x="7851" y="2036"/>
                </a:moveTo>
                <a:cubicBezTo>
                  <a:pt x="7858" y="2029"/>
                  <a:pt x="7858" y="2029"/>
                  <a:pt x="7858" y="2029"/>
                </a:cubicBezTo>
                <a:cubicBezTo>
                  <a:pt x="7833" y="2024"/>
                  <a:pt x="7833" y="2024"/>
                  <a:pt x="7833" y="2024"/>
                </a:cubicBezTo>
                <a:lnTo>
                  <a:pt x="7851" y="2036"/>
                </a:lnTo>
                <a:close/>
                <a:moveTo>
                  <a:pt x="7934" y="2119"/>
                </a:moveTo>
                <a:cubicBezTo>
                  <a:pt x="7921" y="2119"/>
                  <a:pt x="7921" y="2119"/>
                  <a:pt x="7921" y="2119"/>
                </a:cubicBezTo>
                <a:cubicBezTo>
                  <a:pt x="7920" y="2131"/>
                  <a:pt x="7920" y="2131"/>
                  <a:pt x="7920" y="2131"/>
                </a:cubicBezTo>
                <a:cubicBezTo>
                  <a:pt x="7929" y="2147"/>
                  <a:pt x="7929" y="2147"/>
                  <a:pt x="7929" y="2147"/>
                </a:cubicBezTo>
                <a:lnTo>
                  <a:pt x="7934" y="2119"/>
                </a:lnTo>
                <a:close/>
                <a:moveTo>
                  <a:pt x="7966" y="2200"/>
                </a:moveTo>
                <a:cubicBezTo>
                  <a:pt x="7975" y="2187"/>
                  <a:pt x="7975" y="2187"/>
                  <a:pt x="7975" y="2187"/>
                </a:cubicBezTo>
                <a:cubicBezTo>
                  <a:pt x="7963" y="2187"/>
                  <a:pt x="7963" y="2187"/>
                  <a:pt x="7963" y="2187"/>
                </a:cubicBezTo>
                <a:lnTo>
                  <a:pt x="7966" y="2200"/>
                </a:lnTo>
                <a:close/>
                <a:moveTo>
                  <a:pt x="7880" y="2228"/>
                </a:moveTo>
                <a:cubicBezTo>
                  <a:pt x="7879" y="2231"/>
                  <a:pt x="7888" y="2233"/>
                  <a:pt x="7887" y="2226"/>
                </a:cubicBezTo>
                <a:cubicBezTo>
                  <a:pt x="7886" y="2219"/>
                  <a:pt x="7881" y="2222"/>
                  <a:pt x="7880" y="2228"/>
                </a:cubicBezTo>
                <a:close/>
                <a:moveTo>
                  <a:pt x="7252" y="150"/>
                </a:moveTo>
                <a:cubicBezTo>
                  <a:pt x="7259" y="155"/>
                  <a:pt x="7274" y="152"/>
                  <a:pt x="7277" y="156"/>
                </a:cubicBezTo>
                <a:cubicBezTo>
                  <a:pt x="7280" y="160"/>
                  <a:pt x="7261" y="170"/>
                  <a:pt x="7261" y="170"/>
                </a:cubicBezTo>
                <a:cubicBezTo>
                  <a:pt x="7290" y="181"/>
                  <a:pt x="7290" y="181"/>
                  <a:pt x="7290" y="181"/>
                </a:cubicBezTo>
                <a:cubicBezTo>
                  <a:pt x="7290" y="181"/>
                  <a:pt x="7305" y="191"/>
                  <a:pt x="7319" y="194"/>
                </a:cubicBezTo>
                <a:cubicBezTo>
                  <a:pt x="7333" y="197"/>
                  <a:pt x="7343" y="177"/>
                  <a:pt x="7343" y="177"/>
                </a:cubicBezTo>
                <a:cubicBezTo>
                  <a:pt x="7371" y="172"/>
                  <a:pt x="7371" y="172"/>
                  <a:pt x="7371" y="172"/>
                </a:cubicBezTo>
                <a:cubicBezTo>
                  <a:pt x="7394" y="186"/>
                  <a:pt x="7394" y="186"/>
                  <a:pt x="7394" y="186"/>
                </a:cubicBezTo>
                <a:cubicBezTo>
                  <a:pt x="7394" y="186"/>
                  <a:pt x="7375" y="191"/>
                  <a:pt x="7357" y="195"/>
                </a:cubicBezTo>
                <a:cubicBezTo>
                  <a:pt x="7339" y="200"/>
                  <a:pt x="7340" y="207"/>
                  <a:pt x="7340" y="207"/>
                </a:cubicBezTo>
                <a:cubicBezTo>
                  <a:pt x="7340" y="207"/>
                  <a:pt x="7390" y="211"/>
                  <a:pt x="7383" y="212"/>
                </a:cubicBezTo>
                <a:cubicBezTo>
                  <a:pt x="7375" y="214"/>
                  <a:pt x="7345" y="226"/>
                  <a:pt x="7345" y="226"/>
                </a:cubicBezTo>
                <a:cubicBezTo>
                  <a:pt x="7378" y="238"/>
                  <a:pt x="7378" y="238"/>
                  <a:pt x="7378" y="238"/>
                </a:cubicBezTo>
                <a:cubicBezTo>
                  <a:pt x="7378" y="238"/>
                  <a:pt x="7408" y="253"/>
                  <a:pt x="7433" y="249"/>
                </a:cubicBezTo>
                <a:cubicBezTo>
                  <a:pt x="7459" y="245"/>
                  <a:pt x="7440" y="229"/>
                  <a:pt x="7440" y="222"/>
                </a:cubicBezTo>
                <a:cubicBezTo>
                  <a:pt x="7440" y="215"/>
                  <a:pt x="7470" y="215"/>
                  <a:pt x="7470" y="215"/>
                </a:cubicBezTo>
                <a:cubicBezTo>
                  <a:pt x="7470" y="201"/>
                  <a:pt x="7470" y="201"/>
                  <a:pt x="7470" y="201"/>
                </a:cubicBezTo>
                <a:cubicBezTo>
                  <a:pt x="7489" y="197"/>
                  <a:pt x="7489" y="197"/>
                  <a:pt x="7489" y="197"/>
                </a:cubicBezTo>
                <a:cubicBezTo>
                  <a:pt x="7498" y="176"/>
                  <a:pt x="7498" y="176"/>
                  <a:pt x="7498" y="176"/>
                </a:cubicBezTo>
                <a:cubicBezTo>
                  <a:pt x="7511" y="183"/>
                  <a:pt x="7511" y="183"/>
                  <a:pt x="7511" y="183"/>
                </a:cubicBezTo>
                <a:cubicBezTo>
                  <a:pt x="7527" y="174"/>
                  <a:pt x="7527" y="174"/>
                  <a:pt x="7527" y="174"/>
                </a:cubicBezTo>
                <a:cubicBezTo>
                  <a:pt x="7527" y="174"/>
                  <a:pt x="7536" y="188"/>
                  <a:pt x="7556" y="193"/>
                </a:cubicBezTo>
                <a:cubicBezTo>
                  <a:pt x="7575" y="197"/>
                  <a:pt x="7553" y="224"/>
                  <a:pt x="7553" y="224"/>
                </a:cubicBezTo>
                <a:cubicBezTo>
                  <a:pt x="7589" y="222"/>
                  <a:pt x="7589" y="222"/>
                  <a:pt x="7589" y="222"/>
                </a:cubicBezTo>
                <a:cubicBezTo>
                  <a:pt x="7589" y="222"/>
                  <a:pt x="7608" y="238"/>
                  <a:pt x="7609" y="233"/>
                </a:cubicBezTo>
                <a:cubicBezTo>
                  <a:pt x="7610" y="229"/>
                  <a:pt x="7661" y="215"/>
                  <a:pt x="7665" y="207"/>
                </a:cubicBezTo>
                <a:cubicBezTo>
                  <a:pt x="7670" y="198"/>
                  <a:pt x="7627" y="200"/>
                  <a:pt x="7627" y="200"/>
                </a:cubicBezTo>
                <a:cubicBezTo>
                  <a:pt x="7625" y="188"/>
                  <a:pt x="7625" y="188"/>
                  <a:pt x="7625" y="188"/>
                </a:cubicBezTo>
                <a:cubicBezTo>
                  <a:pt x="7589" y="183"/>
                  <a:pt x="7589" y="183"/>
                  <a:pt x="7589" y="183"/>
                </a:cubicBezTo>
                <a:cubicBezTo>
                  <a:pt x="7588" y="172"/>
                  <a:pt x="7588" y="172"/>
                  <a:pt x="7588" y="172"/>
                </a:cubicBezTo>
                <a:cubicBezTo>
                  <a:pt x="7567" y="174"/>
                  <a:pt x="7567" y="174"/>
                  <a:pt x="7567" y="174"/>
                </a:cubicBezTo>
                <a:cubicBezTo>
                  <a:pt x="7570" y="162"/>
                  <a:pt x="7570" y="162"/>
                  <a:pt x="7570" y="162"/>
                </a:cubicBezTo>
                <a:cubicBezTo>
                  <a:pt x="7519" y="163"/>
                  <a:pt x="7519" y="163"/>
                  <a:pt x="7519" y="163"/>
                </a:cubicBezTo>
                <a:cubicBezTo>
                  <a:pt x="7515" y="155"/>
                  <a:pt x="7515" y="155"/>
                  <a:pt x="7515" y="155"/>
                </a:cubicBezTo>
                <a:cubicBezTo>
                  <a:pt x="7491" y="155"/>
                  <a:pt x="7491" y="155"/>
                  <a:pt x="7491" y="155"/>
                </a:cubicBezTo>
                <a:cubicBezTo>
                  <a:pt x="7491" y="155"/>
                  <a:pt x="7488" y="142"/>
                  <a:pt x="7473" y="138"/>
                </a:cubicBezTo>
                <a:cubicBezTo>
                  <a:pt x="7457" y="134"/>
                  <a:pt x="7450" y="139"/>
                  <a:pt x="7450" y="139"/>
                </a:cubicBezTo>
                <a:cubicBezTo>
                  <a:pt x="7453" y="127"/>
                  <a:pt x="7453" y="127"/>
                  <a:pt x="7453" y="127"/>
                </a:cubicBezTo>
                <a:cubicBezTo>
                  <a:pt x="7453" y="127"/>
                  <a:pt x="7432" y="121"/>
                  <a:pt x="7404" y="122"/>
                </a:cubicBezTo>
                <a:cubicBezTo>
                  <a:pt x="7375" y="124"/>
                  <a:pt x="7412" y="156"/>
                  <a:pt x="7412" y="156"/>
                </a:cubicBezTo>
                <a:cubicBezTo>
                  <a:pt x="7412" y="156"/>
                  <a:pt x="7381" y="131"/>
                  <a:pt x="7366" y="128"/>
                </a:cubicBezTo>
                <a:cubicBezTo>
                  <a:pt x="7350" y="125"/>
                  <a:pt x="7345" y="145"/>
                  <a:pt x="7345" y="145"/>
                </a:cubicBezTo>
                <a:cubicBezTo>
                  <a:pt x="7345" y="145"/>
                  <a:pt x="7322" y="141"/>
                  <a:pt x="7316" y="138"/>
                </a:cubicBezTo>
                <a:cubicBezTo>
                  <a:pt x="7311" y="135"/>
                  <a:pt x="7329" y="125"/>
                  <a:pt x="7329" y="125"/>
                </a:cubicBezTo>
                <a:cubicBezTo>
                  <a:pt x="7292" y="128"/>
                  <a:pt x="7292" y="128"/>
                  <a:pt x="7292" y="128"/>
                </a:cubicBezTo>
                <a:cubicBezTo>
                  <a:pt x="7283" y="136"/>
                  <a:pt x="7283" y="136"/>
                  <a:pt x="7283" y="136"/>
                </a:cubicBezTo>
                <a:cubicBezTo>
                  <a:pt x="7278" y="125"/>
                  <a:pt x="7278" y="125"/>
                  <a:pt x="7278" y="125"/>
                </a:cubicBezTo>
                <a:cubicBezTo>
                  <a:pt x="7278" y="125"/>
                  <a:pt x="7254" y="132"/>
                  <a:pt x="7246" y="139"/>
                </a:cubicBezTo>
                <a:cubicBezTo>
                  <a:pt x="7246" y="139"/>
                  <a:pt x="7245" y="146"/>
                  <a:pt x="7252" y="150"/>
                </a:cubicBezTo>
                <a:close/>
                <a:moveTo>
                  <a:pt x="7923" y="2212"/>
                </a:moveTo>
                <a:cubicBezTo>
                  <a:pt x="7923" y="2221"/>
                  <a:pt x="7923" y="2221"/>
                  <a:pt x="7923" y="2221"/>
                </a:cubicBezTo>
                <a:cubicBezTo>
                  <a:pt x="7932" y="2211"/>
                  <a:pt x="7932" y="2211"/>
                  <a:pt x="7932" y="2211"/>
                </a:cubicBezTo>
                <a:lnTo>
                  <a:pt x="7923" y="2212"/>
                </a:lnTo>
                <a:close/>
                <a:moveTo>
                  <a:pt x="6620" y="1148"/>
                </a:moveTo>
                <a:cubicBezTo>
                  <a:pt x="6620" y="1148"/>
                  <a:pt x="6614" y="1153"/>
                  <a:pt x="6611" y="1156"/>
                </a:cubicBezTo>
                <a:cubicBezTo>
                  <a:pt x="6608" y="1159"/>
                  <a:pt x="6606" y="1166"/>
                  <a:pt x="6606" y="1166"/>
                </a:cubicBezTo>
                <a:cubicBezTo>
                  <a:pt x="6595" y="1171"/>
                  <a:pt x="6595" y="1171"/>
                  <a:pt x="6595" y="1171"/>
                </a:cubicBezTo>
                <a:cubicBezTo>
                  <a:pt x="6595" y="1171"/>
                  <a:pt x="6601" y="1180"/>
                  <a:pt x="6609" y="1179"/>
                </a:cubicBezTo>
                <a:cubicBezTo>
                  <a:pt x="6617" y="1178"/>
                  <a:pt x="6624" y="1170"/>
                  <a:pt x="6624" y="1170"/>
                </a:cubicBezTo>
                <a:cubicBezTo>
                  <a:pt x="6623" y="1182"/>
                  <a:pt x="6623" y="1182"/>
                  <a:pt x="6623" y="1182"/>
                </a:cubicBezTo>
                <a:cubicBezTo>
                  <a:pt x="6623" y="1182"/>
                  <a:pt x="6610" y="1188"/>
                  <a:pt x="6605" y="1196"/>
                </a:cubicBezTo>
                <a:cubicBezTo>
                  <a:pt x="6600" y="1205"/>
                  <a:pt x="6606" y="1218"/>
                  <a:pt x="6606" y="1218"/>
                </a:cubicBezTo>
                <a:cubicBezTo>
                  <a:pt x="6606" y="1218"/>
                  <a:pt x="6617" y="1210"/>
                  <a:pt x="6624" y="1215"/>
                </a:cubicBezTo>
                <a:cubicBezTo>
                  <a:pt x="6630" y="1220"/>
                  <a:pt x="6643" y="1209"/>
                  <a:pt x="6643" y="1209"/>
                </a:cubicBezTo>
                <a:cubicBezTo>
                  <a:pt x="6634" y="1219"/>
                  <a:pt x="6634" y="1219"/>
                  <a:pt x="6634" y="1219"/>
                </a:cubicBezTo>
                <a:cubicBezTo>
                  <a:pt x="6639" y="1237"/>
                  <a:pt x="6639" y="1237"/>
                  <a:pt x="6639" y="1237"/>
                </a:cubicBezTo>
                <a:cubicBezTo>
                  <a:pt x="6639" y="1237"/>
                  <a:pt x="6628" y="1250"/>
                  <a:pt x="6620" y="1264"/>
                </a:cubicBezTo>
                <a:cubicBezTo>
                  <a:pt x="6613" y="1277"/>
                  <a:pt x="6636" y="1274"/>
                  <a:pt x="6636" y="1274"/>
                </a:cubicBezTo>
                <a:cubicBezTo>
                  <a:pt x="6636" y="1274"/>
                  <a:pt x="6649" y="1268"/>
                  <a:pt x="6656" y="1271"/>
                </a:cubicBezTo>
                <a:cubicBezTo>
                  <a:pt x="6663" y="1274"/>
                  <a:pt x="6679" y="1261"/>
                  <a:pt x="6679" y="1261"/>
                </a:cubicBezTo>
                <a:cubicBezTo>
                  <a:pt x="6701" y="1263"/>
                  <a:pt x="6701" y="1263"/>
                  <a:pt x="6701" y="1263"/>
                </a:cubicBezTo>
                <a:cubicBezTo>
                  <a:pt x="6701" y="1263"/>
                  <a:pt x="6678" y="1276"/>
                  <a:pt x="6676" y="1286"/>
                </a:cubicBezTo>
                <a:cubicBezTo>
                  <a:pt x="6675" y="1296"/>
                  <a:pt x="6705" y="1303"/>
                  <a:pt x="6705" y="1303"/>
                </a:cubicBezTo>
                <a:cubicBezTo>
                  <a:pt x="6706" y="1317"/>
                  <a:pt x="6706" y="1317"/>
                  <a:pt x="6706" y="1317"/>
                </a:cubicBezTo>
                <a:cubicBezTo>
                  <a:pt x="6698" y="1329"/>
                  <a:pt x="6698" y="1329"/>
                  <a:pt x="6698" y="1329"/>
                </a:cubicBezTo>
                <a:cubicBezTo>
                  <a:pt x="6698" y="1329"/>
                  <a:pt x="6700" y="1343"/>
                  <a:pt x="6697" y="1347"/>
                </a:cubicBezTo>
                <a:cubicBezTo>
                  <a:pt x="6694" y="1351"/>
                  <a:pt x="6652" y="1345"/>
                  <a:pt x="6652" y="1345"/>
                </a:cubicBezTo>
                <a:cubicBezTo>
                  <a:pt x="6652" y="1345"/>
                  <a:pt x="6642" y="1342"/>
                  <a:pt x="6633" y="1344"/>
                </a:cubicBezTo>
                <a:cubicBezTo>
                  <a:pt x="6624" y="1346"/>
                  <a:pt x="6639" y="1357"/>
                  <a:pt x="6639" y="1357"/>
                </a:cubicBezTo>
                <a:cubicBezTo>
                  <a:pt x="6625" y="1370"/>
                  <a:pt x="6625" y="1370"/>
                  <a:pt x="6625" y="1370"/>
                </a:cubicBezTo>
                <a:cubicBezTo>
                  <a:pt x="6653" y="1368"/>
                  <a:pt x="6653" y="1368"/>
                  <a:pt x="6653" y="1368"/>
                </a:cubicBezTo>
                <a:cubicBezTo>
                  <a:pt x="6653" y="1368"/>
                  <a:pt x="6653" y="1391"/>
                  <a:pt x="6646" y="1398"/>
                </a:cubicBezTo>
                <a:cubicBezTo>
                  <a:pt x="6639" y="1405"/>
                  <a:pt x="6611" y="1413"/>
                  <a:pt x="6607" y="1416"/>
                </a:cubicBezTo>
                <a:cubicBezTo>
                  <a:pt x="6603" y="1419"/>
                  <a:pt x="6608" y="1434"/>
                  <a:pt x="6612" y="1436"/>
                </a:cubicBezTo>
                <a:cubicBezTo>
                  <a:pt x="6616" y="1438"/>
                  <a:pt x="6634" y="1424"/>
                  <a:pt x="6634" y="1424"/>
                </a:cubicBezTo>
                <a:cubicBezTo>
                  <a:pt x="6634" y="1424"/>
                  <a:pt x="6637" y="1430"/>
                  <a:pt x="6641" y="1434"/>
                </a:cubicBezTo>
                <a:cubicBezTo>
                  <a:pt x="6645" y="1438"/>
                  <a:pt x="6655" y="1434"/>
                  <a:pt x="6655" y="1434"/>
                </a:cubicBezTo>
                <a:cubicBezTo>
                  <a:pt x="6655" y="1434"/>
                  <a:pt x="6663" y="1443"/>
                  <a:pt x="6671" y="1444"/>
                </a:cubicBezTo>
                <a:cubicBezTo>
                  <a:pt x="6680" y="1445"/>
                  <a:pt x="6687" y="1440"/>
                  <a:pt x="6692" y="1435"/>
                </a:cubicBezTo>
                <a:cubicBezTo>
                  <a:pt x="6697" y="1430"/>
                  <a:pt x="6710" y="1431"/>
                  <a:pt x="6710" y="1431"/>
                </a:cubicBezTo>
                <a:cubicBezTo>
                  <a:pt x="6710" y="1431"/>
                  <a:pt x="6694" y="1446"/>
                  <a:pt x="6684" y="1453"/>
                </a:cubicBezTo>
                <a:cubicBezTo>
                  <a:pt x="6673" y="1460"/>
                  <a:pt x="6653" y="1453"/>
                  <a:pt x="6646" y="1453"/>
                </a:cubicBezTo>
                <a:cubicBezTo>
                  <a:pt x="6639" y="1453"/>
                  <a:pt x="6641" y="1463"/>
                  <a:pt x="6641" y="1463"/>
                </a:cubicBezTo>
                <a:cubicBezTo>
                  <a:pt x="6641" y="1463"/>
                  <a:pt x="6632" y="1463"/>
                  <a:pt x="6625" y="1466"/>
                </a:cubicBezTo>
                <a:cubicBezTo>
                  <a:pt x="6617" y="1469"/>
                  <a:pt x="6625" y="1475"/>
                  <a:pt x="6619" y="1484"/>
                </a:cubicBezTo>
                <a:cubicBezTo>
                  <a:pt x="6614" y="1492"/>
                  <a:pt x="6607" y="1488"/>
                  <a:pt x="6600" y="1488"/>
                </a:cubicBezTo>
                <a:cubicBezTo>
                  <a:pt x="6593" y="1488"/>
                  <a:pt x="6596" y="1498"/>
                  <a:pt x="6589" y="1504"/>
                </a:cubicBezTo>
                <a:cubicBezTo>
                  <a:pt x="6582" y="1510"/>
                  <a:pt x="6573" y="1509"/>
                  <a:pt x="6573" y="1513"/>
                </a:cubicBezTo>
                <a:cubicBezTo>
                  <a:pt x="6573" y="1517"/>
                  <a:pt x="6592" y="1517"/>
                  <a:pt x="6595" y="1517"/>
                </a:cubicBezTo>
                <a:cubicBezTo>
                  <a:pt x="6598" y="1517"/>
                  <a:pt x="6606" y="1507"/>
                  <a:pt x="6612" y="1502"/>
                </a:cubicBezTo>
                <a:cubicBezTo>
                  <a:pt x="6618" y="1497"/>
                  <a:pt x="6628" y="1498"/>
                  <a:pt x="6637" y="1498"/>
                </a:cubicBezTo>
                <a:cubicBezTo>
                  <a:pt x="6646" y="1498"/>
                  <a:pt x="6649" y="1508"/>
                  <a:pt x="6655" y="1508"/>
                </a:cubicBezTo>
                <a:cubicBezTo>
                  <a:pt x="6661" y="1508"/>
                  <a:pt x="6674" y="1483"/>
                  <a:pt x="6681" y="1480"/>
                </a:cubicBezTo>
                <a:cubicBezTo>
                  <a:pt x="6687" y="1476"/>
                  <a:pt x="6701" y="1487"/>
                  <a:pt x="6701" y="1487"/>
                </a:cubicBezTo>
                <a:cubicBezTo>
                  <a:pt x="6718" y="1488"/>
                  <a:pt x="6718" y="1488"/>
                  <a:pt x="6718" y="1488"/>
                </a:cubicBezTo>
                <a:cubicBezTo>
                  <a:pt x="6738" y="1480"/>
                  <a:pt x="6738" y="1480"/>
                  <a:pt x="6738" y="1480"/>
                </a:cubicBezTo>
                <a:cubicBezTo>
                  <a:pt x="6738" y="1480"/>
                  <a:pt x="6757" y="1489"/>
                  <a:pt x="6763" y="1488"/>
                </a:cubicBezTo>
                <a:cubicBezTo>
                  <a:pt x="6769" y="1487"/>
                  <a:pt x="6755" y="1476"/>
                  <a:pt x="6761" y="1471"/>
                </a:cubicBezTo>
                <a:cubicBezTo>
                  <a:pt x="6767" y="1466"/>
                  <a:pt x="6776" y="1481"/>
                  <a:pt x="6776" y="1481"/>
                </a:cubicBezTo>
                <a:cubicBezTo>
                  <a:pt x="6783" y="1476"/>
                  <a:pt x="6783" y="1476"/>
                  <a:pt x="6783" y="1476"/>
                </a:cubicBezTo>
                <a:cubicBezTo>
                  <a:pt x="6783" y="1476"/>
                  <a:pt x="6836" y="1476"/>
                  <a:pt x="6849" y="1469"/>
                </a:cubicBezTo>
                <a:cubicBezTo>
                  <a:pt x="6861" y="1462"/>
                  <a:pt x="6869" y="1447"/>
                  <a:pt x="6869" y="1447"/>
                </a:cubicBezTo>
                <a:cubicBezTo>
                  <a:pt x="6830" y="1442"/>
                  <a:pt x="6830" y="1442"/>
                  <a:pt x="6830" y="1442"/>
                </a:cubicBezTo>
                <a:cubicBezTo>
                  <a:pt x="6848" y="1439"/>
                  <a:pt x="6848" y="1439"/>
                  <a:pt x="6848" y="1439"/>
                </a:cubicBezTo>
                <a:cubicBezTo>
                  <a:pt x="6844" y="1429"/>
                  <a:pt x="6844" y="1429"/>
                  <a:pt x="6844" y="1429"/>
                </a:cubicBezTo>
                <a:cubicBezTo>
                  <a:pt x="6844" y="1429"/>
                  <a:pt x="6858" y="1416"/>
                  <a:pt x="6865" y="1415"/>
                </a:cubicBezTo>
                <a:cubicBezTo>
                  <a:pt x="6872" y="1414"/>
                  <a:pt x="6883" y="1403"/>
                  <a:pt x="6884" y="1383"/>
                </a:cubicBezTo>
                <a:cubicBezTo>
                  <a:pt x="6885" y="1362"/>
                  <a:pt x="6836" y="1363"/>
                  <a:pt x="6836" y="1363"/>
                </a:cubicBezTo>
                <a:cubicBezTo>
                  <a:pt x="6836" y="1363"/>
                  <a:pt x="6831" y="1377"/>
                  <a:pt x="6821" y="1370"/>
                </a:cubicBezTo>
                <a:cubicBezTo>
                  <a:pt x="6811" y="1362"/>
                  <a:pt x="6831" y="1355"/>
                  <a:pt x="6830" y="1346"/>
                </a:cubicBezTo>
                <a:cubicBezTo>
                  <a:pt x="6829" y="1337"/>
                  <a:pt x="6798" y="1332"/>
                  <a:pt x="6798" y="1327"/>
                </a:cubicBezTo>
                <a:cubicBezTo>
                  <a:pt x="6798" y="1322"/>
                  <a:pt x="6820" y="1325"/>
                  <a:pt x="6820" y="1325"/>
                </a:cubicBezTo>
                <a:cubicBezTo>
                  <a:pt x="6811" y="1317"/>
                  <a:pt x="6811" y="1317"/>
                  <a:pt x="6811" y="1317"/>
                </a:cubicBezTo>
                <a:cubicBezTo>
                  <a:pt x="6811" y="1317"/>
                  <a:pt x="6802" y="1296"/>
                  <a:pt x="6798" y="1289"/>
                </a:cubicBezTo>
                <a:cubicBezTo>
                  <a:pt x="6794" y="1282"/>
                  <a:pt x="6781" y="1282"/>
                  <a:pt x="6781" y="1282"/>
                </a:cubicBezTo>
                <a:cubicBezTo>
                  <a:pt x="6781" y="1282"/>
                  <a:pt x="6773" y="1273"/>
                  <a:pt x="6765" y="1267"/>
                </a:cubicBezTo>
                <a:cubicBezTo>
                  <a:pt x="6757" y="1261"/>
                  <a:pt x="6763" y="1229"/>
                  <a:pt x="6763" y="1229"/>
                </a:cubicBezTo>
                <a:cubicBezTo>
                  <a:pt x="6755" y="1229"/>
                  <a:pt x="6755" y="1229"/>
                  <a:pt x="6755" y="1229"/>
                </a:cubicBezTo>
                <a:cubicBezTo>
                  <a:pt x="6755" y="1229"/>
                  <a:pt x="6754" y="1223"/>
                  <a:pt x="6740" y="1213"/>
                </a:cubicBezTo>
                <a:cubicBezTo>
                  <a:pt x="6725" y="1203"/>
                  <a:pt x="6706" y="1213"/>
                  <a:pt x="6698" y="1214"/>
                </a:cubicBezTo>
                <a:cubicBezTo>
                  <a:pt x="6690" y="1215"/>
                  <a:pt x="6681" y="1203"/>
                  <a:pt x="6681" y="1203"/>
                </a:cubicBezTo>
                <a:cubicBezTo>
                  <a:pt x="6681" y="1203"/>
                  <a:pt x="6695" y="1208"/>
                  <a:pt x="6699" y="1207"/>
                </a:cubicBezTo>
                <a:cubicBezTo>
                  <a:pt x="6703" y="1206"/>
                  <a:pt x="6721" y="1202"/>
                  <a:pt x="6722" y="1196"/>
                </a:cubicBezTo>
                <a:cubicBezTo>
                  <a:pt x="6723" y="1191"/>
                  <a:pt x="6704" y="1190"/>
                  <a:pt x="6704" y="1190"/>
                </a:cubicBezTo>
                <a:cubicBezTo>
                  <a:pt x="6720" y="1186"/>
                  <a:pt x="6720" y="1186"/>
                  <a:pt x="6720" y="1186"/>
                </a:cubicBezTo>
                <a:cubicBezTo>
                  <a:pt x="6720" y="1186"/>
                  <a:pt x="6729" y="1179"/>
                  <a:pt x="6735" y="1174"/>
                </a:cubicBezTo>
                <a:cubicBezTo>
                  <a:pt x="6740" y="1169"/>
                  <a:pt x="6751" y="1145"/>
                  <a:pt x="6751" y="1145"/>
                </a:cubicBezTo>
                <a:cubicBezTo>
                  <a:pt x="6751" y="1145"/>
                  <a:pt x="6766" y="1136"/>
                  <a:pt x="6766" y="1129"/>
                </a:cubicBezTo>
                <a:cubicBezTo>
                  <a:pt x="6766" y="1122"/>
                  <a:pt x="6712" y="1127"/>
                  <a:pt x="6712" y="1127"/>
                </a:cubicBezTo>
                <a:cubicBezTo>
                  <a:pt x="6712" y="1127"/>
                  <a:pt x="6713" y="1122"/>
                  <a:pt x="6701" y="1122"/>
                </a:cubicBezTo>
                <a:cubicBezTo>
                  <a:pt x="6689" y="1122"/>
                  <a:pt x="6667" y="1130"/>
                  <a:pt x="6667" y="1130"/>
                </a:cubicBezTo>
                <a:cubicBezTo>
                  <a:pt x="6675" y="1123"/>
                  <a:pt x="6675" y="1123"/>
                  <a:pt x="6675" y="1123"/>
                </a:cubicBezTo>
                <a:cubicBezTo>
                  <a:pt x="6669" y="1115"/>
                  <a:pt x="6669" y="1115"/>
                  <a:pt x="6669" y="1115"/>
                </a:cubicBezTo>
                <a:cubicBezTo>
                  <a:pt x="6681" y="1113"/>
                  <a:pt x="6681" y="1113"/>
                  <a:pt x="6681" y="1113"/>
                </a:cubicBezTo>
                <a:cubicBezTo>
                  <a:pt x="6702" y="1100"/>
                  <a:pt x="6702" y="1100"/>
                  <a:pt x="6702" y="1100"/>
                </a:cubicBezTo>
                <a:cubicBezTo>
                  <a:pt x="6702" y="1100"/>
                  <a:pt x="6713" y="1091"/>
                  <a:pt x="6714" y="1080"/>
                </a:cubicBezTo>
                <a:cubicBezTo>
                  <a:pt x="6715" y="1073"/>
                  <a:pt x="6701" y="1075"/>
                  <a:pt x="6693" y="1076"/>
                </a:cubicBezTo>
                <a:cubicBezTo>
                  <a:pt x="6685" y="1077"/>
                  <a:pt x="6673" y="1083"/>
                  <a:pt x="6665" y="1083"/>
                </a:cubicBezTo>
                <a:cubicBezTo>
                  <a:pt x="6657" y="1083"/>
                  <a:pt x="6650" y="1074"/>
                  <a:pt x="6643" y="1078"/>
                </a:cubicBezTo>
                <a:cubicBezTo>
                  <a:pt x="6636" y="1082"/>
                  <a:pt x="6643" y="1092"/>
                  <a:pt x="6643" y="1092"/>
                </a:cubicBezTo>
                <a:cubicBezTo>
                  <a:pt x="6643" y="1092"/>
                  <a:pt x="6636" y="1093"/>
                  <a:pt x="6631" y="1097"/>
                </a:cubicBezTo>
                <a:cubicBezTo>
                  <a:pt x="6626" y="1101"/>
                  <a:pt x="6634" y="1116"/>
                  <a:pt x="6634" y="1116"/>
                </a:cubicBezTo>
                <a:cubicBezTo>
                  <a:pt x="6605" y="1119"/>
                  <a:pt x="6605" y="1119"/>
                  <a:pt x="6605" y="1119"/>
                </a:cubicBezTo>
                <a:cubicBezTo>
                  <a:pt x="6605" y="1125"/>
                  <a:pt x="6605" y="1125"/>
                  <a:pt x="6605" y="1125"/>
                </a:cubicBezTo>
                <a:cubicBezTo>
                  <a:pt x="6611" y="1130"/>
                  <a:pt x="6611" y="1130"/>
                  <a:pt x="6611" y="1130"/>
                </a:cubicBezTo>
                <a:lnTo>
                  <a:pt x="6620" y="1148"/>
                </a:lnTo>
                <a:close/>
                <a:moveTo>
                  <a:pt x="7501" y="1151"/>
                </a:moveTo>
                <a:cubicBezTo>
                  <a:pt x="7497" y="1138"/>
                  <a:pt x="7497" y="1138"/>
                  <a:pt x="7497" y="1138"/>
                </a:cubicBezTo>
                <a:cubicBezTo>
                  <a:pt x="7497" y="1138"/>
                  <a:pt x="7471" y="1172"/>
                  <a:pt x="7471" y="1178"/>
                </a:cubicBezTo>
                <a:cubicBezTo>
                  <a:pt x="7471" y="1183"/>
                  <a:pt x="7470" y="1196"/>
                  <a:pt x="7470" y="1196"/>
                </a:cubicBezTo>
                <a:cubicBezTo>
                  <a:pt x="7478" y="1196"/>
                  <a:pt x="7487" y="1165"/>
                  <a:pt x="7487" y="1165"/>
                </a:cubicBezTo>
                <a:lnTo>
                  <a:pt x="7501" y="1151"/>
                </a:lnTo>
                <a:close/>
                <a:moveTo>
                  <a:pt x="7878" y="2209"/>
                </a:moveTo>
                <a:cubicBezTo>
                  <a:pt x="7872" y="2204"/>
                  <a:pt x="7872" y="2204"/>
                  <a:pt x="7872" y="2204"/>
                </a:cubicBezTo>
                <a:cubicBezTo>
                  <a:pt x="7866" y="2210"/>
                  <a:pt x="7866" y="2210"/>
                  <a:pt x="7866" y="2210"/>
                </a:cubicBezTo>
                <a:lnTo>
                  <a:pt x="7878" y="2209"/>
                </a:lnTo>
                <a:close/>
                <a:moveTo>
                  <a:pt x="7533" y="1130"/>
                </a:moveTo>
                <a:cubicBezTo>
                  <a:pt x="7530" y="1141"/>
                  <a:pt x="7542" y="1164"/>
                  <a:pt x="7542" y="1164"/>
                </a:cubicBezTo>
                <a:cubicBezTo>
                  <a:pt x="7550" y="1147"/>
                  <a:pt x="7550" y="1147"/>
                  <a:pt x="7550" y="1147"/>
                </a:cubicBezTo>
                <a:cubicBezTo>
                  <a:pt x="7550" y="1147"/>
                  <a:pt x="7556" y="1150"/>
                  <a:pt x="7561" y="1141"/>
                </a:cubicBezTo>
                <a:cubicBezTo>
                  <a:pt x="7567" y="1133"/>
                  <a:pt x="7561" y="1124"/>
                  <a:pt x="7561" y="1124"/>
                </a:cubicBezTo>
                <a:cubicBezTo>
                  <a:pt x="7573" y="1112"/>
                  <a:pt x="7573" y="1112"/>
                  <a:pt x="7573" y="1112"/>
                </a:cubicBezTo>
                <a:cubicBezTo>
                  <a:pt x="7573" y="1112"/>
                  <a:pt x="7536" y="1119"/>
                  <a:pt x="7533" y="1130"/>
                </a:cubicBezTo>
                <a:close/>
                <a:moveTo>
                  <a:pt x="7679" y="1081"/>
                </a:moveTo>
                <a:cubicBezTo>
                  <a:pt x="7672" y="1083"/>
                  <a:pt x="7681" y="1100"/>
                  <a:pt x="7681" y="1100"/>
                </a:cubicBezTo>
                <a:cubicBezTo>
                  <a:pt x="7686" y="1113"/>
                  <a:pt x="7686" y="1113"/>
                  <a:pt x="7686" y="1113"/>
                </a:cubicBezTo>
                <a:cubicBezTo>
                  <a:pt x="7686" y="1113"/>
                  <a:pt x="7702" y="1100"/>
                  <a:pt x="7706" y="1100"/>
                </a:cubicBezTo>
                <a:cubicBezTo>
                  <a:pt x="7710" y="1100"/>
                  <a:pt x="7727" y="1086"/>
                  <a:pt x="7727" y="1086"/>
                </a:cubicBezTo>
                <a:cubicBezTo>
                  <a:pt x="7723" y="1075"/>
                  <a:pt x="7723" y="1075"/>
                  <a:pt x="7723" y="1075"/>
                </a:cubicBezTo>
                <a:cubicBezTo>
                  <a:pt x="7699" y="1079"/>
                  <a:pt x="7699" y="1079"/>
                  <a:pt x="7699" y="1079"/>
                </a:cubicBezTo>
                <a:cubicBezTo>
                  <a:pt x="7699" y="1079"/>
                  <a:pt x="7686" y="1078"/>
                  <a:pt x="7679" y="1081"/>
                </a:cubicBezTo>
                <a:close/>
                <a:moveTo>
                  <a:pt x="7707" y="1051"/>
                </a:moveTo>
                <a:cubicBezTo>
                  <a:pt x="7694" y="1054"/>
                  <a:pt x="7687" y="1071"/>
                  <a:pt x="7701" y="1071"/>
                </a:cubicBezTo>
                <a:cubicBezTo>
                  <a:pt x="7716" y="1071"/>
                  <a:pt x="7720" y="1049"/>
                  <a:pt x="7707" y="1051"/>
                </a:cubicBezTo>
                <a:close/>
                <a:moveTo>
                  <a:pt x="7317" y="1211"/>
                </a:moveTo>
                <a:cubicBezTo>
                  <a:pt x="7317" y="1211"/>
                  <a:pt x="7309" y="1199"/>
                  <a:pt x="7308" y="1200"/>
                </a:cubicBezTo>
                <a:cubicBezTo>
                  <a:pt x="7307" y="1200"/>
                  <a:pt x="7294" y="1205"/>
                  <a:pt x="7294" y="1210"/>
                </a:cubicBezTo>
                <a:cubicBezTo>
                  <a:pt x="7294" y="1215"/>
                  <a:pt x="7294" y="1219"/>
                  <a:pt x="7294" y="1219"/>
                </a:cubicBezTo>
                <a:cubicBezTo>
                  <a:pt x="7294" y="1219"/>
                  <a:pt x="7285" y="1207"/>
                  <a:pt x="7283" y="1208"/>
                </a:cubicBezTo>
                <a:cubicBezTo>
                  <a:pt x="7281" y="1209"/>
                  <a:pt x="7278" y="1213"/>
                  <a:pt x="7278" y="1213"/>
                </a:cubicBezTo>
                <a:cubicBezTo>
                  <a:pt x="7262" y="1224"/>
                  <a:pt x="7262" y="1224"/>
                  <a:pt x="7262" y="1224"/>
                </a:cubicBezTo>
                <a:cubicBezTo>
                  <a:pt x="7262" y="1224"/>
                  <a:pt x="7271" y="1229"/>
                  <a:pt x="7270" y="1240"/>
                </a:cubicBezTo>
                <a:cubicBezTo>
                  <a:pt x="7269" y="1251"/>
                  <a:pt x="7260" y="1253"/>
                  <a:pt x="7272" y="1254"/>
                </a:cubicBezTo>
                <a:cubicBezTo>
                  <a:pt x="7284" y="1255"/>
                  <a:pt x="7289" y="1253"/>
                  <a:pt x="7289" y="1253"/>
                </a:cubicBezTo>
                <a:cubicBezTo>
                  <a:pt x="7289" y="1253"/>
                  <a:pt x="7297" y="1272"/>
                  <a:pt x="7298" y="1265"/>
                </a:cubicBezTo>
                <a:cubicBezTo>
                  <a:pt x="7300" y="1259"/>
                  <a:pt x="7310" y="1245"/>
                  <a:pt x="7312" y="1244"/>
                </a:cubicBezTo>
                <a:cubicBezTo>
                  <a:pt x="7314" y="1244"/>
                  <a:pt x="7323" y="1244"/>
                  <a:pt x="7315" y="1239"/>
                </a:cubicBezTo>
                <a:cubicBezTo>
                  <a:pt x="7307" y="1234"/>
                  <a:pt x="7300" y="1227"/>
                  <a:pt x="7303" y="1227"/>
                </a:cubicBezTo>
                <a:cubicBezTo>
                  <a:pt x="7306" y="1226"/>
                  <a:pt x="7313" y="1227"/>
                  <a:pt x="7308" y="1224"/>
                </a:cubicBezTo>
                <a:cubicBezTo>
                  <a:pt x="7303" y="1220"/>
                  <a:pt x="7317" y="1211"/>
                  <a:pt x="7317" y="1211"/>
                </a:cubicBezTo>
                <a:close/>
                <a:moveTo>
                  <a:pt x="7266" y="1272"/>
                </a:moveTo>
                <a:cubicBezTo>
                  <a:pt x="7274" y="1270"/>
                  <a:pt x="7285" y="1282"/>
                  <a:pt x="7285" y="1282"/>
                </a:cubicBezTo>
                <a:cubicBezTo>
                  <a:pt x="7285" y="1282"/>
                  <a:pt x="7302" y="1279"/>
                  <a:pt x="7319" y="1275"/>
                </a:cubicBezTo>
                <a:cubicBezTo>
                  <a:pt x="7337" y="1272"/>
                  <a:pt x="7322" y="1260"/>
                  <a:pt x="7322" y="1260"/>
                </a:cubicBezTo>
                <a:cubicBezTo>
                  <a:pt x="7305" y="1266"/>
                  <a:pt x="7305" y="1266"/>
                  <a:pt x="7305" y="1266"/>
                </a:cubicBezTo>
                <a:cubicBezTo>
                  <a:pt x="7305" y="1266"/>
                  <a:pt x="7295" y="1270"/>
                  <a:pt x="7291" y="1269"/>
                </a:cubicBezTo>
                <a:cubicBezTo>
                  <a:pt x="7287" y="1269"/>
                  <a:pt x="7271" y="1262"/>
                  <a:pt x="7266" y="1262"/>
                </a:cubicBezTo>
                <a:cubicBezTo>
                  <a:pt x="7256" y="1262"/>
                  <a:pt x="7258" y="1273"/>
                  <a:pt x="7266" y="1272"/>
                </a:cubicBezTo>
                <a:close/>
                <a:moveTo>
                  <a:pt x="7992" y="2290"/>
                </a:moveTo>
                <a:cubicBezTo>
                  <a:pt x="7985" y="2263"/>
                  <a:pt x="7985" y="2263"/>
                  <a:pt x="7985" y="2263"/>
                </a:cubicBezTo>
                <a:cubicBezTo>
                  <a:pt x="7979" y="2293"/>
                  <a:pt x="7979" y="2293"/>
                  <a:pt x="7979" y="2293"/>
                </a:cubicBezTo>
                <a:lnTo>
                  <a:pt x="7992" y="2290"/>
                </a:lnTo>
                <a:close/>
                <a:moveTo>
                  <a:pt x="7994" y="2200"/>
                </a:moveTo>
                <a:cubicBezTo>
                  <a:pt x="7978" y="2209"/>
                  <a:pt x="7978" y="2209"/>
                  <a:pt x="7978" y="2209"/>
                </a:cubicBezTo>
                <a:cubicBezTo>
                  <a:pt x="7977" y="2224"/>
                  <a:pt x="7977" y="2224"/>
                  <a:pt x="7977" y="2224"/>
                </a:cubicBezTo>
                <a:cubicBezTo>
                  <a:pt x="8002" y="2205"/>
                  <a:pt x="8002" y="2205"/>
                  <a:pt x="8002" y="2205"/>
                </a:cubicBezTo>
                <a:lnTo>
                  <a:pt x="7994" y="2200"/>
                </a:lnTo>
                <a:close/>
                <a:moveTo>
                  <a:pt x="8029" y="2232"/>
                </a:moveTo>
                <a:cubicBezTo>
                  <a:pt x="8025" y="2225"/>
                  <a:pt x="8004" y="2253"/>
                  <a:pt x="8010" y="2263"/>
                </a:cubicBezTo>
                <a:cubicBezTo>
                  <a:pt x="8015" y="2272"/>
                  <a:pt x="8033" y="2239"/>
                  <a:pt x="8029" y="2232"/>
                </a:cubicBezTo>
                <a:close/>
                <a:moveTo>
                  <a:pt x="8872" y="524"/>
                </a:moveTo>
                <a:cubicBezTo>
                  <a:pt x="8867" y="532"/>
                  <a:pt x="8932" y="566"/>
                  <a:pt x="8938" y="550"/>
                </a:cubicBezTo>
                <a:cubicBezTo>
                  <a:pt x="8944" y="534"/>
                  <a:pt x="8878" y="514"/>
                  <a:pt x="8872" y="524"/>
                </a:cubicBezTo>
                <a:close/>
                <a:moveTo>
                  <a:pt x="7220" y="1252"/>
                </a:moveTo>
                <a:cubicBezTo>
                  <a:pt x="7226" y="1252"/>
                  <a:pt x="7236" y="1262"/>
                  <a:pt x="7236" y="1262"/>
                </a:cubicBezTo>
                <a:cubicBezTo>
                  <a:pt x="7242" y="1244"/>
                  <a:pt x="7242" y="1244"/>
                  <a:pt x="7242" y="1244"/>
                </a:cubicBezTo>
                <a:cubicBezTo>
                  <a:pt x="7230" y="1230"/>
                  <a:pt x="7230" y="1230"/>
                  <a:pt x="7230" y="1230"/>
                </a:cubicBezTo>
                <a:cubicBezTo>
                  <a:pt x="7218" y="1228"/>
                  <a:pt x="7218" y="1228"/>
                  <a:pt x="7218" y="1228"/>
                </a:cubicBezTo>
                <a:lnTo>
                  <a:pt x="7220" y="1252"/>
                </a:lnTo>
                <a:close/>
                <a:moveTo>
                  <a:pt x="8643" y="464"/>
                </a:moveTo>
                <a:cubicBezTo>
                  <a:pt x="8656" y="464"/>
                  <a:pt x="8673" y="467"/>
                  <a:pt x="8684" y="473"/>
                </a:cubicBezTo>
                <a:cubicBezTo>
                  <a:pt x="8694" y="479"/>
                  <a:pt x="8693" y="496"/>
                  <a:pt x="8696" y="497"/>
                </a:cubicBezTo>
                <a:cubicBezTo>
                  <a:pt x="8699" y="499"/>
                  <a:pt x="8748" y="506"/>
                  <a:pt x="8748" y="506"/>
                </a:cubicBezTo>
                <a:cubicBezTo>
                  <a:pt x="8822" y="502"/>
                  <a:pt x="8822" y="502"/>
                  <a:pt x="8822" y="502"/>
                </a:cubicBezTo>
                <a:cubicBezTo>
                  <a:pt x="8822" y="502"/>
                  <a:pt x="8762" y="496"/>
                  <a:pt x="8746" y="470"/>
                </a:cubicBezTo>
                <a:cubicBezTo>
                  <a:pt x="8730" y="444"/>
                  <a:pt x="8714" y="444"/>
                  <a:pt x="8730" y="420"/>
                </a:cubicBezTo>
                <a:cubicBezTo>
                  <a:pt x="8746" y="396"/>
                  <a:pt x="8727" y="394"/>
                  <a:pt x="8727" y="394"/>
                </a:cubicBezTo>
                <a:cubicBezTo>
                  <a:pt x="8754" y="390"/>
                  <a:pt x="8754" y="390"/>
                  <a:pt x="8754" y="390"/>
                </a:cubicBezTo>
                <a:cubicBezTo>
                  <a:pt x="8743" y="378"/>
                  <a:pt x="8743" y="378"/>
                  <a:pt x="8743" y="378"/>
                </a:cubicBezTo>
                <a:cubicBezTo>
                  <a:pt x="8766" y="381"/>
                  <a:pt x="8766" y="381"/>
                  <a:pt x="8766" y="381"/>
                </a:cubicBezTo>
                <a:cubicBezTo>
                  <a:pt x="8753" y="373"/>
                  <a:pt x="8753" y="373"/>
                  <a:pt x="8753" y="373"/>
                </a:cubicBezTo>
                <a:cubicBezTo>
                  <a:pt x="8769" y="375"/>
                  <a:pt x="8769" y="375"/>
                  <a:pt x="8769" y="375"/>
                </a:cubicBezTo>
                <a:cubicBezTo>
                  <a:pt x="8773" y="365"/>
                  <a:pt x="8773" y="365"/>
                  <a:pt x="8773" y="365"/>
                </a:cubicBezTo>
                <a:cubicBezTo>
                  <a:pt x="8759" y="358"/>
                  <a:pt x="8759" y="358"/>
                  <a:pt x="8759" y="358"/>
                </a:cubicBezTo>
                <a:cubicBezTo>
                  <a:pt x="8759" y="358"/>
                  <a:pt x="8786" y="362"/>
                  <a:pt x="8790" y="358"/>
                </a:cubicBezTo>
                <a:cubicBezTo>
                  <a:pt x="8794" y="354"/>
                  <a:pt x="8779" y="344"/>
                  <a:pt x="8779" y="344"/>
                </a:cubicBezTo>
                <a:cubicBezTo>
                  <a:pt x="8801" y="346"/>
                  <a:pt x="8801" y="346"/>
                  <a:pt x="8801" y="346"/>
                </a:cubicBezTo>
                <a:cubicBezTo>
                  <a:pt x="8799" y="327"/>
                  <a:pt x="8799" y="327"/>
                  <a:pt x="8799" y="327"/>
                </a:cubicBezTo>
                <a:cubicBezTo>
                  <a:pt x="8799" y="327"/>
                  <a:pt x="8813" y="338"/>
                  <a:pt x="8831" y="330"/>
                </a:cubicBezTo>
                <a:cubicBezTo>
                  <a:pt x="8850" y="323"/>
                  <a:pt x="8862" y="309"/>
                  <a:pt x="8862" y="309"/>
                </a:cubicBezTo>
                <a:cubicBezTo>
                  <a:pt x="8862" y="309"/>
                  <a:pt x="9007" y="288"/>
                  <a:pt x="9028" y="279"/>
                </a:cubicBezTo>
                <a:cubicBezTo>
                  <a:pt x="9050" y="269"/>
                  <a:pt x="9071" y="254"/>
                  <a:pt x="9038" y="243"/>
                </a:cubicBezTo>
                <a:cubicBezTo>
                  <a:pt x="9005" y="231"/>
                  <a:pt x="8971" y="247"/>
                  <a:pt x="8956" y="253"/>
                </a:cubicBezTo>
                <a:cubicBezTo>
                  <a:pt x="8942" y="259"/>
                  <a:pt x="8898" y="274"/>
                  <a:pt x="8878" y="271"/>
                </a:cubicBezTo>
                <a:cubicBezTo>
                  <a:pt x="8857" y="269"/>
                  <a:pt x="8826" y="265"/>
                  <a:pt x="8826" y="265"/>
                </a:cubicBezTo>
                <a:cubicBezTo>
                  <a:pt x="8815" y="282"/>
                  <a:pt x="8815" y="282"/>
                  <a:pt x="8815" y="282"/>
                </a:cubicBezTo>
                <a:cubicBezTo>
                  <a:pt x="8798" y="273"/>
                  <a:pt x="8798" y="273"/>
                  <a:pt x="8798" y="273"/>
                </a:cubicBezTo>
                <a:cubicBezTo>
                  <a:pt x="8763" y="287"/>
                  <a:pt x="8763" y="287"/>
                  <a:pt x="8763" y="287"/>
                </a:cubicBezTo>
                <a:cubicBezTo>
                  <a:pt x="8744" y="286"/>
                  <a:pt x="8744" y="286"/>
                  <a:pt x="8744" y="286"/>
                </a:cubicBezTo>
                <a:cubicBezTo>
                  <a:pt x="8725" y="301"/>
                  <a:pt x="8725" y="301"/>
                  <a:pt x="8725" y="301"/>
                </a:cubicBezTo>
                <a:cubicBezTo>
                  <a:pt x="8739" y="306"/>
                  <a:pt x="8739" y="306"/>
                  <a:pt x="8739" y="306"/>
                </a:cubicBezTo>
                <a:cubicBezTo>
                  <a:pt x="8706" y="307"/>
                  <a:pt x="8706" y="307"/>
                  <a:pt x="8706" y="307"/>
                </a:cubicBezTo>
                <a:cubicBezTo>
                  <a:pt x="8687" y="313"/>
                  <a:pt x="8687" y="313"/>
                  <a:pt x="8687" y="313"/>
                </a:cubicBezTo>
                <a:cubicBezTo>
                  <a:pt x="8688" y="322"/>
                  <a:pt x="8688" y="322"/>
                  <a:pt x="8688" y="322"/>
                </a:cubicBezTo>
                <a:cubicBezTo>
                  <a:pt x="8705" y="313"/>
                  <a:pt x="8705" y="313"/>
                  <a:pt x="8705" y="313"/>
                </a:cubicBezTo>
                <a:cubicBezTo>
                  <a:pt x="8706" y="322"/>
                  <a:pt x="8706" y="322"/>
                  <a:pt x="8706" y="322"/>
                </a:cubicBezTo>
                <a:cubicBezTo>
                  <a:pt x="8725" y="324"/>
                  <a:pt x="8725" y="324"/>
                  <a:pt x="8725" y="324"/>
                </a:cubicBezTo>
                <a:cubicBezTo>
                  <a:pt x="8719" y="332"/>
                  <a:pt x="8719" y="332"/>
                  <a:pt x="8719" y="332"/>
                </a:cubicBezTo>
                <a:cubicBezTo>
                  <a:pt x="8693" y="332"/>
                  <a:pt x="8693" y="332"/>
                  <a:pt x="8693" y="332"/>
                </a:cubicBezTo>
                <a:cubicBezTo>
                  <a:pt x="8689" y="341"/>
                  <a:pt x="8689" y="341"/>
                  <a:pt x="8689" y="341"/>
                </a:cubicBezTo>
                <a:cubicBezTo>
                  <a:pt x="8707" y="344"/>
                  <a:pt x="8707" y="344"/>
                  <a:pt x="8707" y="344"/>
                </a:cubicBezTo>
                <a:cubicBezTo>
                  <a:pt x="8676" y="346"/>
                  <a:pt x="8676" y="346"/>
                  <a:pt x="8676" y="346"/>
                </a:cubicBezTo>
                <a:cubicBezTo>
                  <a:pt x="8698" y="352"/>
                  <a:pt x="8698" y="352"/>
                  <a:pt x="8698" y="352"/>
                </a:cubicBezTo>
                <a:cubicBezTo>
                  <a:pt x="8669" y="354"/>
                  <a:pt x="8669" y="354"/>
                  <a:pt x="8669" y="354"/>
                </a:cubicBezTo>
                <a:cubicBezTo>
                  <a:pt x="8667" y="368"/>
                  <a:pt x="8667" y="368"/>
                  <a:pt x="8667" y="368"/>
                </a:cubicBezTo>
                <a:cubicBezTo>
                  <a:pt x="8647" y="375"/>
                  <a:pt x="8647" y="375"/>
                  <a:pt x="8647" y="375"/>
                </a:cubicBezTo>
                <a:cubicBezTo>
                  <a:pt x="8654" y="385"/>
                  <a:pt x="8654" y="385"/>
                  <a:pt x="8654" y="385"/>
                </a:cubicBezTo>
                <a:cubicBezTo>
                  <a:pt x="8681" y="373"/>
                  <a:pt x="8681" y="373"/>
                  <a:pt x="8681" y="373"/>
                </a:cubicBezTo>
                <a:cubicBezTo>
                  <a:pt x="8670" y="391"/>
                  <a:pt x="8670" y="391"/>
                  <a:pt x="8670" y="391"/>
                </a:cubicBezTo>
                <a:cubicBezTo>
                  <a:pt x="8670" y="391"/>
                  <a:pt x="8649" y="386"/>
                  <a:pt x="8641" y="393"/>
                </a:cubicBezTo>
                <a:cubicBezTo>
                  <a:pt x="8634" y="400"/>
                  <a:pt x="8640" y="408"/>
                  <a:pt x="8640" y="408"/>
                </a:cubicBezTo>
                <a:cubicBezTo>
                  <a:pt x="8610" y="413"/>
                  <a:pt x="8610" y="413"/>
                  <a:pt x="8610" y="413"/>
                </a:cubicBezTo>
                <a:cubicBezTo>
                  <a:pt x="8619" y="425"/>
                  <a:pt x="8619" y="425"/>
                  <a:pt x="8619" y="425"/>
                </a:cubicBezTo>
                <a:cubicBezTo>
                  <a:pt x="8638" y="416"/>
                  <a:pt x="8638" y="416"/>
                  <a:pt x="8638" y="416"/>
                </a:cubicBezTo>
                <a:cubicBezTo>
                  <a:pt x="8628" y="432"/>
                  <a:pt x="8628" y="432"/>
                  <a:pt x="8628" y="432"/>
                </a:cubicBezTo>
                <a:cubicBezTo>
                  <a:pt x="8628" y="432"/>
                  <a:pt x="8600" y="438"/>
                  <a:pt x="8602" y="449"/>
                </a:cubicBezTo>
                <a:cubicBezTo>
                  <a:pt x="8604" y="460"/>
                  <a:pt x="8631" y="464"/>
                  <a:pt x="8643" y="464"/>
                </a:cubicBezTo>
                <a:close/>
                <a:moveTo>
                  <a:pt x="7441" y="599"/>
                </a:moveTo>
                <a:cubicBezTo>
                  <a:pt x="7450" y="594"/>
                  <a:pt x="7465" y="591"/>
                  <a:pt x="7446" y="587"/>
                </a:cubicBezTo>
                <a:cubicBezTo>
                  <a:pt x="7427" y="584"/>
                  <a:pt x="7418" y="595"/>
                  <a:pt x="7418" y="595"/>
                </a:cubicBezTo>
                <a:cubicBezTo>
                  <a:pt x="7424" y="602"/>
                  <a:pt x="7424" y="602"/>
                  <a:pt x="7424" y="602"/>
                </a:cubicBezTo>
                <a:lnTo>
                  <a:pt x="7441" y="599"/>
                </a:lnTo>
                <a:close/>
                <a:moveTo>
                  <a:pt x="7430" y="571"/>
                </a:moveTo>
                <a:cubicBezTo>
                  <a:pt x="7411" y="566"/>
                  <a:pt x="7401" y="583"/>
                  <a:pt x="7401" y="583"/>
                </a:cubicBezTo>
                <a:cubicBezTo>
                  <a:pt x="7417" y="587"/>
                  <a:pt x="7417" y="587"/>
                  <a:pt x="7417" y="587"/>
                </a:cubicBezTo>
                <a:cubicBezTo>
                  <a:pt x="7423" y="583"/>
                  <a:pt x="7449" y="575"/>
                  <a:pt x="7430" y="571"/>
                </a:cubicBezTo>
                <a:close/>
                <a:moveTo>
                  <a:pt x="7410" y="590"/>
                </a:moveTo>
                <a:cubicBezTo>
                  <a:pt x="7395" y="599"/>
                  <a:pt x="7395" y="599"/>
                  <a:pt x="7395" y="599"/>
                </a:cubicBezTo>
                <a:cubicBezTo>
                  <a:pt x="7400" y="612"/>
                  <a:pt x="7400" y="612"/>
                  <a:pt x="7400" y="612"/>
                </a:cubicBezTo>
                <a:cubicBezTo>
                  <a:pt x="7418" y="613"/>
                  <a:pt x="7418" y="613"/>
                  <a:pt x="7418" y="613"/>
                </a:cubicBezTo>
                <a:cubicBezTo>
                  <a:pt x="7414" y="600"/>
                  <a:pt x="7414" y="600"/>
                  <a:pt x="7414" y="600"/>
                </a:cubicBezTo>
                <a:lnTo>
                  <a:pt x="7410" y="590"/>
                </a:lnTo>
                <a:close/>
                <a:moveTo>
                  <a:pt x="7384" y="584"/>
                </a:moveTo>
                <a:cubicBezTo>
                  <a:pt x="7373" y="588"/>
                  <a:pt x="7377" y="605"/>
                  <a:pt x="7377" y="605"/>
                </a:cubicBezTo>
                <a:cubicBezTo>
                  <a:pt x="7389" y="617"/>
                  <a:pt x="7389" y="617"/>
                  <a:pt x="7389" y="617"/>
                </a:cubicBezTo>
                <a:cubicBezTo>
                  <a:pt x="7389" y="617"/>
                  <a:pt x="7395" y="580"/>
                  <a:pt x="7384" y="584"/>
                </a:cubicBezTo>
                <a:close/>
                <a:moveTo>
                  <a:pt x="7463" y="578"/>
                </a:moveTo>
                <a:cubicBezTo>
                  <a:pt x="7479" y="575"/>
                  <a:pt x="7478" y="565"/>
                  <a:pt x="7485" y="565"/>
                </a:cubicBezTo>
                <a:cubicBezTo>
                  <a:pt x="7491" y="565"/>
                  <a:pt x="7485" y="554"/>
                  <a:pt x="7485" y="554"/>
                </a:cubicBezTo>
                <a:cubicBezTo>
                  <a:pt x="7455" y="568"/>
                  <a:pt x="7455" y="568"/>
                  <a:pt x="7455" y="568"/>
                </a:cubicBezTo>
                <a:lnTo>
                  <a:pt x="7463" y="578"/>
                </a:lnTo>
                <a:close/>
                <a:moveTo>
                  <a:pt x="7551" y="538"/>
                </a:moveTo>
                <a:cubicBezTo>
                  <a:pt x="7560" y="535"/>
                  <a:pt x="7573" y="525"/>
                  <a:pt x="7555" y="524"/>
                </a:cubicBezTo>
                <a:cubicBezTo>
                  <a:pt x="7538" y="523"/>
                  <a:pt x="7551" y="538"/>
                  <a:pt x="7551" y="538"/>
                </a:cubicBezTo>
                <a:close/>
                <a:moveTo>
                  <a:pt x="8379" y="1666"/>
                </a:moveTo>
                <a:cubicBezTo>
                  <a:pt x="8379" y="1666"/>
                  <a:pt x="8378" y="1666"/>
                  <a:pt x="8378" y="1666"/>
                </a:cubicBezTo>
                <a:cubicBezTo>
                  <a:pt x="8378" y="1666"/>
                  <a:pt x="8378" y="1666"/>
                  <a:pt x="8378" y="1666"/>
                </a:cubicBezTo>
                <a:cubicBezTo>
                  <a:pt x="8378" y="1666"/>
                  <a:pt x="8379" y="1666"/>
                  <a:pt x="8379" y="1666"/>
                </a:cubicBezTo>
                <a:close/>
                <a:moveTo>
                  <a:pt x="7253" y="188"/>
                </a:moveTo>
                <a:cubicBezTo>
                  <a:pt x="7267" y="198"/>
                  <a:pt x="7288" y="194"/>
                  <a:pt x="7288" y="194"/>
                </a:cubicBezTo>
                <a:cubicBezTo>
                  <a:pt x="7266" y="183"/>
                  <a:pt x="7266" y="183"/>
                  <a:pt x="7266" y="183"/>
                </a:cubicBezTo>
                <a:cubicBezTo>
                  <a:pt x="7233" y="166"/>
                  <a:pt x="7233" y="166"/>
                  <a:pt x="7233" y="166"/>
                </a:cubicBezTo>
                <a:cubicBezTo>
                  <a:pt x="7229" y="179"/>
                  <a:pt x="7239" y="179"/>
                  <a:pt x="7253" y="188"/>
                </a:cubicBezTo>
                <a:close/>
                <a:moveTo>
                  <a:pt x="6729" y="1062"/>
                </a:moveTo>
                <a:cubicBezTo>
                  <a:pt x="6727" y="1072"/>
                  <a:pt x="6727" y="1072"/>
                  <a:pt x="6727" y="1072"/>
                </a:cubicBezTo>
                <a:cubicBezTo>
                  <a:pt x="6736" y="1064"/>
                  <a:pt x="6736" y="1064"/>
                  <a:pt x="6736" y="1064"/>
                </a:cubicBezTo>
                <a:lnTo>
                  <a:pt x="6729" y="1062"/>
                </a:lnTo>
                <a:close/>
                <a:moveTo>
                  <a:pt x="6786" y="1004"/>
                </a:moveTo>
                <a:cubicBezTo>
                  <a:pt x="6790" y="1013"/>
                  <a:pt x="6790" y="1013"/>
                  <a:pt x="6790" y="1013"/>
                </a:cubicBezTo>
                <a:cubicBezTo>
                  <a:pt x="6795" y="1017"/>
                  <a:pt x="6802" y="996"/>
                  <a:pt x="6801" y="992"/>
                </a:cubicBezTo>
                <a:cubicBezTo>
                  <a:pt x="6800" y="988"/>
                  <a:pt x="6791" y="980"/>
                  <a:pt x="6791" y="980"/>
                </a:cubicBezTo>
                <a:cubicBezTo>
                  <a:pt x="6790" y="989"/>
                  <a:pt x="6790" y="989"/>
                  <a:pt x="6790" y="989"/>
                </a:cubicBezTo>
                <a:cubicBezTo>
                  <a:pt x="6790" y="989"/>
                  <a:pt x="6777" y="993"/>
                  <a:pt x="6778" y="997"/>
                </a:cubicBezTo>
                <a:cubicBezTo>
                  <a:pt x="6779" y="1001"/>
                  <a:pt x="6786" y="1004"/>
                  <a:pt x="6786" y="1004"/>
                </a:cubicBezTo>
                <a:close/>
                <a:moveTo>
                  <a:pt x="6721" y="1053"/>
                </a:moveTo>
                <a:cubicBezTo>
                  <a:pt x="6713" y="1046"/>
                  <a:pt x="6712" y="1061"/>
                  <a:pt x="6712" y="1061"/>
                </a:cubicBezTo>
                <a:cubicBezTo>
                  <a:pt x="6719" y="1067"/>
                  <a:pt x="6729" y="1060"/>
                  <a:pt x="6721" y="1053"/>
                </a:cubicBezTo>
                <a:close/>
                <a:moveTo>
                  <a:pt x="6815" y="969"/>
                </a:moveTo>
                <a:cubicBezTo>
                  <a:pt x="6808" y="970"/>
                  <a:pt x="6806" y="979"/>
                  <a:pt x="6806" y="979"/>
                </a:cubicBezTo>
                <a:cubicBezTo>
                  <a:pt x="6817" y="984"/>
                  <a:pt x="6822" y="968"/>
                  <a:pt x="6815" y="969"/>
                </a:cubicBezTo>
                <a:close/>
                <a:moveTo>
                  <a:pt x="7648" y="515"/>
                </a:moveTo>
                <a:cubicBezTo>
                  <a:pt x="7661" y="518"/>
                  <a:pt x="7661" y="518"/>
                  <a:pt x="7661" y="518"/>
                </a:cubicBezTo>
                <a:cubicBezTo>
                  <a:pt x="7669" y="509"/>
                  <a:pt x="7669" y="503"/>
                  <a:pt x="7669" y="503"/>
                </a:cubicBezTo>
                <a:cubicBezTo>
                  <a:pt x="7649" y="505"/>
                  <a:pt x="7649" y="505"/>
                  <a:pt x="7649" y="505"/>
                </a:cubicBezTo>
                <a:lnTo>
                  <a:pt x="7648" y="515"/>
                </a:lnTo>
                <a:close/>
                <a:moveTo>
                  <a:pt x="7854" y="2172"/>
                </a:moveTo>
                <a:cubicBezTo>
                  <a:pt x="7849" y="2177"/>
                  <a:pt x="7852" y="2183"/>
                  <a:pt x="7857" y="2182"/>
                </a:cubicBezTo>
                <a:cubicBezTo>
                  <a:pt x="7866" y="2180"/>
                  <a:pt x="7859" y="2167"/>
                  <a:pt x="7854" y="2172"/>
                </a:cubicBezTo>
                <a:close/>
                <a:moveTo>
                  <a:pt x="7358" y="610"/>
                </a:moveTo>
                <a:cubicBezTo>
                  <a:pt x="7342" y="610"/>
                  <a:pt x="7317" y="629"/>
                  <a:pt x="7323" y="633"/>
                </a:cubicBezTo>
                <a:cubicBezTo>
                  <a:pt x="7328" y="636"/>
                  <a:pt x="7353" y="621"/>
                  <a:pt x="7353" y="621"/>
                </a:cubicBezTo>
                <a:cubicBezTo>
                  <a:pt x="7376" y="617"/>
                  <a:pt x="7376" y="617"/>
                  <a:pt x="7376" y="617"/>
                </a:cubicBezTo>
                <a:cubicBezTo>
                  <a:pt x="7373" y="617"/>
                  <a:pt x="7374" y="610"/>
                  <a:pt x="7358" y="610"/>
                </a:cubicBezTo>
                <a:close/>
                <a:moveTo>
                  <a:pt x="7687" y="2158"/>
                </a:moveTo>
                <a:cubicBezTo>
                  <a:pt x="7678" y="2165"/>
                  <a:pt x="7698" y="2171"/>
                  <a:pt x="7698" y="2171"/>
                </a:cubicBezTo>
                <a:cubicBezTo>
                  <a:pt x="7704" y="2167"/>
                  <a:pt x="7696" y="2151"/>
                  <a:pt x="7687" y="2158"/>
                </a:cubicBezTo>
                <a:close/>
                <a:moveTo>
                  <a:pt x="7673" y="2139"/>
                </a:moveTo>
                <a:cubicBezTo>
                  <a:pt x="7698" y="2146"/>
                  <a:pt x="7698" y="2146"/>
                  <a:pt x="7698" y="2146"/>
                </a:cubicBezTo>
                <a:cubicBezTo>
                  <a:pt x="7687" y="2124"/>
                  <a:pt x="7687" y="2124"/>
                  <a:pt x="7687" y="2124"/>
                </a:cubicBezTo>
                <a:lnTo>
                  <a:pt x="7673" y="2139"/>
                </a:lnTo>
                <a:close/>
                <a:moveTo>
                  <a:pt x="7811" y="2183"/>
                </a:moveTo>
                <a:cubicBezTo>
                  <a:pt x="7820" y="2179"/>
                  <a:pt x="7820" y="2179"/>
                  <a:pt x="7820" y="2179"/>
                </a:cubicBezTo>
                <a:cubicBezTo>
                  <a:pt x="7820" y="2179"/>
                  <a:pt x="7809" y="2172"/>
                  <a:pt x="7800" y="2163"/>
                </a:cubicBezTo>
                <a:cubicBezTo>
                  <a:pt x="7791" y="2154"/>
                  <a:pt x="7747" y="2137"/>
                  <a:pt x="7747" y="2137"/>
                </a:cubicBezTo>
                <a:cubicBezTo>
                  <a:pt x="7733" y="2143"/>
                  <a:pt x="7733" y="2143"/>
                  <a:pt x="7733" y="2143"/>
                </a:cubicBezTo>
                <a:cubicBezTo>
                  <a:pt x="7726" y="2143"/>
                  <a:pt x="7726" y="2143"/>
                  <a:pt x="7726" y="2143"/>
                </a:cubicBezTo>
                <a:cubicBezTo>
                  <a:pt x="7715" y="2158"/>
                  <a:pt x="7715" y="2158"/>
                  <a:pt x="7715" y="2158"/>
                </a:cubicBezTo>
                <a:cubicBezTo>
                  <a:pt x="7734" y="2175"/>
                  <a:pt x="7734" y="2175"/>
                  <a:pt x="7734" y="2175"/>
                </a:cubicBezTo>
                <a:cubicBezTo>
                  <a:pt x="7734" y="2175"/>
                  <a:pt x="7731" y="2192"/>
                  <a:pt x="7731" y="2202"/>
                </a:cubicBezTo>
                <a:cubicBezTo>
                  <a:pt x="7731" y="2212"/>
                  <a:pt x="7746" y="2218"/>
                  <a:pt x="7749" y="2211"/>
                </a:cubicBezTo>
                <a:cubicBezTo>
                  <a:pt x="7752" y="2204"/>
                  <a:pt x="7761" y="2205"/>
                  <a:pt x="7761" y="2205"/>
                </a:cubicBezTo>
                <a:cubicBezTo>
                  <a:pt x="7775" y="2231"/>
                  <a:pt x="7775" y="2231"/>
                  <a:pt x="7775" y="2231"/>
                </a:cubicBezTo>
                <a:cubicBezTo>
                  <a:pt x="7781" y="2213"/>
                  <a:pt x="7781" y="2213"/>
                  <a:pt x="7781" y="2213"/>
                </a:cubicBezTo>
                <a:cubicBezTo>
                  <a:pt x="7790" y="2226"/>
                  <a:pt x="7790" y="2226"/>
                  <a:pt x="7790" y="2226"/>
                </a:cubicBezTo>
                <a:cubicBezTo>
                  <a:pt x="7806" y="2232"/>
                  <a:pt x="7806" y="2232"/>
                  <a:pt x="7806" y="2232"/>
                </a:cubicBezTo>
                <a:cubicBezTo>
                  <a:pt x="7797" y="2221"/>
                  <a:pt x="7797" y="2221"/>
                  <a:pt x="7797" y="2221"/>
                </a:cubicBezTo>
                <a:cubicBezTo>
                  <a:pt x="7801" y="2216"/>
                  <a:pt x="7801" y="2216"/>
                  <a:pt x="7801" y="2216"/>
                </a:cubicBezTo>
                <a:cubicBezTo>
                  <a:pt x="7799" y="2201"/>
                  <a:pt x="7799" y="2201"/>
                  <a:pt x="7799" y="2201"/>
                </a:cubicBezTo>
                <a:cubicBezTo>
                  <a:pt x="7799" y="2201"/>
                  <a:pt x="7782" y="2180"/>
                  <a:pt x="7785" y="2172"/>
                </a:cubicBezTo>
                <a:cubicBezTo>
                  <a:pt x="7788" y="2164"/>
                  <a:pt x="7811" y="2183"/>
                  <a:pt x="7811" y="2183"/>
                </a:cubicBezTo>
                <a:close/>
                <a:moveTo>
                  <a:pt x="7854" y="2097"/>
                </a:moveTo>
                <a:cubicBezTo>
                  <a:pt x="7854" y="2097"/>
                  <a:pt x="7848" y="2109"/>
                  <a:pt x="7864" y="2109"/>
                </a:cubicBezTo>
                <a:lnTo>
                  <a:pt x="7854" y="2097"/>
                </a:lnTo>
                <a:close/>
                <a:moveTo>
                  <a:pt x="7795" y="2239"/>
                </a:moveTo>
                <a:cubicBezTo>
                  <a:pt x="7789" y="2241"/>
                  <a:pt x="7794" y="2258"/>
                  <a:pt x="7801" y="2252"/>
                </a:cubicBezTo>
                <a:cubicBezTo>
                  <a:pt x="7808" y="2246"/>
                  <a:pt x="7802" y="2237"/>
                  <a:pt x="7795" y="2239"/>
                </a:cubicBezTo>
                <a:close/>
                <a:moveTo>
                  <a:pt x="7405" y="2250"/>
                </a:moveTo>
                <a:cubicBezTo>
                  <a:pt x="7397" y="2264"/>
                  <a:pt x="7420" y="2269"/>
                  <a:pt x="7420" y="2269"/>
                </a:cubicBezTo>
                <a:cubicBezTo>
                  <a:pt x="7431" y="2256"/>
                  <a:pt x="7413" y="2236"/>
                  <a:pt x="7405" y="2250"/>
                </a:cubicBezTo>
                <a:close/>
                <a:moveTo>
                  <a:pt x="6849" y="2093"/>
                </a:moveTo>
                <a:cubicBezTo>
                  <a:pt x="6844" y="2083"/>
                  <a:pt x="6835" y="2105"/>
                  <a:pt x="6835" y="2105"/>
                </a:cubicBezTo>
                <a:cubicBezTo>
                  <a:pt x="6844" y="2114"/>
                  <a:pt x="6854" y="2103"/>
                  <a:pt x="6849" y="2093"/>
                </a:cubicBezTo>
                <a:close/>
                <a:moveTo>
                  <a:pt x="6970" y="2057"/>
                </a:moveTo>
                <a:cubicBezTo>
                  <a:pt x="6979" y="2052"/>
                  <a:pt x="6958" y="2035"/>
                  <a:pt x="6948" y="2042"/>
                </a:cubicBezTo>
                <a:cubicBezTo>
                  <a:pt x="6948" y="2042"/>
                  <a:pt x="6961" y="2062"/>
                  <a:pt x="6970" y="2057"/>
                </a:cubicBezTo>
                <a:close/>
                <a:moveTo>
                  <a:pt x="7197" y="1887"/>
                </a:moveTo>
                <a:cubicBezTo>
                  <a:pt x="7193" y="1880"/>
                  <a:pt x="7185" y="1898"/>
                  <a:pt x="7185" y="1898"/>
                </a:cubicBezTo>
                <a:cubicBezTo>
                  <a:pt x="7185" y="1898"/>
                  <a:pt x="7156" y="1911"/>
                  <a:pt x="7159" y="1925"/>
                </a:cubicBezTo>
                <a:cubicBezTo>
                  <a:pt x="7162" y="1939"/>
                  <a:pt x="7169" y="1945"/>
                  <a:pt x="7169" y="1945"/>
                </a:cubicBezTo>
                <a:cubicBezTo>
                  <a:pt x="7169" y="1945"/>
                  <a:pt x="7160" y="1956"/>
                  <a:pt x="7168" y="1963"/>
                </a:cubicBezTo>
                <a:cubicBezTo>
                  <a:pt x="7176" y="1970"/>
                  <a:pt x="7185" y="1971"/>
                  <a:pt x="7185" y="1971"/>
                </a:cubicBezTo>
                <a:cubicBezTo>
                  <a:pt x="7185" y="1971"/>
                  <a:pt x="7195" y="1964"/>
                  <a:pt x="7195" y="1953"/>
                </a:cubicBezTo>
                <a:cubicBezTo>
                  <a:pt x="7195" y="1942"/>
                  <a:pt x="7194" y="1939"/>
                  <a:pt x="7194" y="1939"/>
                </a:cubicBezTo>
                <a:cubicBezTo>
                  <a:pt x="7202" y="1935"/>
                  <a:pt x="7202" y="1935"/>
                  <a:pt x="7202" y="1935"/>
                </a:cubicBezTo>
                <a:cubicBezTo>
                  <a:pt x="7200" y="1904"/>
                  <a:pt x="7200" y="1904"/>
                  <a:pt x="7200" y="1904"/>
                </a:cubicBezTo>
                <a:cubicBezTo>
                  <a:pt x="7195" y="1902"/>
                  <a:pt x="7195" y="1902"/>
                  <a:pt x="7195" y="1902"/>
                </a:cubicBezTo>
                <a:cubicBezTo>
                  <a:pt x="7195" y="1902"/>
                  <a:pt x="7201" y="1894"/>
                  <a:pt x="7197" y="1887"/>
                </a:cubicBezTo>
                <a:close/>
                <a:moveTo>
                  <a:pt x="6899" y="2070"/>
                </a:moveTo>
                <a:cubicBezTo>
                  <a:pt x="6899" y="2070"/>
                  <a:pt x="6903" y="2079"/>
                  <a:pt x="6907" y="2080"/>
                </a:cubicBezTo>
                <a:cubicBezTo>
                  <a:pt x="6911" y="2081"/>
                  <a:pt x="6919" y="2081"/>
                  <a:pt x="6919" y="2081"/>
                </a:cubicBezTo>
                <a:cubicBezTo>
                  <a:pt x="6925" y="2079"/>
                  <a:pt x="6935" y="2069"/>
                  <a:pt x="6934" y="2062"/>
                </a:cubicBezTo>
                <a:cubicBezTo>
                  <a:pt x="6933" y="2055"/>
                  <a:pt x="6924" y="2056"/>
                  <a:pt x="6924" y="2056"/>
                </a:cubicBezTo>
                <a:cubicBezTo>
                  <a:pt x="6924" y="2056"/>
                  <a:pt x="6921" y="2049"/>
                  <a:pt x="6915" y="2049"/>
                </a:cubicBezTo>
                <a:cubicBezTo>
                  <a:pt x="6909" y="2049"/>
                  <a:pt x="6886" y="2062"/>
                  <a:pt x="6889" y="2067"/>
                </a:cubicBezTo>
                <a:cubicBezTo>
                  <a:pt x="6892" y="2072"/>
                  <a:pt x="6899" y="2070"/>
                  <a:pt x="6899" y="2070"/>
                </a:cubicBezTo>
                <a:close/>
                <a:moveTo>
                  <a:pt x="7457" y="2158"/>
                </a:moveTo>
                <a:cubicBezTo>
                  <a:pt x="7463" y="2153"/>
                  <a:pt x="7457" y="2136"/>
                  <a:pt x="7457" y="2136"/>
                </a:cubicBezTo>
                <a:cubicBezTo>
                  <a:pt x="7452" y="2146"/>
                  <a:pt x="7452" y="2146"/>
                  <a:pt x="7452" y="2146"/>
                </a:cubicBezTo>
                <a:cubicBezTo>
                  <a:pt x="7452" y="2146"/>
                  <a:pt x="7439" y="2139"/>
                  <a:pt x="7432" y="2141"/>
                </a:cubicBezTo>
                <a:cubicBezTo>
                  <a:pt x="7425" y="2143"/>
                  <a:pt x="7415" y="2150"/>
                  <a:pt x="7415" y="2150"/>
                </a:cubicBezTo>
                <a:cubicBezTo>
                  <a:pt x="7415" y="2150"/>
                  <a:pt x="7396" y="2153"/>
                  <a:pt x="7388" y="2153"/>
                </a:cubicBezTo>
                <a:cubicBezTo>
                  <a:pt x="7380" y="2153"/>
                  <a:pt x="7366" y="2137"/>
                  <a:pt x="7363" y="2140"/>
                </a:cubicBezTo>
                <a:cubicBezTo>
                  <a:pt x="7360" y="2143"/>
                  <a:pt x="7352" y="2152"/>
                  <a:pt x="7352" y="2152"/>
                </a:cubicBezTo>
                <a:cubicBezTo>
                  <a:pt x="7339" y="2144"/>
                  <a:pt x="7339" y="2144"/>
                  <a:pt x="7339" y="2144"/>
                </a:cubicBezTo>
                <a:cubicBezTo>
                  <a:pt x="7339" y="2144"/>
                  <a:pt x="7319" y="2149"/>
                  <a:pt x="7327" y="2161"/>
                </a:cubicBezTo>
                <a:cubicBezTo>
                  <a:pt x="7338" y="2177"/>
                  <a:pt x="7350" y="2172"/>
                  <a:pt x="7355" y="2174"/>
                </a:cubicBezTo>
                <a:cubicBezTo>
                  <a:pt x="7360" y="2176"/>
                  <a:pt x="7365" y="2184"/>
                  <a:pt x="7367" y="2188"/>
                </a:cubicBezTo>
                <a:cubicBezTo>
                  <a:pt x="7369" y="2192"/>
                  <a:pt x="7391" y="2202"/>
                  <a:pt x="7391" y="2202"/>
                </a:cubicBezTo>
                <a:cubicBezTo>
                  <a:pt x="7404" y="2198"/>
                  <a:pt x="7404" y="2198"/>
                  <a:pt x="7404" y="2198"/>
                </a:cubicBezTo>
                <a:cubicBezTo>
                  <a:pt x="7404" y="2198"/>
                  <a:pt x="7418" y="2219"/>
                  <a:pt x="7437" y="2220"/>
                </a:cubicBezTo>
                <a:cubicBezTo>
                  <a:pt x="7456" y="2221"/>
                  <a:pt x="7451" y="2204"/>
                  <a:pt x="7451" y="2204"/>
                </a:cubicBezTo>
                <a:cubicBezTo>
                  <a:pt x="7451" y="2204"/>
                  <a:pt x="7446" y="2187"/>
                  <a:pt x="7446" y="2180"/>
                </a:cubicBezTo>
                <a:cubicBezTo>
                  <a:pt x="7446" y="2173"/>
                  <a:pt x="7451" y="2163"/>
                  <a:pt x="7457" y="2158"/>
                </a:cubicBezTo>
                <a:close/>
                <a:moveTo>
                  <a:pt x="7142" y="1987"/>
                </a:moveTo>
                <a:cubicBezTo>
                  <a:pt x="7138" y="1998"/>
                  <a:pt x="7138" y="1998"/>
                  <a:pt x="7138" y="1998"/>
                </a:cubicBezTo>
                <a:cubicBezTo>
                  <a:pt x="7138" y="1998"/>
                  <a:pt x="7153" y="2011"/>
                  <a:pt x="7153" y="2021"/>
                </a:cubicBezTo>
                <a:cubicBezTo>
                  <a:pt x="7153" y="2031"/>
                  <a:pt x="7149" y="2048"/>
                  <a:pt x="7149" y="2048"/>
                </a:cubicBezTo>
                <a:cubicBezTo>
                  <a:pt x="7155" y="2055"/>
                  <a:pt x="7155" y="2055"/>
                  <a:pt x="7155" y="2055"/>
                </a:cubicBezTo>
                <a:cubicBezTo>
                  <a:pt x="7147" y="2060"/>
                  <a:pt x="7147" y="2060"/>
                  <a:pt x="7147" y="2060"/>
                </a:cubicBezTo>
                <a:cubicBezTo>
                  <a:pt x="7152" y="2091"/>
                  <a:pt x="7152" y="2091"/>
                  <a:pt x="7152" y="2091"/>
                </a:cubicBezTo>
                <a:cubicBezTo>
                  <a:pt x="7143" y="2091"/>
                  <a:pt x="7143" y="2091"/>
                  <a:pt x="7143" y="2091"/>
                </a:cubicBezTo>
                <a:cubicBezTo>
                  <a:pt x="7156" y="2102"/>
                  <a:pt x="7156" y="2102"/>
                  <a:pt x="7156" y="2102"/>
                </a:cubicBezTo>
                <a:cubicBezTo>
                  <a:pt x="7172" y="2102"/>
                  <a:pt x="7177" y="2081"/>
                  <a:pt x="7177" y="2081"/>
                </a:cubicBezTo>
                <a:cubicBezTo>
                  <a:pt x="7177" y="2081"/>
                  <a:pt x="7189" y="2097"/>
                  <a:pt x="7198" y="2090"/>
                </a:cubicBezTo>
                <a:cubicBezTo>
                  <a:pt x="7207" y="2083"/>
                  <a:pt x="7203" y="2065"/>
                  <a:pt x="7203" y="2065"/>
                </a:cubicBezTo>
                <a:cubicBezTo>
                  <a:pt x="7207" y="2055"/>
                  <a:pt x="7207" y="2055"/>
                  <a:pt x="7207" y="2055"/>
                </a:cubicBezTo>
                <a:cubicBezTo>
                  <a:pt x="7207" y="2038"/>
                  <a:pt x="7207" y="2038"/>
                  <a:pt x="7207" y="2038"/>
                </a:cubicBezTo>
                <a:cubicBezTo>
                  <a:pt x="7207" y="2038"/>
                  <a:pt x="7201" y="2036"/>
                  <a:pt x="7202" y="2031"/>
                </a:cubicBezTo>
                <a:cubicBezTo>
                  <a:pt x="7203" y="2026"/>
                  <a:pt x="7214" y="2026"/>
                  <a:pt x="7214" y="2019"/>
                </a:cubicBezTo>
                <a:cubicBezTo>
                  <a:pt x="7214" y="2012"/>
                  <a:pt x="7205" y="1980"/>
                  <a:pt x="7193" y="1979"/>
                </a:cubicBezTo>
                <a:cubicBezTo>
                  <a:pt x="7181" y="1978"/>
                  <a:pt x="7169" y="1999"/>
                  <a:pt x="7161" y="1999"/>
                </a:cubicBezTo>
                <a:cubicBezTo>
                  <a:pt x="7153" y="1999"/>
                  <a:pt x="7142" y="1987"/>
                  <a:pt x="7142" y="1987"/>
                </a:cubicBezTo>
                <a:close/>
                <a:moveTo>
                  <a:pt x="4261" y="639"/>
                </a:moveTo>
                <a:cubicBezTo>
                  <a:pt x="4303" y="637"/>
                  <a:pt x="4303" y="637"/>
                  <a:pt x="4303" y="637"/>
                </a:cubicBezTo>
                <a:cubicBezTo>
                  <a:pt x="4303" y="626"/>
                  <a:pt x="4303" y="626"/>
                  <a:pt x="4303" y="626"/>
                </a:cubicBezTo>
                <a:cubicBezTo>
                  <a:pt x="4273" y="628"/>
                  <a:pt x="4273" y="628"/>
                  <a:pt x="4273" y="628"/>
                </a:cubicBezTo>
                <a:lnTo>
                  <a:pt x="4261" y="639"/>
                </a:lnTo>
                <a:close/>
                <a:moveTo>
                  <a:pt x="4261" y="595"/>
                </a:moveTo>
                <a:cubicBezTo>
                  <a:pt x="4234" y="589"/>
                  <a:pt x="4261" y="607"/>
                  <a:pt x="4261" y="607"/>
                </a:cubicBezTo>
                <a:cubicBezTo>
                  <a:pt x="4277" y="605"/>
                  <a:pt x="4289" y="601"/>
                  <a:pt x="4261" y="595"/>
                </a:cubicBezTo>
                <a:close/>
                <a:moveTo>
                  <a:pt x="3805" y="403"/>
                </a:moveTo>
                <a:cubicBezTo>
                  <a:pt x="3830" y="396"/>
                  <a:pt x="3847" y="416"/>
                  <a:pt x="3847" y="416"/>
                </a:cubicBezTo>
                <a:cubicBezTo>
                  <a:pt x="3885" y="411"/>
                  <a:pt x="3885" y="411"/>
                  <a:pt x="3885" y="411"/>
                </a:cubicBezTo>
                <a:cubicBezTo>
                  <a:pt x="3880" y="396"/>
                  <a:pt x="3880" y="396"/>
                  <a:pt x="3880" y="396"/>
                </a:cubicBezTo>
                <a:cubicBezTo>
                  <a:pt x="3880" y="396"/>
                  <a:pt x="3929" y="394"/>
                  <a:pt x="3939" y="382"/>
                </a:cubicBezTo>
                <a:cubicBezTo>
                  <a:pt x="3949" y="371"/>
                  <a:pt x="3966" y="360"/>
                  <a:pt x="3953" y="360"/>
                </a:cubicBezTo>
                <a:cubicBezTo>
                  <a:pt x="3939" y="359"/>
                  <a:pt x="3862" y="350"/>
                  <a:pt x="3821" y="352"/>
                </a:cubicBezTo>
                <a:cubicBezTo>
                  <a:pt x="3782" y="353"/>
                  <a:pt x="3793" y="352"/>
                  <a:pt x="3792" y="360"/>
                </a:cubicBezTo>
                <a:cubicBezTo>
                  <a:pt x="3790" y="369"/>
                  <a:pt x="3776" y="372"/>
                  <a:pt x="3742" y="380"/>
                </a:cubicBezTo>
                <a:cubicBezTo>
                  <a:pt x="3709" y="387"/>
                  <a:pt x="3741" y="388"/>
                  <a:pt x="3739" y="410"/>
                </a:cubicBezTo>
                <a:cubicBezTo>
                  <a:pt x="3727" y="427"/>
                  <a:pt x="3727" y="427"/>
                  <a:pt x="3727" y="427"/>
                </a:cubicBezTo>
                <a:cubicBezTo>
                  <a:pt x="3747" y="439"/>
                  <a:pt x="3747" y="439"/>
                  <a:pt x="3747" y="439"/>
                </a:cubicBezTo>
                <a:cubicBezTo>
                  <a:pt x="3800" y="417"/>
                  <a:pt x="3800" y="417"/>
                  <a:pt x="3800" y="417"/>
                </a:cubicBezTo>
                <a:cubicBezTo>
                  <a:pt x="3800" y="417"/>
                  <a:pt x="3781" y="410"/>
                  <a:pt x="3805" y="403"/>
                </a:cubicBezTo>
                <a:close/>
                <a:moveTo>
                  <a:pt x="4156" y="573"/>
                </a:moveTo>
                <a:cubicBezTo>
                  <a:pt x="4140" y="578"/>
                  <a:pt x="4115" y="589"/>
                  <a:pt x="4139" y="584"/>
                </a:cubicBezTo>
                <a:cubicBezTo>
                  <a:pt x="4162" y="579"/>
                  <a:pt x="4182" y="571"/>
                  <a:pt x="4182" y="571"/>
                </a:cubicBezTo>
                <a:cubicBezTo>
                  <a:pt x="4206" y="553"/>
                  <a:pt x="4172" y="568"/>
                  <a:pt x="4156" y="573"/>
                </a:cubicBezTo>
                <a:close/>
                <a:moveTo>
                  <a:pt x="3888" y="337"/>
                </a:moveTo>
                <a:cubicBezTo>
                  <a:pt x="3899" y="330"/>
                  <a:pt x="3924" y="311"/>
                  <a:pt x="3920" y="303"/>
                </a:cubicBezTo>
                <a:cubicBezTo>
                  <a:pt x="3916" y="294"/>
                  <a:pt x="3882" y="296"/>
                  <a:pt x="3871" y="297"/>
                </a:cubicBezTo>
                <a:cubicBezTo>
                  <a:pt x="3848" y="299"/>
                  <a:pt x="3804" y="314"/>
                  <a:pt x="3816" y="322"/>
                </a:cubicBezTo>
                <a:cubicBezTo>
                  <a:pt x="3828" y="329"/>
                  <a:pt x="3888" y="337"/>
                  <a:pt x="3888" y="337"/>
                </a:cubicBezTo>
                <a:close/>
                <a:moveTo>
                  <a:pt x="4229" y="562"/>
                </a:moveTo>
                <a:cubicBezTo>
                  <a:pt x="4215" y="556"/>
                  <a:pt x="4204" y="575"/>
                  <a:pt x="4217" y="579"/>
                </a:cubicBezTo>
                <a:cubicBezTo>
                  <a:pt x="4217" y="579"/>
                  <a:pt x="4243" y="568"/>
                  <a:pt x="4229" y="562"/>
                </a:cubicBezTo>
                <a:close/>
                <a:moveTo>
                  <a:pt x="4037" y="845"/>
                </a:moveTo>
                <a:cubicBezTo>
                  <a:pt x="4047" y="835"/>
                  <a:pt x="4022" y="831"/>
                  <a:pt x="4022" y="831"/>
                </a:cubicBezTo>
                <a:cubicBezTo>
                  <a:pt x="4022" y="831"/>
                  <a:pt x="4022" y="860"/>
                  <a:pt x="4037" y="845"/>
                </a:cubicBezTo>
                <a:close/>
                <a:moveTo>
                  <a:pt x="4169" y="657"/>
                </a:moveTo>
                <a:cubicBezTo>
                  <a:pt x="4204" y="663"/>
                  <a:pt x="4214" y="656"/>
                  <a:pt x="4229" y="646"/>
                </a:cubicBezTo>
                <a:cubicBezTo>
                  <a:pt x="4245" y="637"/>
                  <a:pt x="4241" y="621"/>
                  <a:pt x="4227" y="617"/>
                </a:cubicBezTo>
                <a:cubicBezTo>
                  <a:pt x="4213" y="614"/>
                  <a:pt x="4180" y="623"/>
                  <a:pt x="4180" y="623"/>
                </a:cubicBezTo>
                <a:cubicBezTo>
                  <a:pt x="4142" y="647"/>
                  <a:pt x="4134" y="652"/>
                  <a:pt x="4169" y="657"/>
                </a:cubicBezTo>
                <a:close/>
                <a:moveTo>
                  <a:pt x="219" y="1307"/>
                </a:moveTo>
                <a:cubicBezTo>
                  <a:pt x="221" y="1293"/>
                  <a:pt x="221" y="1293"/>
                  <a:pt x="221" y="1293"/>
                </a:cubicBezTo>
                <a:cubicBezTo>
                  <a:pt x="184" y="1308"/>
                  <a:pt x="184" y="1308"/>
                  <a:pt x="184" y="1308"/>
                </a:cubicBezTo>
                <a:lnTo>
                  <a:pt x="219" y="1307"/>
                </a:lnTo>
                <a:close/>
                <a:moveTo>
                  <a:pt x="0" y="1365"/>
                </a:moveTo>
                <a:cubicBezTo>
                  <a:pt x="41" y="1359"/>
                  <a:pt x="41" y="1359"/>
                  <a:pt x="41" y="1359"/>
                </a:cubicBezTo>
                <a:cubicBezTo>
                  <a:pt x="49" y="1348"/>
                  <a:pt x="49" y="1348"/>
                  <a:pt x="49" y="1348"/>
                </a:cubicBezTo>
                <a:cubicBezTo>
                  <a:pt x="90" y="1342"/>
                  <a:pt x="90" y="1342"/>
                  <a:pt x="90" y="1342"/>
                </a:cubicBezTo>
                <a:cubicBezTo>
                  <a:pt x="76" y="1328"/>
                  <a:pt x="76" y="1328"/>
                  <a:pt x="76" y="1328"/>
                </a:cubicBezTo>
                <a:lnTo>
                  <a:pt x="0" y="1365"/>
                </a:lnTo>
                <a:close/>
                <a:moveTo>
                  <a:pt x="525" y="1021"/>
                </a:moveTo>
                <a:cubicBezTo>
                  <a:pt x="547" y="1019"/>
                  <a:pt x="594" y="998"/>
                  <a:pt x="578" y="994"/>
                </a:cubicBezTo>
                <a:cubicBezTo>
                  <a:pt x="561" y="989"/>
                  <a:pt x="539" y="986"/>
                  <a:pt x="533" y="992"/>
                </a:cubicBezTo>
                <a:cubicBezTo>
                  <a:pt x="527" y="998"/>
                  <a:pt x="514" y="985"/>
                  <a:pt x="510" y="996"/>
                </a:cubicBezTo>
                <a:cubicBezTo>
                  <a:pt x="507" y="1007"/>
                  <a:pt x="513" y="1022"/>
                  <a:pt x="525" y="1021"/>
                </a:cubicBezTo>
                <a:close/>
                <a:moveTo>
                  <a:pt x="107" y="1339"/>
                </a:moveTo>
                <a:cubicBezTo>
                  <a:pt x="135" y="1338"/>
                  <a:pt x="135" y="1338"/>
                  <a:pt x="135" y="1338"/>
                </a:cubicBezTo>
                <a:cubicBezTo>
                  <a:pt x="161" y="1319"/>
                  <a:pt x="161" y="1319"/>
                  <a:pt x="161" y="1319"/>
                </a:cubicBezTo>
                <a:cubicBezTo>
                  <a:pt x="152" y="1308"/>
                  <a:pt x="152" y="1308"/>
                  <a:pt x="152" y="1308"/>
                </a:cubicBezTo>
                <a:lnTo>
                  <a:pt x="107" y="1339"/>
                </a:lnTo>
                <a:close/>
                <a:moveTo>
                  <a:pt x="331" y="1256"/>
                </a:moveTo>
                <a:cubicBezTo>
                  <a:pt x="319" y="1256"/>
                  <a:pt x="290" y="1267"/>
                  <a:pt x="290" y="1267"/>
                </a:cubicBezTo>
                <a:cubicBezTo>
                  <a:pt x="290" y="1267"/>
                  <a:pt x="253" y="1281"/>
                  <a:pt x="254" y="1288"/>
                </a:cubicBezTo>
                <a:cubicBezTo>
                  <a:pt x="256" y="1297"/>
                  <a:pt x="270" y="1291"/>
                  <a:pt x="289" y="1285"/>
                </a:cubicBezTo>
                <a:cubicBezTo>
                  <a:pt x="308" y="1278"/>
                  <a:pt x="328" y="1288"/>
                  <a:pt x="335" y="1282"/>
                </a:cubicBezTo>
                <a:cubicBezTo>
                  <a:pt x="342" y="1276"/>
                  <a:pt x="344" y="1256"/>
                  <a:pt x="331" y="1256"/>
                </a:cubicBezTo>
                <a:close/>
                <a:moveTo>
                  <a:pt x="908" y="1114"/>
                </a:moveTo>
                <a:cubicBezTo>
                  <a:pt x="905" y="1115"/>
                  <a:pt x="892" y="1120"/>
                  <a:pt x="892" y="1120"/>
                </a:cubicBezTo>
                <a:cubicBezTo>
                  <a:pt x="892" y="1120"/>
                  <a:pt x="884" y="1113"/>
                  <a:pt x="879" y="1114"/>
                </a:cubicBezTo>
                <a:cubicBezTo>
                  <a:pt x="874" y="1115"/>
                  <a:pt x="875" y="1130"/>
                  <a:pt x="875" y="1130"/>
                </a:cubicBezTo>
                <a:cubicBezTo>
                  <a:pt x="859" y="1142"/>
                  <a:pt x="859" y="1142"/>
                  <a:pt x="859" y="1142"/>
                </a:cubicBezTo>
                <a:cubicBezTo>
                  <a:pt x="859" y="1125"/>
                  <a:pt x="859" y="1125"/>
                  <a:pt x="859" y="1125"/>
                </a:cubicBezTo>
                <a:cubicBezTo>
                  <a:pt x="859" y="1125"/>
                  <a:pt x="845" y="1120"/>
                  <a:pt x="831" y="1133"/>
                </a:cubicBezTo>
                <a:cubicBezTo>
                  <a:pt x="831" y="1133"/>
                  <a:pt x="814" y="1144"/>
                  <a:pt x="811" y="1151"/>
                </a:cubicBezTo>
                <a:cubicBezTo>
                  <a:pt x="809" y="1159"/>
                  <a:pt x="831" y="1160"/>
                  <a:pt x="831" y="1160"/>
                </a:cubicBezTo>
                <a:cubicBezTo>
                  <a:pt x="831" y="1160"/>
                  <a:pt x="861" y="1160"/>
                  <a:pt x="872" y="1155"/>
                </a:cubicBezTo>
                <a:cubicBezTo>
                  <a:pt x="884" y="1150"/>
                  <a:pt x="881" y="1143"/>
                  <a:pt x="881" y="1143"/>
                </a:cubicBezTo>
                <a:cubicBezTo>
                  <a:pt x="899" y="1140"/>
                  <a:pt x="899" y="1140"/>
                  <a:pt x="899" y="1140"/>
                </a:cubicBezTo>
                <a:cubicBezTo>
                  <a:pt x="900" y="1134"/>
                  <a:pt x="900" y="1134"/>
                  <a:pt x="900" y="1134"/>
                </a:cubicBezTo>
                <a:cubicBezTo>
                  <a:pt x="925" y="1133"/>
                  <a:pt x="925" y="1133"/>
                  <a:pt x="925" y="1133"/>
                </a:cubicBezTo>
                <a:cubicBezTo>
                  <a:pt x="931" y="1117"/>
                  <a:pt x="931" y="1117"/>
                  <a:pt x="931" y="1117"/>
                </a:cubicBezTo>
                <a:cubicBezTo>
                  <a:pt x="920" y="1119"/>
                  <a:pt x="920" y="1119"/>
                  <a:pt x="920" y="1119"/>
                </a:cubicBezTo>
                <a:cubicBezTo>
                  <a:pt x="920" y="1119"/>
                  <a:pt x="912" y="1113"/>
                  <a:pt x="908" y="1114"/>
                </a:cubicBezTo>
                <a:close/>
                <a:moveTo>
                  <a:pt x="3018" y="262"/>
                </a:moveTo>
                <a:cubicBezTo>
                  <a:pt x="3018" y="262"/>
                  <a:pt x="3056" y="255"/>
                  <a:pt x="3065" y="261"/>
                </a:cubicBezTo>
                <a:cubicBezTo>
                  <a:pt x="3075" y="267"/>
                  <a:pt x="3069" y="277"/>
                  <a:pt x="3081" y="277"/>
                </a:cubicBezTo>
                <a:cubicBezTo>
                  <a:pt x="3094" y="277"/>
                  <a:pt x="3116" y="272"/>
                  <a:pt x="3116" y="272"/>
                </a:cubicBezTo>
                <a:cubicBezTo>
                  <a:pt x="3116" y="272"/>
                  <a:pt x="3132" y="281"/>
                  <a:pt x="3147" y="274"/>
                </a:cubicBezTo>
                <a:cubicBezTo>
                  <a:pt x="3163" y="268"/>
                  <a:pt x="3160" y="251"/>
                  <a:pt x="3160" y="251"/>
                </a:cubicBezTo>
                <a:cubicBezTo>
                  <a:pt x="3182" y="251"/>
                  <a:pt x="3182" y="251"/>
                  <a:pt x="3182" y="251"/>
                </a:cubicBezTo>
                <a:cubicBezTo>
                  <a:pt x="3226" y="237"/>
                  <a:pt x="3226" y="237"/>
                  <a:pt x="3226" y="237"/>
                </a:cubicBezTo>
                <a:cubicBezTo>
                  <a:pt x="3201" y="260"/>
                  <a:pt x="3201" y="260"/>
                  <a:pt x="3201" y="260"/>
                </a:cubicBezTo>
                <a:cubicBezTo>
                  <a:pt x="3236" y="266"/>
                  <a:pt x="3236" y="266"/>
                  <a:pt x="3236" y="266"/>
                </a:cubicBezTo>
                <a:cubicBezTo>
                  <a:pt x="3273" y="251"/>
                  <a:pt x="3273" y="251"/>
                  <a:pt x="3273" y="251"/>
                </a:cubicBezTo>
                <a:cubicBezTo>
                  <a:pt x="3336" y="222"/>
                  <a:pt x="3336" y="222"/>
                  <a:pt x="3336" y="222"/>
                </a:cubicBezTo>
                <a:cubicBezTo>
                  <a:pt x="3336" y="222"/>
                  <a:pt x="3288" y="207"/>
                  <a:pt x="3279" y="207"/>
                </a:cubicBezTo>
                <a:cubicBezTo>
                  <a:pt x="3269" y="207"/>
                  <a:pt x="3216" y="203"/>
                  <a:pt x="3216" y="203"/>
                </a:cubicBezTo>
                <a:cubicBezTo>
                  <a:pt x="3165" y="211"/>
                  <a:pt x="3165" y="211"/>
                  <a:pt x="3165" y="211"/>
                </a:cubicBezTo>
                <a:cubicBezTo>
                  <a:pt x="3162" y="225"/>
                  <a:pt x="3162" y="225"/>
                  <a:pt x="3162" y="225"/>
                </a:cubicBezTo>
                <a:cubicBezTo>
                  <a:pt x="3084" y="231"/>
                  <a:pt x="3084" y="231"/>
                  <a:pt x="3084" y="231"/>
                </a:cubicBezTo>
                <a:cubicBezTo>
                  <a:pt x="3084" y="231"/>
                  <a:pt x="3058" y="222"/>
                  <a:pt x="3036" y="226"/>
                </a:cubicBezTo>
                <a:cubicBezTo>
                  <a:pt x="3014" y="229"/>
                  <a:pt x="3017" y="237"/>
                  <a:pt x="3017" y="237"/>
                </a:cubicBezTo>
                <a:cubicBezTo>
                  <a:pt x="3017" y="242"/>
                  <a:pt x="3018" y="262"/>
                  <a:pt x="3018" y="262"/>
                </a:cubicBezTo>
                <a:close/>
                <a:moveTo>
                  <a:pt x="3472" y="227"/>
                </a:moveTo>
                <a:cubicBezTo>
                  <a:pt x="3534" y="231"/>
                  <a:pt x="3529" y="212"/>
                  <a:pt x="3529" y="212"/>
                </a:cubicBezTo>
                <a:cubicBezTo>
                  <a:pt x="3525" y="202"/>
                  <a:pt x="3525" y="202"/>
                  <a:pt x="3525" y="202"/>
                </a:cubicBezTo>
                <a:cubicBezTo>
                  <a:pt x="3571" y="197"/>
                  <a:pt x="3571" y="197"/>
                  <a:pt x="3571" y="197"/>
                </a:cubicBezTo>
                <a:cubicBezTo>
                  <a:pt x="3560" y="189"/>
                  <a:pt x="3560" y="189"/>
                  <a:pt x="3560" y="189"/>
                </a:cubicBezTo>
                <a:cubicBezTo>
                  <a:pt x="3515" y="191"/>
                  <a:pt x="3515" y="191"/>
                  <a:pt x="3515" y="191"/>
                </a:cubicBezTo>
                <a:cubicBezTo>
                  <a:pt x="3507" y="199"/>
                  <a:pt x="3507" y="199"/>
                  <a:pt x="3507" y="199"/>
                </a:cubicBezTo>
                <a:cubicBezTo>
                  <a:pt x="3507" y="199"/>
                  <a:pt x="3448" y="186"/>
                  <a:pt x="3441" y="202"/>
                </a:cubicBezTo>
                <a:cubicBezTo>
                  <a:pt x="3435" y="218"/>
                  <a:pt x="3472" y="227"/>
                  <a:pt x="3472" y="227"/>
                </a:cubicBezTo>
                <a:close/>
                <a:moveTo>
                  <a:pt x="3267" y="270"/>
                </a:moveTo>
                <a:cubicBezTo>
                  <a:pt x="3231" y="288"/>
                  <a:pt x="3231" y="288"/>
                  <a:pt x="3231" y="288"/>
                </a:cubicBezTo>
                <a:cubicBezTo>
                  <a:pt x="3231" y="288"/>
                  <a:pt x="3266" y="294"/>
                  <a:pt x="3250" y="297"/>
                </a:cubicBezTo>
                <a:cubicBezTo>
                  <a:pt x="3234" y="301"/>
                  <a:pt x="3176" y="305"/>
                  <a:pt x="3176" y="305"/>
                </a:cubicBezTo>
                <a:cubicBezTo>
                  <a:pt x="3162" y="321"/>
                  <a:pt x="3162" y="321"/>
                  <a:pt x="3162" y="321"/>
                </a:cubicBezTo>
                <a:cubicBezTo>
                  <a:pt x="3199" y="316"/>
                  <a:pt x="3199" y="316"/>
                  <a:pt x="3199" y="316"/>
                </a:cubicBezTo>
                <a:cubicBezTo>
                  <a:pt x="3199" y="316"/>
                  <a:pt x="3214" y="321"/>
                  <a:pt x="3233" y="324"/>
                </a:cubicBezTo>
                <a:cubicBezTo>
                  <a:pt x="3252" y="327"/>
                  <a:pt x="3308" y="308"/>
                  <a:pt x="3308" y="308"/>
                </a:cubicBezTo>
                <a:cubicBezTo>
                  <a:pt x="3306" y="317"/>
                  <a:pt x="3306" y="317"/>
                  <a:pt x="3306" y="317"/>
                </a:cubicBezTo>
                <a:cubicBezTo>
                  <a:pt x="3306" y="317"/>
                  <a:pt x="3344" y="312"/>
                  <a:pt x="3374" y="310"/>
                </a:cubicBezTo>
                <a:cubicBezTo>
                  <a:pt x="3402" y="308"/>
                  <a:pt x="3377" y="315"/>
                  <a:pt x="3367" y="317"/>
                </a:cubicBezTo>
                <a:cubicBezTo>
                  <a:pt x="3357" y="318"/>
                  <a:pt x="3323" y="322"/>
                  <a:pt x="3298" y="325"/>
                </a:cubicBezTo>
                <a:cubicBezTo>
                  <a:pt x="3273" y="328"/>
                  <a:pt x="3242" y="339"/>
                  <a:pt x="3242" y="339"/>
                </a:cubicBezTo>
                <a:cubicBezTo>
                  <a:pt x="3242" y="339"/>
                  <a:pt x="3270" y="344"/>
                  <a:pt x="3320" y="346"/>
                </a:cubicBezTo>
                <a:cubicBezTo>
                  <a:pt x="3368" y="347"/>
                  <a:pt x="3402" y="326"/>
                  <a:pt x="3402" y="326"/>
                </a:cubicBezTo>
                <a:cubicBezTo>
                  <a:pt x="3452" y="313"/>
                  <a:pt x="3452" y="313"/>
                  <a:pt x="3452" y="313"/>
                </a:cubicBezTo>
                <a:cubicBezTo>
                  <a:pt x="3452" y="313"/>
                  <a:pt x="3469" y="319"/>
                  <a:pt x="3517" y="313"/>
                </a:cubicBezTo>
                <a:cubicBezTo>
                  <a:pt x="3563" y="307"/>
                  <a:pt x="3566" y="297"/>
                  <a:pt x="3585" y="292"/>
                </a:cubicBezTo>
                <a:cubicBezTo>
                  <a:pt x="3603" y="287"/>
                  <a:pt x="3588" y="267"/>
                  <a:pt x="3568" y="267"/>
                </a:cubicBezTo>
                <a:cubicBezTo>
                  <a:pt x="3548" y="268"/>
                  <a:pt x="3554" y="281"/>
                  <a:pt x="3554" y="281"/>
                </a:cubicBezTo>
                <a:cubicBezTo>
                  <a:pt x="3527" y="280"/>
                  <a:pt x="3527" y="280"/>
                  <a:pt x="3527" y="280"/>
                </a:cubicBezTo>
                <a:cubicBezTo>
                  <a:pt x="3527" y="280"/>
                  <a:pt x="3532" y="273"/>
                  <a:pt x="3537" y="265"/>
                </a:cubicBezTo>
                <a:cubicBezTo>
                  <a:pt x="3542" y="257"/>
                  <a:pt x="3555" y="242"/>
                  <a:pt x="3543" y="242"/>
                </a:cubicBezTo>
                <a:cubicBezTo>
                  <a:pt x="3531" y="241"/>
                  <a:pt x="3506" y="252"/>
                  <a:pt x="3473" y="262"/>
                </a:cubicBezTo>
                <a:cubicBezTo>
                  <a:pt x="3439" y="272"/>
                  <a:pt x="3494" y="269"/>
                  <a:pt x="3494" y="269"/>
                </a:cubicBezTo>
                <a:cubicBezTo>
                  <a:pt x="3491" y="285"/>
                  <a:pt x="3491" y="285"/>
                  <a:pt x="3491" y="285"/>
                </a:cubicBezTo>
                <a:cubicBezTo>
                  <a:pt x="3411" y="295"/>
                  <a:pt x="3411" y="295"/>
                  <a:pt x="3411" y="295"/>
                </a:cubicBezTo>
                <a:cubicBezTo>
                  <a:pt x="3411" y="295"/>
                  <a:pt x="3405" y="275"/>
                  <a:pt x="3410" y="266"/>
                </a:cubicBezTo>
                <a:cubicBezTo>
                  <a:pt x="3414" y="257"/>
                  <a:pt x="3357" y="253"/>
                  <a:pt x="3357" y="253"/>
                </a:cubicBezTo>
                <a:lnTo>
                  <a:pt x="3267" y="270"/>
                </a:lnTo>
                <a:close/>
                <a:moveTo>
                  <a:pt x="2745" y="467"/>
                </a:moveTo>
                <a:cubicBezTo>
                  <a:pt x="2750" y="479"/>
                  <a:pt x="2720" y="495"/>
                  <a:pt x="2748" y="491"/>
                </a:cubicBezTo>
                <a:cubicBezTo>
                  <a:pt x="2776" y="487"/>
                  <a:pt x="2810" y="475"/>
                  <a:pt x="2810" y="475"/>
                </a:cubicBezTo>
                <a:cubicBezTo>
                  <a:pt x="2836" y="481"/>
                  <a:pt x="2836" y="481"/>
                  <a:pt x="2836" y="481"/>
                </a:cubicBezTo>
                <a:cubicBezTo>
                  <a:pt x="2887" y="443"/>
                  <a:pt x="2887" y="443"/>
                  <a:pt x="2887" y="443"/>
                </a:cubicBezTo>
                <a:cubicBezTo>
                  <a:pt x="2975" y="415"/>
                  <a:pt x="2975" y="415"/>
                  <a:pt x="2975" y="415"/>
                </a:cubicBezTo>
                <a:cubicBezTo>
                  <a:pt x="3058" y="392"/>
                  <a:pt x="3058" y="392"/>
                  <a:pt x="3058" y="392"/>
                </a:cubicBezTo>
                <a:cubicBezTo>
                  <a:pt x="3124" y="379"/>
                  <a:pt x="3124" y="379"/>
                  <a:pt x="3124" y="379"/>
                </a:cubicBezTo>
                <a:cubicBezTo>
                  <a:pt x="3124" y="379"/>
                  <a:pt x="3085" y="347"/>
                  <a:pt x="3082" y="343"/>
                </a:cubicBezTo>
                <a:cubicBezTo>
                  <a:pt x="3078" y="340"/>
                  <a:pt x="3031" y="346"/>
                  <a:pt x="3031" y="346"/>
                </a:cubicBezTo>
                <a:cubicBezTo>
                  <a:pt x="2987" y="352"/>
                  <a:pt x="2987" y="352"/>
                  <a:pt x="2987" y="352"/>
                </a:cubicBezTo>
                <a:cubicBezTo>
                  <a:pt x="2963" y="334"/>
                  <a:pt x="2963" y="334"/>
                  <a:pt x="2963" y="334"/>
                </a:cubicBezTo>
                <a:cubicBezTo>
                  <a:pt x="2909" y="341"/>
                  <a:pt x="2909" y="341"/>
                  <a:pt x="2909" y="341"/>
                </a:cubicBezTo>
                <a:cubicBezTo>
                  <a:pt x="2875" y="351"/>
                  <a:pt x="2875" y="351"/>
                  <a:pt x="2875" y="351"/>
                </a:cubicBezTo>
                <a:cubicBezTo>
                  <a:pt x="2865" y="364"/>
                  <a:pt x="2865" y="364"/>
                  <a:pt x="2865" y="364"/>
                </a:cubicBezTo>
                <a:cubicBezTo>
                  <a:pt x="2854" y="384"/>
                  <a:pt x="2854" y="384"/>
                  <a:pt x="2854" y="384"/>
                </a:cubicBezTo>
                <a:cubicBezTo>
                  <a:pt x="2822" y="393"/>
                  <a:pt x="2822" y="393"/>
                  <a:pt x="2822" y="393"/>
                </a:cubicBezTo>
                <a:cubicBezTo>
                  <a:pt x="2776" y="406"/>
                  <a:pt x="2776" y="406"/>
                  <a:pt x="2776" y="406"/>
                </a:cubicBezTo>
                <a:cubicBezTo>
                  <a:pt x="2789" y="414"/>
                  <a:pt x="2789" y="414"/>
                  <a:pt x="2789" y="414"/>
                </a:cubicBezTo>
                <a:cubicBezTo>
                  <a:pt x="2709" y="450"/>
                  <a:pt x="2709" y="450"/>
                  <a:pt x="2709" y="450"/>
                </a:cubicBezTo>
                <a:cubicBezTo>
                  <a:pt x="2709" y="450"/>
                  <a:pt x="2741" y="455"/>
                  <a:pt x="2745" y="467"/>
                </a:cubicBezTo>
                <a:close/>
                <a:moveTo>
                  <a:pt x="3369" y="243"/>
                </a:moveTo>
                <a:cubicBezTo>
                  <a:pt x="3387" y="228"/>
                  <a:pt x="3368" y="219"/>
                  <a:pt x="3350" y="229"/>
                </a:cubicBezTo>
                <a:cubicBezTo>
                  <a:pt x="3331" y="239"/>
                  <a:pt x="3369" y="243"/>
                  <a:pt x="3369" y="243"/>
                </a:cubicBezTo>
                <a:close/>
                <a:moveTo>
                  <a:pt x="3556" y="183"/>
                </a:moveTo>
                <a:cubicBezTo>
                  <a:pt x="3566" y="182"/>
                  <a:pt x="3595" y="190"/>
                  <a:pt x="3597" y="182"/>
                </a:cubicBezTo>
                <a:cubicBezTo>
                  <a:pt x="3599" y="173"/>
                  <a:pt x="3589" y="167"/>
                  <a:pt x="3573" y="167"/>
                </a:cubicBezTo>
                <a:cubicBezTo>
                  <a:pt x="3556" y="167"/>
                  <a:pt x="3491" y="178"/>
                  <a:pt x="3491" y="178"/>
                </a:cubicBezTo>
                <a:cubicBezTo>
                  <a:pt x="3491" y="178"/>
                  <a:pt x="3547" y="184"/>
                  <a:pt x="3556" y="183"/>
                </a:cubicBezTo>
                <a:close/>
                <a:moveTo>
                  <a:pt x="4268" y="416"/>
                </a:moveTo>
                <a:cubicBezTo>
                  <a:pt x="4284" y="422"/>
                  <a:pt x="4306" y="408"/>
                  <a:pt x="4306" y="408"/>
                </a:cubicBezTo>
                <a:cubicBezTo>
                  <a:pt x="4347" y="407"/>
                  <a:pt x="4347" y="407"/>
                  <a:pt x="4347" y="407"/>
                </a:cubicBezTo>
                <a:cubicBezTo>
                  <a:pt x="4347" y="407"/>
                  <a:pt x="4373" y="417"/>
                  <a:pt x="4381" y="411"/>
                </a:cubicBezTo>
                <a:cubicBezTo>
                  <a:pt x="4388" y="406"/>
                  <a:pt x="4382" y="383"/>
                  <a:pt x="4365" y="379"/>
                </a:cubicBezTo>
                <a:cubicBezTo>
                  <a:pt x="4347" y="375"/>
                  <a:pt x="4331" y="380"/>
                  <a:pt x="4331" y="380"/>
                </a:cubicBezTo>
                <a:cubicBezTo>
                  <a:pt x="4305" y="380"/>
                  <a:pt x="4305" y="380"/>
                  <a:pt x="4305" y="380"/>
                </a:cubicBezTo>
                <a:cubicBezTo>
                  <a:pt x="4305" y="380"/>
                  <a:pt x="4275" y="368"/>
                  <a:pt x="4264" y="377"/>
                </a:cubicBezTo>
                <a:cubicBezTo>
                  <a:pt x="4254" y="385"/>
                  <a:pt x="4250" y="391"/>
                  <a:pt x="4250" y="391"/>
                </a:cubicBezTo>
                <a:cubicBezTo>
                  <a:pt x="4263" y="398"/>
                  <a:pt x="4263" y="398"/>
                  <a:pt x="4263" y="398"/>
                </a:cubicBezTo>
                <a:cubicBezTo>
                  <a:pt x="4263" y="398"/>
                  <a:pt x="4254" y="410"/>
                  <a:pt x="4268" y="416"/>
                </a:cubicBezTo>
                <a:close/>
                <a:moveTo>
                  <a:pt x="4008" y="114"/>
                </a:moveTo>
                <a:cubicBezTo>
                  <a:pt x="3971" y="118"/>
                  <a:pt x="3971" y="118"/>
                  <a:pt x="3971" y="118"/>
                </a:cubicBezTo>
                <a:cubicBezTo>
                  <a:pt x="3985" y="136"/>
                  <a:pt x="3985" y="136"/>
                  <a:pt x="3985" y="136"/>
                </a:cubicBezTo>
                <a:lnTo>
                  <a:pt x="4008" y="114"/>
                </a:lnTo>
                <a:close/>
                <a:moveTo>
                  <a:pt x="3411" y="512"/>
                </a:moveTo>
                <a:cubicBezTo>
                  <a:pt x="3409" y="506"/>
                  <a:pt x="3344" y="507"/>
                  <a:pt x="3344" y="507"/>
                </a:cubicBezTo>
                <a:cubicBezTo>
                  <a:pt x="3397" y="479"/>
                  <a:pt x="3397" y="479"/>
                  <a:pt x="3397" y="479"/>
                </a:cubicBezTo>
                <a:cubicBezTo>
                  <a:pt x="3397" y="479"/>
                  <a:pt x="3429" y="405"/>
                  <a:pt x="3400" y="396"/>
                </a:cubicBezTo>
                <a:cubicBezTo>
                  <a:pt x="3373" y="388"/>
                  <a:pt x="3334" y="406"/>
                  <a:pt x="3334" y="406"/>
                </a:cubicBezTo>
                <a:cubicBezTo>
                  <a:pt x="3334" y="406"/>
                  <a:pt x="3308" y="460"/>
                  <a:pt x="3284" y="463"/>
                </a:cubicBezTo>
                <a:cubicBezTo>
                  <a:pt x="3260" y="466"/>
                  <a:pt x="3300" y="426"/>
                  <a:pt x="3298" y="416"/>
                </a:cubicBezTo>
                <a:cubicBezTo>
                  <a:pt x="3296" y="406"/>
                  <a:pt x="3232" y="405"/>
                  <a:pt x="3232" y="405"/>
                </a:cubicBezTo>
                <a:cubicBezTo>
                  <a:pt x="3226" y="418"/>
                  <a:pt x="3226" y="418"/>
                  <a:pt x="3226" y="418"/>
                </a:cubicBezTo>
                <a:cubicBezTo>
                  <a:pt x="3226" y="418"/>
                  <a:pt x="3190" y="433"/>
                  <a:pt x="3153" y="436"/>
                </a:cubicBezTo>
                <a:cubicBezTo>
                  <a:pt x="3117" y="438"/>
                  <a:pt x="3169" y="425"/>
                  <a:pt x="3205" y="413"/>
                </a:cubicBezTo>
                <a:cubicBezTo>
                  <a:pt x="3243" y="401"/>
                  <a:pt x="3186" y="399"/>
                  <a:pt x="3186" y="399"/>
                </a:cubicBezTo>
                <a:cubicBezTo>
                  <a:pt x="3146" y="411"/>
                  <a:pt x="3146" y="411"/>
                  <a:pt x="3146" y="411"/>
                </a:cubicBezTo>
                <a:cubicBezTo>
                  <a:pt x="3118" y="414"/>
                  <a:pt x="3118" y="414"/>
                  <a:pt x="3118" y="414"/>
                </a:cubicBezTo>
                <a:cubicBezTo>
                  <a:pt x="3118" y="414"/>
                  <a:pt x="3133" y="404"/>
                  <a:pt x="3149" y="393"/>
                </a:cubicBezTo>
                <a:cubicBezTo>
                  <a:pt x="3164" y="382"/>
                  <a:pt x="3145" y="384"/>
                  <a:pt x="3145" y="384"/>
                </a:cubicBezTo>
                <a:cubicBezTo>
                  <a:pt x="3046" y="415"/>
                  <a:pt x="3046" y="415"/>
                  <a:pt x="3046" y="415"/>
                </a:cubicBezTo>
                <a:cubicBezTo>
                  <a:pt x="3032" y="416"/>
                  <a:pt x="3032" y="416"/>
                  <a:pt x="3032" y="416"/>
                </a:cubicBezTo>
                <a:cubicBezTo>
                  <a:pt x="2976" y="433"/>
                  <a:pt x="2976" y="433"/>
                  <a:pt x="2976" y="433"/>
                </a:cubicBezTo>
                <a:cubicBezTo>
                  <a:pt x="2978" y="441"/>
                  <a:pt x="2978" y="441"/>
                  <a:pt x="2978" y="441"/>
                </a:cubicBezTo>
                <a:cubicBezTo>
                  <a:pt x="2938" y="456"/>
                  <a:pt x="2938" y="456"/>
                  <a:pt x="2938" y="456"/>
                </a:cubicBezTo>
                <a:cubicBezTo>
                  <a:pt x="2929" y="466"/>
                  <a:pt x="2929" y="466"/>
                  <a:pt x="2929" y="466"/>
                </a:cubicBezTo>
                <a:cubicBezTo>
                  <a:pt x="2947" y="474"/>
                  <a:pt x="2947" y="474"/>
                  <a:pt x="2947" y="474"/>
                </a:cubicBezTo>
                <a:cubicBezTo>
                  <a:pt x="2947" y="474"/>
                  <a:pt x="2969" y="459"/>
                  <a:pt x="2974" y="471"/>
                </a:cubicBezTo>
                <a:cubicBezTo>
                  <a:pt x="2979" y="483"/>
                  <a:pt x="2933" y="477"/>
                  <a:pt x="2922" y="496"/>
                </a:cubicBezTo>
                <a:cubicBezTo>
                  <a:pt x="2910" y="516"/>
                  <a:pt x="3069" y="497"/>
                  <a:pt x="3047" y="515"/>
                </a:cubicBezTo>
                <a:cubicBezTo>
                  <a:pt x="3026" y="532"/>
                  <a:pt x="2899" y="521"/>
                  <a:pt x="2888" y="538"/>
                </a:cubicBezTo>
                <a:cubicBezTo>
                  <a:pt x="2877" y="555"/>
                  <a:pt x="2909" y="553"/>
                  <a:pt x="2932" y="565"/>
                </a:cubicBezTo>
                <a:cubicBezTo>
                  <a:pt x="2955" y="577"/>
                  <a:pt x="2920" y="570"/>
                  <a:pt x="2916" y="587"/>
                </a:cubicBezTo>
                <a:cubicBezTo>
                  <a:pt x="2912" y="603"/>
                  <a:pt x="3015" y="595"/>
                  <a:pt x="3015" y="595"/>
                </a:cubicBezTo>
                <a:cubicBezTo>
                  <a:pt x="3015" y="595"/>
                  <a:pt x="3184" y="579"/>
                  <a:pt x="3223" y="567"/>
                </a:cubicBezTo>
                <a:cubicBezTo>
                  <a:pt x="3250" y="558"/>
                  <a:pt x="3301" y="596"/>
                  <a:pt x="3333" y="599"/>
                </a:cubicBezTo>
                <a:cubicBezTo>
                  <a:pt x="3366" y="601"/>
                  <a:pt x="3377" y="564"/>
                  <a:pt x="3377" y="564"/>
                </a:cubicBezTo>
                <a:cubicBezTo>
                  <a:pt x="3325" y="563"/>
                  <a:pt x="3325" y="563"/>
                  <a:pt x="3325" y="563"/>
                </a:cubicBezTo>
                <a:cubicBezTo>
                  <a:pt x="3347" y="546"/>
                  <a:pt x="3347" y="546"/>
                  <a:pt x="3347" y="546"/>
                </a:cubicBezTo>
                <a:cubicBezTo>
                  <a:pt x="3347" y="546"/>
                  <a:pt x="3379" y="552"/>
                  <a:pt x="3411" y="545"/>
                </a:cubicBezTo>
                <a:cubicBezTo>
                  <a:pt x="3444" y="538"/>
                  <a:pt x="3413" y="519"/>
                  <a:pt x="3411" y="512"/>
                </a:cubicBezTo>
                <a:close/>
                <a:moveTo>
                  <a:pt x="3970" y="239"/>
                </a:moveTo>
                <a:cubicBezTo>
                  <a:pt x="3966" y="239"/>
                  <a:pt x="3958" y="235"/>
                  <a:pt x="3958" y="235"/>
                </a:cubicBezTo>
                <a:cubicBezTo>
                  <a:pt x="3958" y="235"/>
                  <a:pt x="3898" y="235"/>
                  <a:pt x="3898" y="243"/>
                </a:cubicBezTo>
                <a:cubicBezTo>
                  <a:pt x="3898" y="252"/>
                  <a:pt x="3917" y="254"/>
                  <a:pt x="3917" y="254"/>
                </a:cubicBezTo>
                <a:cubicBezTo>
                  <a:pt x="3918" y="266"/>
                  <a:pt x="3918" y="266"/>
                  <a:pt x="3918" y="266"/>
                </a:cubicBezTo>
                <a:cubicBezTo>
                  <a:pt x="3918" y="266"/>
                  <a:pt x="3968" y="271"/>
                  <a:pt x="3972" y="269"/>
                </a:cubicBezTo>
                <a:cubicBezTo>
                  <a:pt x="3976" y="267"/>
                  <a:pt x="3988" y="268"/>
                  <a:pt x="3994" y="268"/>
                </a:cubicBezTo>
                <a:cubicBezTo>
                  <a:pt x="3992" y="276"/>
                  <a:pt x="3990" y="287"/>
                  <a:pt x="3990" y="287"/>
                </a:cubicBezTo>
                <a:cubicBezTo>
                  <a:pt x="3953" y="314"/>
                  <a:pt x="3953" y="314"/>
                  <a:pt x="3953" y="314"/>
                </a:cubicBezTo>
                <a:cubicBezTo>
                  <a:pt x="3967" y="320"/>
                  <a:pt x="3967" y="320"/>
                  <a:pt x="3967" y="320"/>
                </a:cubicBezTo>
                <a:cubicBezTo>
                  <a:pt x="3967" y="320"/>
                  <a:pt x="3943" y="335"/>
                  <a:pt x="3955" y="335"/>
                </a:cubicBezTo>
                <a:cubicBezTo>
                  <a:pt x="3967" y="335"/>
                  <a:pt x="3985" y="325"/>
                  <a:pt x="3985" y="325"/>
                </a:cubicBezTo>
                <a:cubicBezTo>
                  <a:pt x="3985" y="325"/>
                  <a:pt x="3976" y="338"/>
                  <a:pt x="3995" y="337"/>
                </a:cubicBezTo>
                <a:cubicBezTo>
                  <a:pt x="4014" y="336"/>
                  <a:pt x="4050" y="324"/>
                  <a:pt x="4050" y="324"/>
                </a:cubicBezTo>
                <a:cubicBezTo>
                  <a:pt x="4051" y="338"/>
                  <a:pt x="4051" y="338"/>
                  <a:pt x="4051" y="338"/>
                </a:cubicBezTo>
                <a:cubicBezTo>
                  <a:pt x="4096" y="335"/>
                  <a:pt x="4096" y="335"/>
                  <a:pt x="4096" y="335"/>
                </a:cubicBezTo>
                <a:cubicBezTo>
                  <a:pt x="4149" y="345"/>
                  <a:pt x="4149" y="345"/>
                  <a:pt x="4149" y="345"/>
                </a:cubicBezTo>
                <a:cubicBezTo>
                  <a:pt x="4213" y="340"/>
                  <a:pt x="4213" y="340"/>
                  <a:pt x="4213" y="340"/>
                </a:cubicBezTo>
                <a:cubicBezTo>
                  <a:pt x="4231" y="325"/>
                  <a:pt x="4231" y="325"/>
                  <a:pt x="4231" y="325"/>
                </a:cubicBezTo>
                <a:cubicBezTo>
                  <a:pt x="4231" y="325"/>
                  <a:pt x="4220" y="339"/>
                  <a:pt x="4233" y="340"/>
                </a:cubicBezTo>
                <a:cubicBezTo>
                  <a:pt x="4246" y="341"/>
                  <a:pt x="4321" y="339"/>
                  <a:pt x="4321" y="339"/>
                </a:cubicBezTo>
                <a:cubicBezTo>
                  <a:pt x="4328" y="325"/>
                  <a:pt x="4328" y="325"/>
                  <a:pt x="4328" y="325"/>
                </a:cubicBezTo>
                <a:cubicBezTo>
                  <a:pt x="4372" y="307"/>
                  <a:pt x="4372" y="307"/>
                  <a:pt x="4372" y="307"/>
                </a:cubicBezTo>
                <a:cubicBezTo>
                  <a:pt x="4361" y="303"/>
                  <a:pt x="4361" y="303"/>
                  <a:pt x="4361" y="303"/>
                </a:cubicBezTo>
                <a:cubicBezTo>
                  <a:pt x="4361" y="294"/>
                  <a:pt x="4361" y="294"/>
                  <a:pt x="4361" y="294"/>
                </a:cubicBezTo>
                <a:cubicBezTo>
                  <a:pt x="4361" y="294"/>
                  <a:pt x="4316" y="283"/>
                  <a:pt x="4300" y="283"/>
                </a:cubicBezTo>
                <a:cubicBezTo>
                  <a:pt x="4284" y="283"/>
                  <a:pt x="4163" y="307"/>
                  <a:pt x="4163" y="307"/>
                </a:cubicBezTo>
                <a:cubicBezTo>
                  <a:pt x="4163" y="307"/>
                  <a:pt x="4148" y="296"/>
                  <a:pt x="4140" y="295"/>
                </a:cubicBezTo>
                <a:cubicBezTo>
                  <a:pt x="4133" y="294"/>
                  <a:pt x="4103" y="307"/>
                  <a:pt x="4103" y="307"/>
                </a:cubicBezTo>
                <a:cubicBezTo>
                  <a:pt x="4090" y="293"/>
                  <a:pt x="4090" y="293"/>
                  <a:pt x="4090" y="293"/>
                </a:cubicBezTo>
                <a:cubicBezTo>
                  <a:pt x="4078" y="299"/>
                  <a:pt x="4078" y="299"/>
                  <a:pt x="4078" y="299"/>
                </a:cubicBezTo>
                <a:cubicBezTo>
                  <a:pt x="4056" y="295"/>
                  <a:pt x="4056" y="295"/>
                  <a:pt x="4056" y="295"/>
                </a:cubicBezTo>
                <a:cubicBezTo>
                  <a:pt x="4078" y="287"/>
                  <a:pt x="4078" y="287"/>
                  <a:pt x="4078" y="287"/>
                </a:cubicBezTo>
                <a:cubicBezTo>
                  <a:pt x="4065" y="281"/>
                  <a:pt x="4065" y="281"/>
                  <a:pt x="4065" y="281"/>
                </a:cubicBezTo>
                <a:cubicBezTo>
                  <a:pt x="4028" y="285"/>
                  <a:pt x="4028" y="285"/>
                  <a:pt x="4028" y="285"/>
                </a:cubicBezTo>
                <a:cubicBezTo>
                  <a:pt x="4052" y="278"/>
                  <a:pt x="4052" y="278"/>
                  <a:pt x="4052" y="278"/>
                </a:cubicBezTo>
                <a:cubicBezTo>
                  <a:pt x="4051" y="273"/>
                  <a:pt x="4051" y="273"/>
                  <a:pt x="4051" y="273"/>
                </a:cubicBezTo>
                <a:cubicBezTo>
                  <a:pt x="4097" y="272"/>
                  <a:pt x="4097" y="272"/>
                  <a:pt x="4097" y="272"/>
                </a:cubicBezTo>
                <a:cubicBezTo>
                  <a:pt x="4074" y="264"/>
                  <a:pt x="4074" y="264"/>
                  <a:pt x="4074" y="264"/>
                </a:cubicBezTo>
                <a:cubicBezTo>
                  <a:pt x="4058" y="264"/>
                  <a:pt x="4058" y="264"/>
                  <a:pt x="4058" y="264"/>
                </a:cubicBezTo>
                <a:cubicBezTo>
                  <a:pt x="4058" y="264"/>
                  <a:pt x="4070" y="254"/>
                  <a:pt x="4060" y="253"/>
                </a:cubicBezTo>
                <a:cubicBezTo>
                  <a:pt x="4052" y="252"/>
                  <a:pt x="4021" y="254"/>
                  <a:pt x="4005" y="257"/>
                </a:cubicBezTo>
                <a:cubicBezTo>
                  <a:pt x="4003" y="250"/>
                  <a:pt x="3974" y="239"/>
                  <a:pt x="3970" y="239"/>
                </a:cubicBezTo>
                <a:close/>
                <a:moveTo>
                  <a:pt x="4116" y="136"/>
                </a:moveTo>
                <a:cubicBezTo>
                  <a:pt x="4080" y="144"/>
                  <a:pt x="4080" y="144"/>
                  <a:pt x="4080" y="144"/>
                </a:cubicBezTo>
                <a:cubicBezTo>
                  <a:pt x="4105" y="155"/>
                  <a:pt x="4105" y="155"/>
                  <a:pt x="4105" y="155"/>
                </a:cubicBezTo>
                <a:cubicBezTo>
                  <a:pt x="4105" y="155"/>
                  <a:pt x="4091" y="159"/>
                  <a:pt x="4093" y="169"/>
                </a:cubicBezTo>
                <a:cubicBezTo>
                  <a:pt x="4095" y="178"/>
                  <a:pt x="4122" y="175"/>
                  <a:pt x="4122" y="175"/>
                </a:cubicBezTo>
                <a:cubicBezTo>
                  <a:pt x="4109" y="184"/>
                  <a:pt x="4109" y="184"/>
                  <a:pt x="4109" y="184"/>
                </a:cubicBezTo>
                <a:cubicBezTo>
                  <a:pt x="4109" y="184"/>
                  <a:pt x="4127" y="188"/>
                  <a:pt x="4141" y="197"/>
                </a:cubicBezTo>
                <a:cubicBezTo>
                  <a:pt x="4155" y="205"/>
                  <a:pt x="4180" y="185"/>
                  <a:pt x="4180" y="185"/>
                </a:cubicBezTo>
                <a:cubicBezTo>
                  <a:pt x="4196" y="177"/>
                  <a:pt x="4196" y="177"/>
                  <a:pt x="4196" y="177"/>
                </a:cubicBezTo>
                <a:cubicBezTo>
                  <a:pt x="4196" y="177"/>
                  <a:pt x="4201" y="183"/>
                  <a:pt x="4207" y="194"/>
                </a:cubicBezTo>
                <a:cubicBezTo>
                  <a:pt x="4214" y="204"/>
                  <a:pt x="4238" y="186"/>
                  <a:pt x="4247" y="184"/>
                </a:cubicBezTo>
                <a:cubicBezTo>
                  <a:pt x="4256" y="182"/>
                  <a:pt x="4269" y="168"/>
                  <a:pt x="4269" y="168"/>
                </a:cubicBezTo>
                <a:cubicBezTo>
                  <a:pt x="4277" y="177"/>
                  <a:pt x="4277" y="177"/>
                  <a:pt x="4277" y="177"/>
                </a:cubicBezTo>
                <a:cubicBezTo>
                  <a:pt x="4277" y="177"/>
                  <a:pt x="4290" y="164"/>
                  <a:pt x="4292" y="159"/>
                </a:cubicBezTo>
                <a:cubicBezTo>
                  <a:pt x="4294" y="154"/>
                  <a:pt x="4347" y="156"/>
                  <a:pt x="4359" y="156"/>
                </a:cubicBezTo>
                <a:cubicBezTo>
                  <a:pt x="4371" y="156"/>
                  <a:pt x="4368" y="142"/>
                  <a:pt x="4368" y="142"/>
                </a:cubicBezTo>
                <a:cubicBezTo>
                  <a:pt x="4326" y="141"/>
                  <a:pt x="4326" y="141"/>
                  <a:pt x="4326" y="141"/>
                </a:cubicBezTo>
                <a:cubicBezTo>
                  <a:pt x="4346" y="130"/>
                  <a:pt x="4346" y="130"/>
                  <a:pt x="4346" y="130"/>
                </a:cubicBezTo>
                <a:cubicBezTo>
                  <a:pt x="4346" y="130"/>
                  <a:pt x="4354" y="110"/>
                  <a:pt x="4349" y="103"/>
                </a:cubicBezTo>
                <a:cubicBezTo>
                  <a:pt x="4345" y="97"/>
                  <a:pt x="4311" y="115"/>
                  <a:pt x="4311" y="115"/>
                </a:cubicBezTo>
                <a:cubicBezTo>
                  <a:pt x="4308" y="98"/>
                  <a:pt x="4308" y="98"/>
                  <a:pt x="4308" y="98"/>
                </a:cubicBezTo>
                <a:cubicBezTo>
                  <a:pt x="4276" y="104"/>
                  <a:pt x="4276" y="104"/>
                  <a:pt x="4276" y="104"/>
                </a:cubicBezTo>
                <a:cubicBezTo>
                  <a:pt x="4276" y="104"/>
                  <a:pt x="4273" y="84"/>
                  <a:pt x="4263" y="73"/>
                </a:cubicBezTo>
                <a:cubicBezTo>
                  <a:pt x="4254" y="62"/>
                  <a:pt x="4212" y="85"/>
                  <a:pt x="4212" y="85"/>
                </a:cubicBezTo>
                <a:cubicBezTo>
                  <a:pt x="4160" y="88"/>
                  <a:pt x="4160" y="88"/>
                  <a:pt x="4160" y="88"/>
                </a:cubicBezTo>
                <a:cubicBezTo>
                  <a:pt x="4177" y="101"/>
                  <a:pt x="4177" y="101"/>
                  <a:pt x="4177" y="101"/>
                </a:cubicBezTo>
                <a:cubicBezTo>
                  <a:pt x="4177" y="101"/>
                  <a:pt x="4140" y="98"/>
                  <a:pt x="4127" y="102"/>
                </a:cubicBezTo>
                <a:cubicBezTo>
                  <a:pt x="4115" y="106"/>
                  <a:pt x="4135" y="119"/>
                  <a:pt x="4135" y="119"/>
                </a:cubicBezTo>
                <a:cubicBezTo>
                  <a:pt x="4135" y="119"/>
                  <a:pt x="4078" y="113"/>
                  <a:pt x="4074" y="127"/>
                </a:cubicBezTo>
                <a:cubicBezTo>
                  <a:pt x="4069" y="141"/>
                  <a:pt x="4116" y="136"/>
                  <a:pt x="4116" y="136"/>
                </a:cubicBezTo>
                <a:close/>
                <a:moveTo>
                  <a:pt x="4126" y="212"/>
                </a:moveTo>
                <a:cubicBezTo>
                  <a:pt x="4104" y="216"/>
                  <a:pt x="4104" y="226"/>
                  <a:pt x="4104" y="226"/>
                </a:cubicBezTo>
                <a:cubicBezTo>
                  <a:pt x="4122" y="229"/>
                  <a:pt x="4122" y="229"/>
                  <a:pt x="4122" y="229"/>
                </a:cubicBezTo>
                <a:cubicBezTo>
                  <a:pt x="4137" y="229"/>
                  <a:pt x="4149" y="208"/>
                  <a:pt x="4126" y="212"/>
                </a:cubicBezTo>
                <a:close/>
                <a:moveTo>
                  <a:pt x="3959" y="205"/>
                </a:moveTo>
                <a:cubicBezTo>
                  <a:pt x="3969" y="208"/>
                  <a:pt x="3972" y="218"/>
                  <a:pt x="3972" y="218"/>
                </a:cubicBezTo>
                <a:cubicBezTo>
                  <a:pt x="3972" y="218"/>
                  <a:pt x="4014" y="215"/>
                  <a:pt x="4034" y="214"/>
                </a:cubicBezTo>
                <a:cubicBezTo>
                  <a:pt x="4053" y="213"/>
                  <a:pt x="4010" y="202"/>
                  <a:pt x="4010" y="202"/>
                </a:cubicBezTo>
                <a:cubicBezTo>
                  <a:pt x="4010" y="202"/>
                  <a:pt x="4019" y="192"/>
                  <a:pt x="4029" y="190"/>
                </a:cubicBezTo>
                <a:cubicBezTo>
                  <a:pt x="4040" y="188"/>
                  <a:pt x="4000" y="175"/>
                  <a:pt x="3970" y="169"/>
                </a:cubicBezTo>
                <a:cubicBezTo>
                  <a:pt x="3970" y="169"/>
                  <a:pt x="3946" y="173"/>
                  <a:pt x="3942" y="177"/>
                </a:cubicBezTo>
                <a:cubicBezTo>
                  <a:pt x="3938" y="182"/>
                  <a:pt x="3950" y="203"/>
                  <a:pt x="3959" y="205"/>
                </a:cubicBezTo>
                <a:close/>
                <a:moveTo>
                  <a:pt x="3655" y="294"/>
                </a:moveTo>
                <a:cubicBezTo>
                  <a:pt x="3664" y="294"/>
                  <a:pt x="3708" y="301"/>
                  <a:pt x="3708" y="301"/>
                </a:cubicBezTo>
                <a:cubicBezTo>
                  <a:pt x="3708" y="301"/>
                  <a:pt x="3684" y="321"/>
                  <a:pt x="3699" y="321"/>
                </a:cubicBezTo>
                <a:cubicBezTo>
                  <a:pt x="3714" y="321"/>
                  <a:pt x="3752" y="321"/>
                  <a:pt x="3752" y="321"/>
                </a:cubicBezTo>
                <a:cubicBezTo>
                  <a:pt x="3766" y="321"/>
                  <a:pt x="3791" y="315"/>
                  <a:pt x="3787" y="307"/>
                </a:cubicBezTo>
                <a:cubicBezTo>
                  <a:pt x="3783" y="298"/>
                  <a:pt x="3823" y="295"/>
                  <a:pt x="3821" y="286"/>
                </a:cubicBezTo>
                <a:cubicBezTo>
                  <a:pt x="3820" y="278"/>
                  <a:pt x="3858" y="272"/>
                  <a:pt x="3844" y="260"/>
                </a:cubicBezTo>
                <a:cubicBezTo>
                  <a:pt x="3830" y="249"/>
                  <a:pt x="3811" y="257"/>
                  <a:pt x="3811" y="257"/>
                </a:cubicBezTo>
                <a:cubicBezTo>
                  <a:pt x="3811" y="257"/>
                  <a:pt x="3764" y="242"/>
                  <a:pt x="3761" y="251"/>
                </a:cubicBezTo>
                <a:cubicBezTo>
                  <a:pt x="3758" y="259"/>
                  <a:pt x="3758" y="280"/>
                  <a:pt x="3758" y="280"/>
                </a:cubicBezTo>
                <a:cubicBezTo>
                  <a:pt x="3758" y="280"/>
                  <a:pt x="3737" y="255"/>
                  <a:pt x="3726" y="264"/>
                </a:cubicBezTo>
                <a:cubicBezTo>
                  <a:pt x="3714" y="272"/>
                  <a:pt x="3704" y="296"/>
                  <a:pt x="3695" y="289"/>
                </a:cubicBezTo>
                <a:cubicBezTo>
                  <a:pt x="3687" y="283"/>
                  <a:pt x="3682" y="258"/>
                  <a:pt x="3673" y="256"/>
                </a:cubicBezTo>
                <a:cubicBezTo>
                  <a:pt x="3663" y="254"/>
                  <a:pt x="3637" y="256"/>
                  <a:pt x="3638" y="269"/>
                </a:cubicBezTo>
                <a:cubicBezTo>
                  <a:pt x="3639" y="282"/>
                  <a:pt x="3647" y="294"/>
                  <a:pt x="3655" y="294"/>
                </a:cubicBezTo>
                <a:close/>
                <a:moveTo>
                  <a:pt x="3789" y="168"/>
                </a:moveTo>
                <a:cubicBezTo>
                  <a:pt x="3789" y="168"/>
                  <a:pt x="3771" y="185"/>
                  <a:pt x="3785" y="186"/>
                </a:cubicBezTo>
                <a:cubicBezTo>
                  <a:pt x="3799" y="187"/>
                  <a:pt x="3831" y="188"/>
                  <a:pt x="3831" y="188"/>
                </a:cubicBezTo>
                <a:cubicBezTo>
                  <a:pt x="3831" y="188"/>
                  <a:pt x="3845" y="204"/>
                  <a:pt x="3862" y="204"/>
                </a:cubicBezTo>
                <a:cubicBezTo>
                  <a:pt x="3880" y="204"/>
                  <a:pt x="3893" y="190"/>
                  <a:pt x="3893" y="190"/>
                </a:cubicBezTo>
                <a:cubicBezTo>
                  <a:pt x="3884" y="182"/>
                  <a:pt x="3884" y="182"/>
                  <a:pt x="3884" y="182"/>
                </a:cubicBezTo>
                <a:cubicBezTo>
                  <a:pt x="3905" y="178"/>
                  <a:pt x="3905" y="178"/>
                  <a:pt x="3905" y="178"/>
                </a:cubicBezTo>
                <a:cubicBezTo>
                  <a:pt x="3875" y="156"/>
                  <a:pt x="3875" y="156"/>
                  <a:pt x="3875" y="156"/>
                </a:cubicBezTo>
                <a:cubicBezTo>
                  <a:pt x="3847" y="160"/>
                  <a:pt x="3847" y="160"/>
                  <a:pt x="3847" y="160"/>
                </a:cubicBezTo>
                <a:cubicBezTo>
                  <a:pt x="3837" y="145"/>
                  <a:pt x="3837" y="145"/>
                  <a:pt x="3837" y="145"/>
                </a:cubicBezTo>
                <a:cubicBezTo>
                  <a:pt x="3818" y="145"/>
                  <a:pt x="3818" y="145"/>
                  <a:pt x="3818" y="145"/>
                </a:cubicBezTo>
                <a:cubicBezTo>
                  <a:pt x="3796" y="145"/>
                  <a:pt x="3761" y="145"/>
                  <a:pt x="3760" y="157"/>
                </a:cubicBezTo>
                <a:cubicBezTo>
                  <a:pt x="3759" y="169"/>
                  <a:pt x="3789" y="168"/>
                  <a:pt x="3789" y="168"/>
                </a:cubicBezTo>
                <a:close/>
                <a:moveTo>
                  <a:pt x="3670" y="352"/>
                </a:moveTo>
                <a:cubicBezTo>
                  <a:pt x="3670" y="352"/>
                  <a:pt x="3609" y="354"/>
                  <a:pt x="3575" y="365"/>
                </a:cubicBezTo>
                <a:cubicBezTo>
                  <a:pt x="3542" y="376"/>
                  <a:pt x="3594" y="385"/>
                  <a:pt x="3583" y="398"/>
                </a:cubicBezTo>
                <a:cubicBezTo>
                  <a:pt x="3572" y="412"/>
                  <a:pt x="3550" y="377"/>
                  <a:pt x="3512" y="393"/>
                </a:cubicBezTo>
                <a:cubicBezTo>
                  <a:pt x="3524" y="418"/>
                  <a:pt x="3524" y="418"/>
                  <a:pt x="3524" y="418"/>
                </a:cubicBezTo>
                <a:cubicBezTo>
                  <a:pt x="3524" y="418"/>
                  <a:pt x="3530" y="428"/>
                  <a:pt x="3547" y="431"/>
                </a:cubicBezTo>
                <a:cubicBezTo>
                  <a:pt x="3565" y="434"/>
                  <a:pt x="3564" y="469"/>
                  <a:pt x="3564" y="469"/>
                </a:cubicBezTo>
                <a:cubicBezTo>
                  <a:pt x="3564" y="469"/>
                  <a:pt x="3634" y="460"/>
                  <a:pt x="3656" y="455"/>
                </a:cubicBezTo>
                <a:cubicBezTo>
                  <a:pt x="3678" y="449"/>
                  <a:pt x="3678" y="408"/>
                  <a:pt x="3678" y="408"/>
                </a:cubicBezTo>
                <a:cubicBezTo>
                  <a:pt x="3634" y="398"/>
                  <a:pt x="3634" y="398"/>
                  <a:pt x="3634" y="398"/>
                </a:cubicBezTo>
                <a:cubicBezTo>
                  <a:pt x="3634" y="398"/>
                  <a:pt x="3687" y="380"/>
                  <a:pt x="3714" y="371"/>
                </a:cubicBezTo>
                <a:cubicBezTo>
                  <a:pt x="3740" y="361"/>
                  <a:pt x="3670" y="352"/>
                  <a:pt x="3670" y="352"/>
                </a:cubicBezTo>
                <a:close/>
                <a:moveTo>
                  <a:pt x="3665" y="237"/>
                </a:moveTo>
                <a:cubicBezTo>
                  <a:pt x="3683" y="234"/>
                  <a:pt x="3684" y="206"/>
                  <a:pt x="3669" y="206"/>
                </a:cubicBezTo>
                <a:cubicBezTo>
                  <a:pt x="3655" y="206"/>
                  <a:pt x="3648" y="239"/>
                  <a:pt x="3665" y="237"/>
                </a:cubicBezTo>
                <a:close/>
                <a:moveTo>
                  <a:pt x="953" y="1088"/>
                </a:moveTo>
                <a:cubicBezTo>
                  <a:pt x="940" y="1097"/>
                  <a:pt x="916" y="1102"/>
                  <a:pt x="923" y="1109"/>
                </a:cubicBezTo>
                <a:cubicBezTo>
                  <a:pt x="934" y="1120"/>
                  <a:pt x="959" y="1108"/>
                  <a:pt x="959" y="1108"/>
                </a:cubicBezTo>
                <a:cubicBezTo>
                  <a:pt x="966" y="1099"/>
                  <a:pt x="966" y="1099"/>
                  <a:pt x="966" y="1099"/>
                </a:cubicBezTo>
                <a:cubicBezTo>
                  <a:pt x="966" y="1099"/>
                  <a:pt x="982" y="1103"/>
                  <a:pt x="979" y="1097"/>
                </a:cubicBezTo>
                <a:cubicBezTo>
                  <a:pt x="977" y="1091"/>
                  <a:pt x="967" y="1079"/>
                  <a:pt x="953" y="1088"/>
                </a:cubicBezTo>
                <a:close/>
                <a:moveTo>
                  <a:pt x="3669" y="3211"/>
                </a:moveTo>
                <a:cubicBezTo>
                  <a:pt x="3661" y="3211"/>
                  <a:pt x="3638" y="3202"/>
                  <a:pt x="3624" y="3202"/>
                </a:cubicBezTo>
                <a:cubicBezTo>
                  <a:pt x="3609" y="3202"/>
                  <a:pt x="3611" y="3234"/>
                  <a:pt x="3611" y="3234"/>
                </a:cubicBezTo>
                <a:cubicBezTo>
                  <a:pt x="3636" y="3242"/>
                  <a:pt x="3636" y="3242"/>
                  <a:pt x="3636" y="3242"/>
                </a:cubicBezTo>
                <a:cubicBezTo>
                  <a:pt x="3642" y="3236"/>
                  <a:pt x="3642" y="3236"/>
                  <a:pt x="3642" y="3236"/>
                </a:cubicBezTo>
                <a:cubicBezTo>
                  <a:pt x="3642" y="3236"/>
                  <a:pt x="3657" y="3238"/>
                  <a:pt x="3673" y="3236"/>
                </a:cubicBezTo>
                <a:cubicBezTo>
                  <a:pt x="3690" y="3234"/>
                  <a:pt x="3706" y="3219"/>
                  <a:pt x="3704" y="3212"/>
                </a:cubicBezTo>
                <a:cubicBezTo>
                  <a:pt x="3702" y="3204"/>
                  <a:pt x="3677" y="3212"/>
                  <a:pt x="3669" y="3211"/>
                </a:cubicBezTo>
                <a:close/>
                <a:moveTo>
                  <a:pt x="3547" y="3213"/>
                </a:moveTo>
                <a:cubicBezTo>
                  <a:pt x="3558" y="3207"/>
                  <a:pt x="3551" y="3192"/>
                  <a:pt x="3551" y="3192"/>
                </a:cubicBezTo>
                <a:cubicBezTo>
                  <a:pt x="3551" y="3192"/>
                  <a:pt x="3529" y="3173"/>
                  <a:pt x="3514" y="3167"/>
                </a:cubicBezTo>
                <a:cubicBezTo>
                  <a:pt x="3500" y="3162"/>
                  <a:pt x="3494" y="3160"/>
                  <a:pt x="3483" y="3156"/>
                </a:cubicBezTo>
                <a:cubicBezTo>
                  <a:pt x="3473" y="3152"/>
                  <a:pt x="3467" y="3133"/>
                  <a:pt x="3461" y="3129"/>
                </a:cubicBezTo>
                <a:cubicBezTo>
                  <a:pt x="3455" y="3126"/>
                  <a:pt x="3432" y="3124"/>
                  <a:pt x="3415" y="3124"/>
                </a:cubicBezTo>
                <a:cubicBezTo>
                  <a:pt x="3408" y="3124"/>
                  <a:pt x="3404" y="3126"/>
                  <a:pt x="3401" y="3128"/>
                </a:cubicBezTo>
                <a:cubicBezTo>
                  <a:pt x="3396" y="3131"/>
                  <a:pt x="3395" y="3135"/>
                  <a:pt x="3395" y="3135"/>
                </a:cubicBezTo>
                <a:cubicBezTo>
                  <a:pt x="3395" y="3135"/>
                  <a:pt x="3360" y="3123"/>
                  <a:pt x="3345" y="3123"/>
                </a:cubicBezTo>
                <a:cubicBezTo>
                  <a:pt x="3331" y="3123"/>
                  <a:pt x="3324" y="3125"/>
                  <a:pt x="3318" y="3133"/>
                </a:cubicBezTo>
                <a:cubicBezTo>
                  <a:pt x="3312" y="3140"/>
                  <a:pt x="3337" y="3140"/>
                  <a:pt x="3343" y="3140"/>
                </a:cubicBezTo>
                <a:cubicBezTo>
                  <a:pt x="3349" y="3140"/>
                  <a:pt x="3362" y="3154"/>
                  <a:pt x="3362" y="3154"/>
                </a:cubicBezTo>
                <a:cubicBezTo>
                  <a:pt x="3362" y="3154"/>
                  <a:pt x="3347" y="3157"/>
                  <a:pt x="3349" y="3172"/>
                </a:cubicBezTo>
                <a:cubicBezTo>
                  <a:pt x="3351" y="3188"/>
                  <a:pt x="3359" y="3193"/>
                  <a:pt x="3347" y="3193"/>
                </a:cubicBezTo>
                <a:cubicBezTo>
                  <a:pt x="3334" y="3193"/>
                  <a:pt x="3314" y="3186"/>
                  <a:pt x="3306" y="3187"/>
                </a:cubicBezTo>
                <a:cubicBezTo>
                  <a:pt x="3297" y="3189"/>
                  <a:pt x="3281" y="3185"/>
                  <a:pt x="3275" y="3195"/>
                </a:cubicBezTo>
                <a:cubicBezTo>
                  <a:pt x="3275" y="3195"/>
                  <a:pt x="3293" y="3221"/>
                  <a:pt x="3301" y="3225"/>
                </a:cubicBezTo>
                <a:cubicBezTo>
                  <a:pt x="3310" y="3229"/>
                  <a:pt x="3318" y="3210"/>
                  <a:pt x="3318" y="3210"/>
                </a:cubicBezTo>
                <a:cubicBezTo>
                  <a:pt x="3318" y="3210"/>
                  <a:pt x="3332" y="3212"/>
                  <a:pt x="3349" y="3212"/>
                </a:cubicBezTo>
                <a:cubicBezTo>
                  <a:pt x="3365" y="3212"/>
                  <a:pt x="3386" y="3208"/>
                  <a:pt x="3386" y="3208"/>
                </a:cubicBezTo>
                <a:cubicBezTo>
                  <a:pt x="3409" y="3235"/>
                  <a:pt x="3409" y="3235"/>
                  <a:pt x="3409" y="3235"/>
                </a:cubicBezTo>
                <a:cubicBezTo>
                  <a:pt x="3442" y="3211"/>
                  <a:pt x="3442" y="3211"/>
                  <a:pt x="3442" y="3211"/>
                </a:cubicBezTo>
                <a:cubicBezTo>
                  <a:pt x="3442" y="3211"/>
                  <a:pt x="3471" y="3211"/>
                  <a:pt x="3504" y="3213"/>
                </a:cubicBezTo>
                <a:cubicBezTo>
                  <a:pt x="3517" y="3214"/>
                  <a:pt x="3539" y="3217"/>
                  <a:pt x="3547" y="3213"/>
                </a:cubicBezTo>
                <a:close/>
                <a:moveTo>
                  <a:pt x="3233" y="3121"/>
                </a:moveTo>
                <a:cubicBezTo>
                  <a:pt x="3263" y="3113"/>
                  <a:pt x="3300" y="3106"/>
                  <a:pt x="3300" y="3106"/>
                </a:cubicBezTo>
                <a:cubicBezTo>
                  <a:pt x="3300" y="3106"/>
                  <a:pt x="3300" y="3096"/>
                  <a:pt x="3282" y="3094"/>
                </a:cubicBezTo>
                <a:cubicBezTo>
                  <a:pt x="3263" y="3091"/>
                  <a:pt x="3252" y="3091"/>
                  <a:pt x="3252" y="3091"/>
                </a:cubicBezTo>
                <a:cubicBezTo>
                  <a:pt x="3252" y="3091"/>
                  <a:pt x="3260" y="3074"/>
                  <a:pt x="3241" y="3072"/>
                </a:cubicBezTo>
                <a:cubicBezTo>
                  <a:pt x="3223" y="3069"/>
                  <a:pt x="3206" y="3071"/>
                  <a:pt x="3206" y="3071"/>
                </a:cubicBezTo>
                <a:cubicBezTo>
                  <a:pt x="3223" y="3057"/>
                  <a:pt x="3223" y="3057"/>
                  <a:pt x="3223" y="3057"/>
                </a:cubicBezTo>
                <a:cubicBezTo>
                  <a:pt x="3223" y="3057"/>
                  <a:pt x="3193" y="3049"/>
                  <a:pt x="3185" y="3049"/>
                </a:cubicBezTo>
                <a:cubicBezTo>
                  <a:pt x="3177" y="3049"/>
                  <a:pt x="3156" y="3039"/>
                  <a:pt x="3156" y="3039"/>
                </a:cubicBezTo>
                <a:cubicBezTo>
                  <a:pt x="3156" y="3039"/>
                  <a:pt x="3166" y="3022"/>
                  <a:pt x="3158" y="3022"/>
                </a:cubicBezTo>
                <a:cubicBezTo>
                  <a:pt x="3150" y="3022"/>
                  <a:pt x="3145" y="3020"/>
                  <a:pt x="3145" y="3020"/>
                </a:cubicBezTo>
                <a:cubicBezTo>
                  <a:pt x="3145" y="3020"/>
                  <a:pt x="3105" y="2980"/>
                  <a:pt x="3097" y="2988"/>
                </a:cubicBezTo>
                <a:cubicBezTo>
                  <a:pt x="3089" y="2995"/>
                  <a:pt x="3107" y="3007"/>
                  <a:pt x="3107" y="3007"/>
                </a:cubicBezTo>
                <a:cubicBezTo>
                  <a:pt x="3062" y="2985"/>
                  <a:pt x="3062" y="2985"/>
                  <a:pt x="3062" y="2985"/>
                </a:cubicBezTo>
                <a:cubicBezTo>
                  <a:pt x="3062" y="2985"/>
                  <a:pt x="3038" y="2960"/>
                  <a:pt x="3027" y="2955"/>
                </a:cubicBezTo>
                <a:cubicBezTo>
                  <a:pt x="3016" y="2950"/>
                  <a:pt x="2987" y="2955"/>
                  <a:pt x="2987" y="2955"/>
                </a:cubicBezTo>
                <a:cubicBezTo>
                  <a:pt x="2987" y="2955"/>
                  <a:pt x="2963" y="2943"/>
                  <a:pt x="2925" y="2943"/>
                </a:cubicBezTo>
                <a:cubicBezTo>
                  <a:pt x="2888" y="2943"/>
                  <a:pt x="2871" y="2955"/>
                  <a:pt x="2855" y="2969"/>
                </a:cubicBezTo>
                <a:cubicBezTo>
                  <a:pt x="2839" y="2984"/>
                  <a:pt x="2807" y="2994"/>
                  <a:pt x="2807" y="2994"/>
                </a:cubicBezTo>
                <a:cubicBezTo>
                  <a:pt x="2858" y="2992"/>
                  <a:pt x="2858" y="2992"/>
                  <a:pt x="2858" y="2992"/>
                </a:cubicBezTo>
                <a:cubicBezTo>
                  <a:pt x="2858" y="2982"/>
                  <a:pt x="2858" y="2982"/>
                  <a:pt x="2858" y="2982"/>
                </a:cubicBezTo>
                <a:cubicBezTo>
                  <a:pt x="2909" y="2979"/>
                  <a:pt x="2909" y="2979"/>
                  <a:pt x="2909" y="2979"/>
                </a:cubicBezTo>
                <a:cubicBezTo>
                  <a:pt x="2922" y="2972"/>
                  <a:pt x="2922" y="2972"/>
                  <a:pt x="2922" y="2972"/>
                </a:cubicBezTo>
                <a:cubicBezTo>
                  <a:pt x="2922" y="2972"/>
                  <a:pt x="2949" y="2970"/>
                  <a:pt x="2957" y="2977"/>
                </a:cubicBezTo>
                <a:cubicBezTo>
                  <a:pt x="2965" y="2985"/>
                  <a:pt x="2933" y="2989"/>
                  <a:pt x="2933" y="2989"/>
                </a:cubicBezTo>
                <a:cubicBezTo>
                  <a:pt x="2944" y="2997"/>
                  <a:pt x="2944" y="2997"/>
                  <a:pt x="2944" y="2997"/>
                </a:cubicBezTo>
                <a:cubicBezTo>
                  <a:pt x="2944" y="2997"/>
                  <a:pt x="2962" y="3004"/>
                  <a:pt x="2979" y="3009"/>
                </a:cubicBezTo>
                <a:cubicBezTo>
                  <a:pt x="2995" y="3014"/>
                  <a:pt x="2995" y="3004"/>
                  <a:pt x="2995" y="3004"/>
                </a:cubicBezTo>
                <a:cubicBezTo>
                  <a:pt x="2995" y="3004"/>
                  <a:pt x="3011" y="3017"/>
                  <a:pt x="3027" y="3024"/>
                </a:cubicBezTo>
                <a:cubicBezTo>
                  <a:pt x="3043" y="3032"/>
                  <a:pt x="3075" y="3022"/>
                  <a:pt x="3075" y="3022"/>
                </a:cubicBezTo>
                <a:cubicBezTo>
                  <a:pt x="3070" y="3039"/>
                  <a:pt x="3070" y="3039"/>
                  <a:pt x="3070" y="3039"/>
                </a:cubicBezTo>
                <a:cubicBezTo>
                  <a:pt x="3110" y="3056"/>
                  <a:pt x="3110" y="3056"/>
                  <a:pt x="3110" y="3056"/>
                </a:cubicBezTo>
                <a:cubicBezTo>
                  <a:pt x="3126" y="3079"/>
                  <a:pt x="3126" y="3079"/>
                  <a:pt x="3126" y="3079"/>
                </a:cubicBezTo>
                <a:cubicBezTo>
                  <a:pt x="3126" y="3079"/>
                  <a:pt x="3142" y="3086"/>
                  <a:pt x="3142" y="3093"/>
                </a:cubicBezTo>
                <a:cubicBezTo>
                  <a:pt x="3142" y="3101"/>
                  <a:pt x="3115" y="3108"/>
                  <a:pt x="3123" y="3115"/>
                </a:cubicBezTo>
                <a:cubicBezTo>
                  <a:pt x="3131" y="3123"/>
                  <a:pt x="3155" y="3106"/>
                  <a:pt x="3163" y="3106"/>
                </a:cubicBezTo>
                <a:cubicBezTo>
                  <a:pt x="3171" y="3106"/>
                  <a:pt x="3188" y="3108"/>
                  <a:pt x="3174" y="3111"/>
                </a:cubicBezTo>
                <a:cubicBezTo>
                  <a:pt x="3161" y="3113"/>
                  <a:pt x="3182" y="3123"/>
                  <a:pt x="3182" y="3123"/>
                </a:cubicBezTo>
                <a:cubicBezTo>
                  <a:pt x="3182" y="3123"/>
                  <a:pt x="3204" y="3128"/>
                  <a:pt x="3233" y="3121"/>
                </a:cubicBezTo>
                <a:close/>
                <a:moveTo>
                  <a:pt x="4442" y="898"/>
                </a:moveTo>
                <a:cubicBezTo>
                  <a:pt x="4465" y="895"/>
                  <a:pt x="4465" y="895"/>
                  <a:pt x="4465" y="895"/>
                </a:cubicBezTo>
                <a:cubicBezTo>
                  <a:pt x="4465" y="885"/>
                  <a:pt x="4465" y="885"/>
                  <a:pt x="4465" y="885"/>
                </a:cubicBezTo>
                <a:cubicBezTo>
                  <a:pt x="4445" y="889"/>
                  <a:pt x="4445" y="889"/>
                  <a:pt x="4445" y="889"/>
                </a:cubicBezTo>
                <a:lnTo>
                  <a:pt x="4442" y="898"/>
                </a:lnTo>
                <a:close/>
                <a:moveTo>
                  <a:pt x="3163" y="3208"/>
                </a:moveTo>
                <a:cubicBezTo>
                  <a:pt x="3153" y="3208"/>
                  <a:pt x="3136" y="3206"/>
                  <a:pt x="3126" y="3205"/>
                </a:cubicBezTo>
                <a:cubicBezTo>
                  <a:pt x="3115" y="3203"/>
                  <a:pt x="3105" y="3199"/>
                  <a:pt x="3097" y="3203"/>
                </a:cubicBezTo>
                <a:cubicBezTo>
                  <a:pt x="3089" y="3206"/>
                  <a:pt x="3078" y="3208"/>
                  <a:pt x="3078" y="3208"/>
                </a:cubicBezTo>
                <a:cubicBezTo>
                  <a:pt x="3078" y="3208"/>
                  <a:pt x="3086" y="3219"/>
                  <a:pt x="3095" y="3225"/>
                </a:cubicBezTo>
                <a:cubicBezTo>
                  <a:pt x="3103" y="3231"/>
                  <a:pt x="3121" y="3231"/>
                  <a:pt x="3121" y="3231"/>
                </a:cubicBezTo>
                <a:cubicBezTo>
                  <a:pt x="3132" y="3237"/>
                  <a:pt x="3132" y="3237"/>
                  <a:pt x="3132" y="3237"/>
                </a:cubicBezTo>
                <a:cubicBezTo>
                  <a:pt x="3150" y="3241"/>
                  <a:pt x="3150" y="3241"/>
                  <a:pt x="3150" y="3241"/>
                </a:cubicBezTo>
                <a:cubicBezTo>
                  <a:pt x="3157" y="3227"/>
                  <a:pt x="3157" y="3227"/>
                  <a:pt x="3157" y="3227"/>
                </a:cubicBezTo>
                <a:cubicBezTo>
                  <a:pt x="3186" y="3233"/>
                  <a:pt x="3186" y="3233"/>
                  <a:pt x="3186" y="3233"/>
                </a:cubicBezTo>
                <a:cubicBezTo>
                  <a:pt x="3186" y="3233"/>
                  <a:pt x="3173" y="3208"/>
                  <a:pt x="3163" y="3208"/>
                </a:cubicBezTo>
                <a:close/>
                <a:moveTo>
                  <a:pt x="4275" y="1715"/>
                </a:moveTo>
                <a:cubicBezTo>
                  <a:pt x="4262" y="1712"/>
                  <a:pt x="4248" y="1719"/>
                  <a:pt x="4243" y="1722"/>
                </a:cubicBezTo>
                <a:cubicBezTo>
                  <a:pt x="4247" y="1719"/>
                  <a:pt x="4256" y="1713"/>
                  <a:pt x="4265" y="1703"/>
                </a:cubicBezTo>
                <a:cubicBezTo>
                  <a:pt x="4277" y="1690"/>
                  <a:pt x="4246" y="1689"/>
                  <a:pt x="4232" y="1705"/>
                </a:cubicBezTo>
                <a:cubicBezTo>
                  <a:pt x="4226" y="1719"/>
                  <a:pt x="4226" y="1719"/>
                  <a:pt x="4226" y="1719"/>
                </a:cubicBezTo>
                <a:cubicBezTo>
                  <a:pt x="4218" y="1733"/>
                  <a:pt x="4218" y="1733"/>
                  <a:pt x="4218" y="1733"/>
                </a:cubicBezTo>
                <a:cubicBezTo>
                  <a:pt x="4255" y="1728"/>
                  <a:pt x="4255" y="1728"/>
                  <a:pt x="4255" y="1728"/>
                </a:cubicBezTo>
                <a:cubicBezTo>
                  <a:pt x="4255" y="1728"/>
                  <a:pt x="4292" y="1719"/>
                  <a:pt x="4275" y="1715"/>
                </a:cubicBezTo>
                <a:close/>
                <a:moveTo>
                  <a:pt x="4135" y="1704"/>
                </a:moveTo>
                <a:cubicBezTo>
                  <a:pt x="4115" y="1700"/>
                  <a:pt x="4104" y="1691"/>
                  <a:pt x="4104" y="1691"/>
                </a:cubicBezTo>
                <a:cubicBezTo>
                  <a:pt x="4094" y="1700"/>
                  <a:pt x="4094" y="1700"/>
                  <a:pt x="4094" y="1700"/>
                </a:cubicBezTo>
                <a:cubicBezTo>
                  <a:pt x="4094" y="1700"/>
                  <a:pt x="4111" y="1709"/>
                  <a:pt x="4115" y="1712"/>
                </a:cubicBezTo>
                <a:cubicBezTo>
                  <a:pt x="4119" y="1715"/>
                  <a:pt x="4138" y="1714"/>
                  <a:pt x="4138" y="1714"/>
                </a:cubicBezTo>
                <a:cubicBezTo>
                  <a:pt x="4138" y="1714"/>
                  <a:pt x="4148" y="1719"/>
                  <a:pt x="4158" y="1718"/>
                </a:cubicBezTo>
                <a:cubicBezTo>
                  <a:pt x="4169" y="1717"/>
                  <a:pt x="4173" y="1706"/>
                  <a:pt x="4173" y="1706"/>
                </a:cubicBezTo>
                <a:cubicBezTo>
                  <a:pt x="4173" y="1706"/>
                  <a:pt x="4156" y="1708"/>
                  <a:pt x="4135" y="1704"/>
                </a:cubicBezTo>
                <a:close/>
                <a:moveTo>
                  <a:pt x="3872" y="725"/>
                </a:moveTo>
                <a:cubicBezTo>
                  <a:pt x="3856" y="723"/>
                  <a:pt x="3867" y="740"/>
                  <a:pt x="3867" y="740"/>
                </a:cubicBezTo>
                <a:cubicBezTo>
                  <a:pt x="3878" y="739"/>
                  <a:pt x="3887" y="726"/>
                  <a:pt x="3872" y="725"/>
                </a:cubicBezTo>
                <a:close/>
                <a:moveTo>
                  <a:pt x="3559" y="1373"/>
                </a:moveTo>
                <a:cubicBezTo>
                  <a:pt x="3587" y="1369"/>
                  <a:pt x="3552" y="1355"/>
                  <a:pt x="3552" y="1355"/>
                </a:cubicBezTo>
                <a:cubicBezTo>
                  <a:pt x="3508" y="1364"/>
                  <a:pt x="3530" y="1376"/>
                  <a:pt x="3559" y="1373"/>
                </a:cubicBezTo>
                <a:close/>
                <a:moveTo>
                  <a:pt x="4213" y="1537"/>
                </a:moveTo>
                <a:cubicBezTo>
                  <a:pt x="4213" y="1537"/>
                  <a:pt x="4180" y="1529"/>
                  <a:pt x="4153" y="1528"/>
                </a:cubicBezTo>
                <a:cubicBezTo>
                  <a:pt x="4126" y="1527"/>
                  <a:pt x="4168" y="1539"/>
                  <a:pt x="4168" y="1539"/>
                </a:cubicBezTo>
                <a:cubicBezTo>
                  <a:pt x="4168" y="1549"/>
                  <a:pt x="4168" y="1549"/>
                  <a:pt x="4168" y="1549"/>
                </a:cubicBezTo>
                <a:cubicBezTo>
                  <a:pt x="4168" y="1549"/>
                  <a:pt x="4201" y="1554"/>
                  <a:pt x="4230" y="1559"/>
                </a:cubicBezTo>
                <a:cubicBezTo>
                  <a:pt x="4259" y="1564"/>
                  <a:pt x="4286" y="1553"/>
                  <a:pt x="4213" y="1537"/>
                </a:cubicBezTo>
                <a:close/>
                <a:moveTo>
                  <a:pt x="3490" y="390"/>
                </a:moveTo>
                <a:cubicBezTo>
                  <a:pt x="3470" y="374"/>
                  <a:pt x="3470" y="374"/>
                  <a:pt x="3470" y="374"/>
                </a:cubicBezTo>
                <a:cubicBezTo>
                  <a:pt x="3451" y="376"/>
                  <a:pt x="3451" y="376"/>
                  <a:pt x="3451" y="376"/>
                </a:cubicBezTo>
                <a:cubicBezTo>
                  <a:pt x="3451" y="376"/>
                  <a:pt x="3439" y="361"/>
                  <a:pt x="3414" y="370"/>
                </a:cubicBezTo>
                <a:cubicBezTo>
                  <a:pt x="3388" y="378"/>
                  <a:pt x="3446" y="402"/>
                  <a:pt x="3446" y="402"/>
                </a:cubicBezTo>
                <a:lnTo>
                  <a:pt x="3490" y="390"/>
                </a:lnTo>
                <a:close/>
                <a:moveTo>
                  <a:pt x="3120" y="293"/>
                </a:moveTo>
                <a:cubicBezTo>
                  <a:pt x="3080" y="303"/>
                  <a:pt x="3108" y="308"/>
                  <a:pt x="3108" y="308"/>
                </a:cubicBezTo>
                <a:cubicBezTo>
                  <a:pt x="3165" y="294"/>
                  <a:pt x="3161" y="282"/>
                  <a:pt x="3120" y="293"/>
                </a:cubicBezTo>
                <a:close/>
                <a:moveTo>
                  <a:pt x="3391" y="603"/>
                </a:moveTo>
                <a:cubicBezTo>
                  <a:pt x="3423" y="604"/>
                  <a:pt x="3429" y="586"/>
                  <a:pt x="3407" y="587"/>
                </a:cubicBezTo>
                <a:cubicBezTo>
                  <a:pt x="3385" y="587"/>
                  <a:pt x="3391" y="603"/>
                  <a:pt x="3391" y="603"/>
                </a:cubicBezTo>
                <a:close/>
                <a:moveTo>
                  <a:pt x="2885" y="3027"/>
                </a:moveTo>
                <a:cubicBezTo>
                  <a:pt x="2882" y="3040"/>
                  <a:pt x="2909" y="3042"/>
                  <a:pt x="2911" y="3027"/>
                </a:cubicBezTo>
                <a:cubicBezTo>
                  <a:pt x="2914" y="3013"/>
                  <a:pt x="2885" y="3027"/>
                  <a:pt x="2885" y="3027"/>
                </a:cubicBezTo>
                <a:close/>
                <a:moveTo>
                  <a:pt x="4683" y="701"/>
                </a:moveTo>
                <a:cubicBezTo>
                  <a:pt x="4698" y="685"/>
                  <a:pt x="4659" y="674"/>
                  <a:pt x="4654" y="678"/>
                </a:cubicBezTo>
                <a:cubicBezTo>
                  <a:pt x="4649" y="682"/>
                  <a:pt x="4637" y="673"/>
                  <a:pt x="4637" y="673"/>
                </a:cubicBezTo>
                <a:cubicBezTo>
                  <a:pt x="4615" y="686"/>
                  <a:pt x="4615" y="686"/>
                  <a:pt x="4615" y="686"/>
                </a:cubicBezTo>
                <a:cubicBezTo>
                  <a:pt x="4617" y="669"/>
                  <a:pt x="4617" y="669"/>
                  <a:pt x="4617" y="669"/>
                </a:cubicBezTo>
                <a:cubicBezTo>
                  <a:pt x="4589" y="669"/>
                  <a:pt x="4589" y="669"/>
                  <a:pt x="4589" y="669"/>
                </a:cubicBezTo>
                <a:cubicBezTo>
                  <a:pt x="4589" y="669"/>
                  <a:pt x="4621" y="659"/>
                  <a:pt x="4615" y="649"/>
                </a:cubicBezTo>
                <a:cubicBezTo>
                  <a:pt x="4610" y="638"/>
                  <a:pt x="4561" y="637"/>
                  <a:pt x="4561" y="637"/>
                </a:cubicBezTo>
                <a:cubicBezTo>
                  <a:pt x="4555" y="626"/>
                  <a:pt x="4555" y="626"/>
                  <a:pt x="4555" y="626"/>
                </a:cubicBezTo>
                <a:cubicBezTo>
                  <a:pt x="4523" y="625"/>
                  <a:pt x="4523" y="625"/>
                  <a:pt x="4523" y="625"/>
                </a:cubicBezTo>
                <a:cubicBezTo>
                  <a:pt x="4479" y="594"/>
                  <a:pt x="4479" y="594"/>
                  <a:pt x="4479" y="594"/>
                </a:cubicBezTo>
                <a:cubicBezTo>
                  <a:pt x="4526" y="591"/>
                  <a:pt x="4526" y="591"/>
                  <a:pt x="4526" y="591"/>
                </a:cubicBezTo>
                <a:cubicBezTo>
                  <a:pt x="4506" y="577"/>
                  <a:pt x="4506" y="577"/>
                  <a:pt x="4506" y="577"/>
                </a:cubicBezTo>
                <a:cubicBezTo>
                  <a:pt x="4506" y="577"/>
                  <a:pt x="4519" y="573"/>
                  <a:pt x="4523" y="573"/>
                </a:cubicBezTo>
                <a:cubicBezTo>
                  <a:pt x="4527" y="573"/>
                  <a:pt x="4579" y="585"/>
                  <a:pt x="4573" y="571"/>
                </a:cubicBezTo>
                <a:cubicBezTo>
                  <a:pt x="4566" y="558"/>
                  <a:pt x="4511" y="561"/>
                  <a:pt x="4511" y="561"/>
                </a:cubicBezTo>
                <a:cubicBezTo>
                  <a:pt x="4493" y="559"/>
                  <a:pt x="4493" y="559"/>
                  <a:pt x="4493" y="559"/>
                </a:cubicBezTo>
                <a:cubicBezTo>
                  <a:pt x="4493" y="559"/>
                  <a:pt x="4570" y="557"/>
                  <a:pt x="4573" y="547"/>
                </a:cubicBezTo>
                <a:cubicBezTo>
                  <a:pt x="4575" y="538"/>
                  <a:pt x="4551" y="538"/>
                  <a:pt x="4551" y="538"/>
                </a:cubicBezTo>
                <a:cubicBezTo>
                  <a:pt x="4482" y="549"/>
                  <a:pt x="4482" y="549"/>
                  <a:pt x="4482" y="549"/>
                </a:cubicBezTo>
                <a:cubicBezTo>
                  <a:pt x="4522" y="525"/>
                  <a:pt x="4522" y="525"/>
                  <a:pt x="4522" y="525"/>
                </a:cubicBezTo>
                <a:cubicBezTo>
                  <a:pt x="4522" y="525"/>
                  <a:pt x="4575" y="531"/>
                  <a:pt x="4559" y="517"/>
                </a:cubicBezTo>
                <a:cubicBezTo>
                  <a:pt x="4543" y="502"/>
                  <a:pt x="4517" y="502"/>
                  <a:pt x="4517" y="502"/>
                </a:cubicBezTo>
                <a:cubicBezTo>
                  <a:pt x="4491" y="517"/>
                  <a:pt x="4491" y="517"/>
                  <a:pt x="4491" y="517"/>
                </a:cubicBezTo>
                <a:cubicBezTo>
                  <a:pt x="4481" y="513"/>
                  <a:pt x="4481" y="513"/>
                  <a:pt x="4481" y="513"/>
                </a:cubicBezTo>
                <a:cubicBezTo>
                  <a:pt x="4453" y="533"/>
                  <a:pt x="4453" y="533"/>
                  <a:pt x="4453" y="533"/>
                </a:cubicBezTo>
                <a:cubicBezTo>
                  <a:pt x="4455" y="518"/>
                  <a:pt x="4455" y="518"/>
                  <a:pt x="4455" y="518"/>
                </a:cubicBezTo>
                <a:cubicBezTo>
                  <a:pt x="4441" y="530"/>
                  <a:pt x="4441" y="530"/>
                  <a:pt x="4441" y="530"/>
                </a:cubicBezTo>
                <a:cubicBezTo>
                  <a:pt x="4455" y="510"/>
                  <a:pt x="4455" y="510"/>
                  <a:pt x="4455" y="510"/>
                </a:cubicBezTo>
                <a:cubicBezTo>
                  <a:pt x="4455" y="510"/>
                  <a:pt x="4475" y="515"/>
                  <a:pt x="4485" y="506"/>
                </a:cubicBezTo>
                <a:cubicBezTo>
                  <a:pt x="4494" y="497"/>
                  <a:pt x="4494" y="483"/>
                  <a:pt x="4487" y="485"/>
                </a:cubicBezTo>
                <a:cubicBezTo>
                  <a:pt x="4481" y="486"/>
                  <a:pt x="4473" y="498"/>
                  <a:pt x="4473" y="498"/>
                </a:cubicBezTo>
                <a:cubicBezTo>
                  <a:pt x="4449" y="499"/>
                  <a:pt x="4449" y="499"/>
                  <a:pt x="4449" y="499"/>
                </a:cubicBezTo>
                <a:cubicBezTo>
                  <a:pt x="4434" y="506"/>
                  <a:pt x="4434" y="506"/>
                  <a:pt x="4434" y="506"/>
                </a:cubicBezTo>
                <a:cubicBezTo>
                  <a:pt x="4450" y="487"/>
                  <a:pt x="4450" y="487"/>
                  <a:pt x="4450" y="487"/>
                </a:cubicBezTo>
                <a:cubicBezTo>
                  <a:pt x="4470" y="487"/>
                  <a:pt x="4470" y="487"/>
                  <a:pt x="4470" y="487"/>
                </a:cubicBezTo>
                <a:cubicBezTo>
                  <a:pt x="4470" y="487"/>
                  <a:pt x="4494" y="478"/>
                  <a:pt x="4481" y="470"/>
                </a:cubicBezTo>
                <a:cubicBezTo>
                  <a:pt x="4467" y="462"/>
                  <a:pt x="4423" y="482"/>
                  <a:pt x="4423" y="482"/>
                </a:cubicBezTo>
                <a:cubicBezTo>
                  <a:pt x="4415" y="473"/>
                  <a:pt x="4415" y="473"/>
                  <a:pt x="4415" y="473"/>
                </a:cubicBezTo>
                <a:cubicBezTo>
                  <a:pt x="4399" y="485"/>
                  <a:pt x="4399" y="485"/>
                  <a:pt x="4399" y="485"/>
                </a:cubicBezTo>
                <a:cubicBezTo>
                  <a:pt x="4414" y="465"/>
                  <a:pt x="4414" y="465"/>
                  <a:pt x="4414" y="465"/>
                </a:cubicBezTo>
                <a:cubicBezTo>
                  <a:pt x="4377" y="478"/>
                  <a:pt x="4377" y="478"/>
                  <a:pt x="4377" y="478"/>
                </a:cubicBezTo>
                <a:cubicBezTo>
                  <a:pt x="4377" y="463"/>
                  <a:pt x="4377" y="463"/>
                  <a:pt x="4377" y="463"/>
                </a:cubicBezTo>
                <a:cubicBezTo>
                  <a:pt x="4377" y="463"/>
                  <a:pt x="4413" y="454"/>
                  <a:pt x="4413" y="450"/>
                </a:cubicBezTo>
                <a:cubicBezTo>
                  <a:pt x="4413" y="446"/>
                  <a:pt x="4363" y="455"/>
                  <a:pt x="4363" y="455"/>
                </a:cubicBezTo>
                <a:cubicBezTo>
                  <a:pt x="4362" y="447"/>
                  <a:pt x="4362" y="447"/>
                  <a:pt x="4362" y="447"/>
                </a:cubicBezTo>
                <a:cubicBezTo>
                  <a:pt x="4362" y="447"/>
                  <a:pt x="4410" y="437"/>
                  <a:pt x="4405" y="430"/>
                </a:cubicBezTo>
                <a:cubicBezTo>
                  <a:pt x="4399" y="423"/>
                  <a:pt x="4334" y="422"/>
                  <a:pt x="4326" y="419"/>
                </a:cubicBezTo>
                <a:cubicBezTo>
                  <a:pt x="4318" y="417"/>
                  <a:pt x="4302" y="419"/>
                  <a:pt x="4301" y="423"/>
                </a:cubicBezTo>
                <a:cubicBezTo>
                  <a:pt x="4299" y="427"/>
                  <a:pt x="4310" y="441"/>
                  <a:pt x="4310" y="441"/>
                </a:cubicBezTo>
                <a:cubicBezTo>
                  <a:pt x="4286" y="437"/>
                  <a:pt x="4286" y="437"/>
                  <a:pt x="4286" y="437"/>
                </a:cubicBezTo>
                <a:cubicBezTo>
                  <a:pt x="4289" y="455"/>
                  <a:pt x="4289" y="455"/>
                  <a:pt x="4289" y="455"/>
                </a:cubicBezTo>
                <a:cubicBezTo>
                  <a:pt x="4275" y="438"/>
                  <a:pt x="4275" y="438"/>
                  <a:pt x="4275" y="438"/>
                </a:cubicBezTo>
                <a:cubicBezTo>
                  <a:pt x="4250" y="454"/>
                  <a:pt x="4250" y="454"/>
                  <a:pt x="4250" y="454"/>
                </a:cubicBezTo>
                <a:cubicBezTo>
                  <a:pt x="4250" y="454"/>
                  <a:pt x="4255" y="439"/>
                  <a:pt x="4250" y="435"/>
                </a:cubicBezTo>
                <a:cubicBezTo>
                  <a:pt x="4245" y="431"/>
                  <a:pt x="4197" y="451"/>
                  <a:pt x="4197" y="451"/>
                </a:cubicBezTo>
                <a:cubicBezTo>
                  <a:pt x="4209" y="426"/>
                  <a:pt x="4209" y="426"/>
                  <a:pt x="4209" y="426"/>
                </a:cubicBezTo>
                <a:cubicBezTo>
                  <a:pt x="4209" y="426"/>
                  <a:pt x="4249" y="425"/>
                  <a:pt x="4249" y="415"/>
                </a:cubicBezTo>
                <a:cubicBezTo>
                  <a:pt x="4249" y="406"/>
                  <a:pt x="4235" y="394"/>
                  <a:pt x="4235" y="394"/>
                </a:cubicBezTo>
                <a:cubicBezTo>
                  <a:pt x="4235" y="394"/>
                  <a:pt x="4259" y="377"/>
                  <a:pt x="4243" y="374"/>
                </a:cubicBezTo>
                <a:cubicBezTo>
                  <a:pt x="4227" y="371"/>
                  <a:pt x="4181" y="375"/>
                  <a:pt x="4181" y="375"/>
                </a:cubicBezTo>
                <a:cubicBezTo>
                  <a:pt x="4166" y="386"/>
                  <a:pt x="4166" y="386"/>
                  <a:pt x="4166" y="386"/>
                </a:cubicBezTo>
                <a:cubicBezTo>
                  <a:pt x="4107" y="387"/>
                  <a:pt x="4107" y="387"/>
                  <a:pt x="4107" y="387"/>
                </a:cubicBezTo>
                <a:cubicBezTo>
                  <a:pt x="4114" y="398"/>
                  <a:pt x="4114" y="398"/>
                  <a:pt x="4114" y="398"/>
                </a:cubicBezTo>
                <a:cubicBezTo>
                  <a:pt x="4134" y="406"/>
                  <a:pt x="4134" y="406"/>
                  <a:pt x="4134" y="406"/>
                </a:cubicBezTo>
                <a:cubicBezTo>
                  <a:pt x="4105" y="398"/>
                  <a:pt x="4105" y="398"/>
                  <a:pt x="4105" y="398"/>
                </a:cubicBezTo>
                <a:cubicBezTo>
                  <a:pt x="4111" y="414"/>
                  <a:pt x="4111" y="414"/>
                  <a:pt x="4111" y="414"/>
                </a:cubicBezTo>
                <a:cubicBezTo>
                  <a:pt x="4111" y="414"/>
                  <a:pt x="4079" y="401"/>
                  <a:pt x="4070" y="413"/>
                </a:cubicBezTo>
                <a:cubicBezTo>
                  <a:pt x="4061" y="425"/>
                  <a:pt x="4078" y="437"/>
                  <a:pt x="4078" y="437"/>
                </a:cubicBezTo>
                <a:cubicBezTo>
                  <a:pt x="4081" y="454"/>
                  <a:pt x="4081" y="454"/>
                  <a:pt x="4081" y="454"/>
                </a:cubicBezTo>
                <a:cubicBezTo>
                  <a:pt x="4081" y="454"/>
                  <a:pt x="4061" y="442"/>
                  <a:pt x="4050" y="445"/>
                </a:cubicBezTo>
                <a:cubicBezTo>
                  <a:pt x="4039" y="447"/>
                  <a:pt x="4025" y="466"/>
                  <a:pt x="4037" y="467"/>
                </a:cubicBezTo>
                <a:cubicBezTo>
                  <a:pt x="4049" y="469"/>
                  <a:pt x="4053" y="475"/>
                  <a:pt x="4053" y="475"/>
                </a:cubicBezTo>
                <a:cubicBezTo>
                  <a:pt x="4022" y="490"/>
                  <a:pt x="4022" y="490"/>
                  <a:pt x="4022" y="490"/>
                </a:cubicBezTo>
                <a:cubicBezTo>
                  <a:pt x="3982" y="494"/>
                  <a:pt x="3982" y="494"/>
                  <a:pt x="3982" y="494"/>
                </a:cubicBezTo>
                <a:cubicBezTo>
                  <a:pt x="3982" y="494"/>
                  <a:pt x="4021" y="486"/>
                  <a:pt x="4021" y="477"/>
                </a:cubicBezTo>
                <a:cubicBezTo>
                  <a:pt x="4021" y="467"/>
                  <a:pt x="3997" y="466"/>
                  <a:pt x="4007" y="453"/>
                </a:cubicBezTo>
                <a:cubicBezTo>
                  <a:pt x="4018" y="439"/>
                  <a:pt x="4031" y="438"/>
                  <a:pt x="4031" y="438"/>
                </a:cubicBezTo>
                <a:cubicBezTo>
                  <a:pt x="4031" y="419"/>
                  <a:pt x="4031" y="419"/>
                  <a:pt x="4031" y="419"/>
                </a:cubicBezTo>
                <a:cubicBezTo>
                  <a:pt x="4031" y="419"/>
                  <a:pt x="4066" y="397"/>
                  <a:pt x="4078" y="391"/>
                </a:cubicBezTo>
                <a:cubicBezTo>
                  <a:pt x="4090" y="386"/>
                  <a:pt x="4135" y="379"/>
                  <a:pt x="4127" y="375"/>
                </a:cubicBezTo>
                <a:cubicBezTo>
                  <a:pt x="4119" y="371"/>
                  <a:pt x="4073" y="370"/>
                  <a:pt x="4047" y="371"/>
                </a:cubicBezTo>
                <a:cubicBezTo>
                  <a:pt x="4022" y="373"/>
                  <a:pt x="3954" y="414"/>
                  <a:pt x="3954" y="414"/>
                </a:cubicBezTo>
                <a:cubicBezTo>
                  <a:pt x="3954" y="414"/>
                  <a:pt x="3925" y="427"/>
                  <a:pt x="3915" y="429"/>
                </a:cubicBezTo>
                <a:cubicBezTo>
                  <a:pt x="3906" y="430"/>
                  <a:pt x="3902" y="441"/>
                  <a:pt x="3902" y="441"/>
                </a:cubicBezTo>
                <a:cubicBezTo>
                  <a:pt x="3902" y="441"/>
                  <a:pt x="3855" y="467"/>
                  <a:pt x="3873" y="474"/>
                </a:cubicBezTo>
                <a:cubicBezTo>
                  <a:pt x="3890" y="481"/>
                  <a:pt x="3942" y="477"/>
                  <a:pt x="3935" y="486"/>
                </a:cubicBezTo>
                <a:cubicBezTo>
                  <a:pt x="3929" y="495"/>
                  <a:pt x="3842" y="494"/>
                  <a:pt x="3863" y="509"/>
                </a:cubicBezTo>
                <a:cubicBezTo>
                  <a:pt x="3885" y="523"/>
                  <a:pt x="3911" y="526"/>
                  <a:pt x="3911" y="526"/>
                </a:cubicBezTo>
                <a:cubicBezTo>
                  <a:pt x="3942" y="514"/>
                  <a:pt x="3942" y="514"/>
                  <a:pt x="3942" y="514"/>
                </a:cubicBezTo>
                <a:cubicBezTo>
                  <a:pt x="3942" y="514"/>
                  <a:pt x="3933" y="530"/>
                  <a:pt x="3955" y="530"/>
                </a:cubicBezTo>
                <a:cubicBezTo>
                  <a:pt x="3978" y="530"/>
                  <a:pt x="4066" y="549"/>
                  <a:pt x="4077" y="543"/>
                </a:cubicBezTo>
                <a:cubicBezTo>
                  <a:pt x="4087" y="538"/>
                  <a:pt x="4063" y="526"/>
                  <a:pt x="4063" y="526"/>
                </a:cubicBezTo>
                <a:cubicBezTo>
                  <a:pt x="4063" y="526"/>
                  <a:pt x="4130" y="533"/>
                  <a:pt x="4141" y="534"/>
                </a:cubicBezTo>
                <a:cubicBezTo>
                  <a:pt x="4151" y="535"/>
                  <a:pt x="4178" y="546"/>
                  <a:pt x="4187" y="541"/>
                </a:cubicBezTo>
                <a:cubicBezTo>
                  <a:pt x="4197" y="535"/>
                  <a:pt x="4178" y="515"/>
                  <a:pt x="4178" y="515"/>
                </a:cubicBezTo>
                <a:cubicBezTo>
                  <a:pt x="4209" y="509"/>
                  <a:pt x="4209" y="509"/>
                  <a:pt x="4209" y="509"/>
                </a:cubicBezTo>
                <a:cubicBezTo>
                  <a:pt x="4209" y="509"/>
                  <a:pt x="4217" y="531"/>
                  <a:pt x="4221" y="530"/>
                </a:cubicBezTo>
                <a:cubicBezTo>
                  <a:pt x="4225" y="529"/>
                  <a:pt x="4239" y="545"/>
                  <a:pt x="4239" y="545"/>
                </a:cubicBezTo>
                <a:cubicBezTo>
                  <a:pt x="4259" y="538"/>
                  <a:pt x="4259" y="538"/>
                  <a:pt x="4259" y="538"/>
                </a:cubicBezTo>
                <a:cubicBezTo>
                  <a:pt x="4259" y="538"/>
                  <a:pt x="4251" y="558"/>
                  <a:pt x="4255" y="559"/>
                </a:cubicBezTo>
                <a:cubicBezTo>
                  <a:pt x="4259" y="561"/>
                  <a:pt x="4289" y="567"/>
                  <a:pt x="4289" y="567"/>
                </a:cubicBezTo>
                <a:cubicBezTo>
                  <a:pt x="4289" y="567"/>
                  <a:pt x="4267" y="586"/>
                  <a:pt x="4275" y="586"/>
                </a:cubicBezTo>
                <a:cubicBezTo>
                  <a:pt x="4283" y="586"/>
                  <a:pt x="4302" y="586"/>
                  <a:pt x="4302" y="586"/>
                </a:cubicBezTo>
                <a:cubicBezTo>
                  <a:pt x="4298" y="603"/>
                  <a:pt x="4298" y="603"/>
                  <a:pt x="4298" y="603"/>
                </a:cubicBezTo>
                <a:cubicBezTo>
                  <a:pt x="4298" y="603"/>
                  <a:pt x="4331" y="607"/>
                  <a:pt x="4331" y="623"/>
                </a:cubicBezTo>
                <a:cubicBezTo>
                  <a:pt x="4331" y="639"/>
                  <a:pt x="4309" y="673"/>
                  <a:pt x="4303" y="674"/>
                </a:cubicBezTo>
                <a:cubicBezTo>
                  <a:pt x="4298" y="675"/>
                  <a:pt x="4210" y="714"/>
                  <a:pt x="4210" y="714"/>
                </a:cubicBezTo>
                <a:cubicBezTo>
                  <a:pt x="4210" y="714"/>
                  <a:pt x="4238" y="733"/>
                  <a:pt x="4223" y="739"/>
                </a:cubicBezTo>
                <a:cubicBezTo>
                  <a:pt x="4209" y="746"/>
                  <a:pt x="4189" y="747"/>
                  <a:pt x="4189" y="747"/>
                </a:cubicBezTo>
                <a:cubicBezTo>
                  <a:pt x="4137" y="754"/>
                  <a:pt x="4137" y="754"/>
                  <a:pt x="4137" y="754"/>
                </a:cubicBezTo>
                <a:cubicBezTo>
                  <a:pt x="4131" y="769"/>
                  <a:pt x="4131" y="769"/>
                  <a:pt x="4131" y="769"/>
                </a:cubicBezTo>
                <a:cubicBezTo>
                  <a:pt x="4122" y="755"/>
                  <a:pt x="4122" y="755"/>
                  <a:pt x="4122" y="755"/>
                </a:cubicBezTo>
                <a:cubicBezTo>
                  <a:pt x="4122" y="755"/>
                  <a:pt x="4095" y="746"/>
                  <a:pt x="4082" y="749"/>
                </a:cubicBezTo>
                <a:cubicBezTo>
                  <a:pt x="4069" y="751"/>
                  <a:pt x="4070" y="763"/>
                  <a:pt x="4070" y="763"/>
                </a:cubicBezTo>
                <a:cubicBezTo>
                  <a:pt x="4070" y="763"/>
                  <a:pt x="4025" y="773"/>
                  <a:pt x="4025" y="789"/>
                </a:cubicBezTo>
                <a:cubicBezTo>
                  <a:pt x="4025" y="813"/>
                  <a:pt x="4059" y="807"/>
                  <a:pt x="4086" y="798"/>
                </a:cubicBezTo>
                <a:cubicBezTo>
                  <a:pt x="4113" y="789"/>
                  <a:pt x="4119" y="790"/>
                  <a:pt x="4119" y="790"/>
                </a:cubicBezTo>
                <a:cubicBezTo>
                  <a:pt x="4119" y="790"/>
                  <a:pt x="4138" y="803"/>
                  <a:pt x="4145" y="798"/>
                </a:cubicBezTo>
                <a:cubicBezTo>
                  <a:pt x="4151" y="793"/>
                  <a:pt x="4147" y="782"/>
                  <a:pt x="4147" y="782"/>
                </a:cubicBezTo>
                <a:cubicBezTo>
                  <a:pt x="4163" y="767"/>
                  <a:pt x="4163" y="767"/>
                  <a:pt x="4163" y="767"/>
                </a:cubicBezTo>
                <a:cubicBezTo>
                  <a:pt x="4163" y="767"/>
                  <a:pt x="4150" y="779"/>
                  <a:pt x="4159" y="782"/>
                </a:cubicBezTo>
                <a:cubicBezTo>
                  <a:pt x="4169" y="785"/>
                  <a:pt x="4203" y="785"/>
                  <a:pt x="4203" y="785"/>
                </a:cubicBezTo>
                <a:cubicBezTo>
                  <a:pt x="4203" y="785"/>
                  <a:pt x="4189" y="791"/>
                  <a:pt x="4190" y="798"/>
                </a:cubicBezTo>
                <a:cubicBezTo>
                  <a:pt x="4191" y="805"/>
                  <a:pt x="4213" y="809"/>
                  <a:pt x="4213" y="809"/>
                </a:cubicBezTo>
                <a:cubicBezTo>
                  <a:pt x="4213" y="809"/>
                  <a:pt x="4199" y="818"/>
                  <a:pt x="4210" y="825"/>
                </a:cubicBezTo>
                <a:cubicBezTo>
                  <a:pt x="4221" y="831"/>
                  <a:pt x="4245" y="831"/>
                  <a:pt x="4245" y="831"/>
                </a:cubicBezTo>
                <a:cubicBezTo>
                  <a:pt x="4214" y="842"/>
                  <a:pt x="4214" y="842"/>
                  <a:pt x="4214" y="842"/>
                </a:cubicBezTo>
                <a:cubicBezTo>
                  <a:pt x="4214" y="842"/>
                  <a:pt x="4219" y="863"/>
                  <a:pt x="4225" y="862"/>
                </a:cubicBezTo>
                <a:cubicBezTo>
                  <a:pt x="4230" y="861"/>
                  <a:pt x="4241" y="854"/>
                  <a:pt x="4241" y="854"/>
                </a:cubicBezTo>
                <a:cubicBezTo>
                  <a:pt x="4241" y="854"/>
                  <a:pt x="4243" y="869"/>
                  <a:pt x="4253" y="870"/>
                </a:cubicBezTo>
                <a:cubicBezTo>
                  <a:pt x="4262" y="871"/>
                  <a:pt x="4283" y="874"/>
                  <a:pt x="4283" y="874"/>
                </a:cubicBezTo>
                <a:cubicBezTo>
                  <a:pt x="4283" y="874"/>
                  <a:pt x="4282" y="891"/>
                  <a:pt x="4298" y="895"/>
                </a:cubicBezTo>
                <a:cubicBezTo>
                  <a:pt x="4314" y="899"/>
                  <a:pt x="4325" y="891"/>
                  <a:pt x="4339" y="899"/>
                </a:cubicBezTo>
                <a:cubicBezTo>
                  <a:pt x="4354" y="907"/>
                  <a:pt x="4390" y="922"/>
                  <a:pt x="4390" y="922"/>
                </a:cubicBezTo>
                <a:cubicBezTo>
                  <a:pt x="4390" y="922"/>
                  <a:pt x="4401" y="902"/>
                  <a:pt x="4389" y="889"/>
                </a:cubicBezTo>
                <a:cubicBezTo>
                  <a:pt x="4377" y="875"/>
                  <a:pt x="4357" y="863"/>
                  <a:pt x="4357" y="863"/>
                </a:cubicBezTo>
                <a:cubicBezTo>
                  <a:pt x="4357" y="863"/>
                  <a:pt x="4337" y="838"/>
                  <a:pt x="4342" y="830"/>
                </a:cubicBezTo>
                <a:cubicBezTo>
                  <a:pt x="4347" y="822"/>
                  <a:pt x="4370" y="845"/>
                  <a:pt x="4370" y="845"/>
                </a:cubicBezTo>
                <a:cubicBezTo>
                  <a:pt x="4370" y="825"/>
                  <a:pt x="4370" y="825"/>
                  <a:pt x="4370" y="825"/>
                </a:cubicBezTo>
                <a:cubicBezTo>
                  <a:pt x="4370" y="825"/>
                  <a:pt x="4379" y="850"/>
                  <a:pt x="4389" y="850"/>
                </a:cubicBezTo>
                <a:cubicBezTo>
                  <a:pt x="4398" y="850"/>
                  <a:pt x="4413" y="846"/>
                  <a:pt x="4413" y="846"/>
                </a:cubicBezTo>
                <a:cubicBezTo>
                  <a:pt x="4413" y="846"/>
                  <a:pt x="4409" y="867"/>
                  <a:pt x="4419" y="866"/>
                </a:cubicBezTo>
                <a:cubicBezTo>
                  <a:pt x="4430" y="865"/>
                  <a:pt x="4434" y="877"/>
                  <a:pt x="4434" y="877"/>
                </a:cubicBezTo>
                <a:cubicBezTo>
                  <a:pt x="4447" y="862"/>
                  <a:pt x="4447" y="862"/>
                  <a:pt x="4447" y="862"/>
                </a:cubicBezTo>
                <a:cubicBezTo>
                  <a:pt x="4447" y="862"/>
                  <a:pt x="4457" y="874"/>
                  <a:pt x="4462" y="871"/>
                </a:cubicBezTo>
                <a:cubicBezTo>
                  <a:pt x="4467" y="869"/>
                  <a:pt x="4461" y="853"/>
                  <a:pt x="4461" y="853"/>
                </a:cubicBezTo>
                <a:cubicBezTo>
                  <a:pt x="4471" y="822"/>
                  <a:pt x="4471" y="822"/>
                  <a:pt x="4471" y="822"/>
                </a:cubicBezTo>
                <a:cubicBezTo>
                  <a:pt x="4471" y="822"/>
                  <a:pt x="4471" y="849"/>
                  <a:pt x="4479" y="849"/>
                </a:cubicBezTo>
                <a:cubicBezTo>
                  <a:pt x="4487" y="849"/>
                  <a:pt x="4491" y="821"/>
                  <a:pt x="4491" y="821"/>
                </a:cubicBezTo>
                <a:cubicBezTo>
                  <a:pt x="4477" y="805"/>
                  <a:pt x="4477" y="805"/>
                  <a:pt x="4477" y="805"/>
                </a:cubicBezTo>
                <a:cubicBezTo>
                  <a:pt x="4491" y="801"/>
                  <a:pt x="4491" y="801"/>
                  <a:pt x="4491" y="801"/>
                </a:cubicBezTo>
                <a:cubicBezTo>
                  <a:pt x="4479" y="791"/>
                  <a:pt x="4479" y="791"/>
                  <a:pt x="4479" y="791"/>
                </a:cubicBezTo>
                <a:cubicBezTo>
                  <a:pt x="4481" y="778"/>
                  <a:pt x="4481" y="778"/>
                  <a:pt x="4481" y="778"/>
                </a:cubicBezTo>
                <a:cubicBezTo>
                  <a:pt x="4461" y="781"/>
                  <a:pt x="4461" y="781"/>
                  <a:pt x="4461" y="781"/>
                </a:cubicBezTo>
                <a:cubicBezTo>
                  <a:pt x="4461" y="770"/>
                  <a:pt x="4461" y="770"/>
                  <a:pt x="4461" y="770"/>
                </a:cubicBezTo>
                <a:cubicBezTo>
                  <a:pt x="4446" y="770"/>
                  <a:pt x="4446" y="770"/>
                  <a:pt x="4446" y="770"/>
                </a:cubicBezTo>
                <a:cubicBezTo>
                  <a:pt x="4445" y="737"/>
                  <a:pt x="4445" y="737"/>
                  <a:pt x="4445" y="737"/>
                </a:cubicBezTo>
                <a:cubicBezTo>
                  <a:pt x="4423" y="738"/>
                  <a:pt x="4423" y="738"/>
                  <a:pt x="4423" y="738"/>
                </a:cubicBezTo>
                <a:cubicBezTo>
                  <a:pt x="4423" y="738"/>
                  <a:pt x="4411" y="718"/>
                  <a:pt x="4423" y="715"/>
                </a:cubicBezTo>
                <a:cubicBezTo>
                  <a:pt x="4435" y="713"/>
                  <a:pt x="4443" y="730"/>
                  <a:pt x="4451" y="727"/>
                </a:cubicBezTo>
                <a:cubicBezTo>
                  <a:pt x="4459" y="725"/>
                  <a:pt x="4458" y="699"/>
                  <a:pt x="4458" y="699"/>
                </a:cubicBezTo>
                <a:cubicBezTo>
                  <a:pt x="4473" y="703"/>
                  <a:pt x="4473" y="703"/>
                  <a:pt x="4473" y="703"/>
                </a:cubicBezTo>
                <a:cubicBezTo>
                  <a:pt x="4498" y="691"/>
                  <a:pt x="4498" y="691"/>
                  <a:pt x="4498" y="691"/>
                </a:cubicBezTo>
                <a:cubicBezTo>
                  <a:pt x="4498" y="691"/>
                  <a:pt x="4499" y="723"/>
                  <a:pt x="4506" y="717"/>
                </a:cubicBezTo>
                <a:cubicBezTo>
                  <a:pt x="4513" y="710"/>
                  <a:pt x="4526" y="710"/>
                  <a:pt x="4526" y="710"/>
                </a:cubicBezTo>
                <a:cubicBezTo>
                  <a:pt x="4518" y="722"/>
                  <a:pt x="4518" y="722"/>
                  <a:pt x="4518" y="722"/>
                </a:cubicBezTo>
                <a:cubicBezTo>
                  <a:pt x="4533" y="723"/>
                  <a:pt x="4533" y="723"/>
                  <a:pt x="4533" y="723"/>
                </a:cubicBezTo>
                <a:cubicBezTo>
                  <a:pt x="4526" y="742"/>
                  <a:pt x="4526" y="742"/>
                  <a:pt x="4526" y="742"/>
                </a:cubicBezTo>
                <a:cubicBezTo>
                  <a:pt x="4526" y="742"/>
                  <a:pt x="4549" y="783"/>
                  <a:pt x="4565" y="773"/>
                </a:cubicBezTo>
                <a:cubicBezTo>
                  <a:pt x="4581" y="762"/>
                  <a:pt x="4583" y="737"/>
                  <a:pt x="4583" y="737"/>
                </a:cubicBezTo>
                <a:cubicBezTo>
                  <a:pt x="4590" y="727"/>
                  <a:pt x="4590" y="727"/>
                  <a:pt x="4590" y="727"/>
                </a:cubicBezTo>
                <a:cubicBezTo>
                  <a:pt x="4590" y="727"/>
                  <a:pt x="4609" y="743"/>
                  <a:pt x="4622" y="734"/>
                </a:cubicBezTo>
                <a:cubicBezTo>
                  <a:pt x="4635" y="725"/>
                  <a:pt x="4634" y="707"/>
                  <a:pt x="4634" y="707"/>
                </a:cubicBezTo>
                <a:cubicBezTo>
                  <a:pt x="4634" y="707"/>
                  <a:pt x="4669" y="717"/>
                  <a:pt x="4683" y="701"/>
                </a:cubicBezTo>
                <a:close/>
                <a:moveTo>
                  <a:pt x="4331" y="69"/>
                </a:moveTo>
                <a:cubicBezTo>
                  <a:pt x="4387" y="72"/>
                  <a:pt x="4387" y="72"/>
                  <a:pt x="4387" y="72"/>
                </a:cubicBezTo>
                <a:cubicBezTo>
                  <a:pt x="4332" y="80"/>
                  <a:pt x="4332" y="80"/>
                  <a:pt x="4332" y="80"/>
                </a:cubicBezTo>
                <a:cubicBezTo>
                  <a:pt x="4332" y="80"/>
                  <a:pt x="4352" y="89"/>
                  <a:pt x="4366" y="89"/>
                </a:cubicBezTo>
                <a:cubicBezTo>
                  <a:pt x="4380" y="89"/>
                  <a:pt x="4417" y="83"/>
                  <a:pt x="4417" y="83"/>
                </a:cubicBezTo>
                <a:cubicBezTo>
                  <a:pt x="4417" y="83"/>
                  <a:pt x="4442" y="75"/>
                  <a:pt x="4460" y="75"/>
                </a:cubicBezTo>
                <a:cubicBezTo>
                  <a:pt x="4479" y="75"/>
                  <a:pt x="4522" y="84"/>
                  <a:pt x="4522" y="84"/>
                </a:cubicBezTo>
                <a:cubicBezTo>
                  <a:pt x="4522" y="84"/>
                  <a:pt x="4471" y="85"/>
                  <a:pt x="4459" y="86"/>
                </a:cubicBezTo>
                <a:cubicBezTo>
                  <a:pt x="4447" y="87"/>
                  <a:pt x="4412" y="100"/>
                  <a:pt x="4412" y="100"/>
                </a:cubicBezTo>
                <a:cubicBezTo>
                  <a:pt x="4412" y="100"/>
                  <a:pt x="4440" y="100"/>
                  <a:pt x="4461" y="102"/>
                </a:cubicBezTo>
                <a:cubicBezTo>
                  <a:pt x="4483" y="104"/>
                  <a:pt x="4488" y="96"/>
                  <a:pt x="4488" y="96"/>
                </a:cubicBezTo>
                <a:cubicBezTo>
                  <a:pt x="4532" y="96"/>
                  <a:pt x="4532" y="96"/>
                  <a:pt x="4532" y="96"/>
                </a:cubicBezTo>
                <a:cubicBezTo>
                  <a:pt x="4532" y="96"/>
                  <a:pt x="4546" y="97"/>
                  <a:pt x="4563" y="97"/>
                </a:cubicBezTo>
                <a:cubicBezTo>
                  <a:pt x="4580" y="97"/>
                  <a:pt x="4620" y="86"/>
                  <a:pt x="4624" y="83"/>
                </a:cubicBezTo>
                <a:cubicBezTo>
                  <a:pt x="4629" y="79"/>
                  <a:pt x="4655" y="76"/>
                  <a:pt x="4668" y="72"/>
                </a:cubicBezTo>
                <a:cubicBezTo>
                  <a:pt x="4681" y="67"/>
                  <a:pt x="4702" y="72"/>
                  <a:pt x="4702" y="72"/>
                </a:cubicBezTo>
                <a:cubicBezTo>
                  <a:pt x="4644" y="89"/>
                  <a:pt x="4644" y="89"/>
                  <a:pt x="4644" y="89"/>
                </a:cubicBezTo>
                <a:cubicBezTo>
                  <a:pt x="4667" y="90"/>
                  <a:pt x="4667" y="90"/>
                  <a:pt x="4667" y="90"/>
                </a:cubicBezTo>
                <a:cubicBezTo>
                  <a:pt x="4635" y="100"/>
                  <a:pt x="4635" y="100"/>
                  <a:pt x="4635" y="100"/>
                </a:cubicBezTo>
                <a:cubicBezTo>
                  <a:pt x="4635" y="100"/>
                  <a:pt x="4522" y="105"/>
                  <a:pt x="4509" y="105"/>
                </a:cubicBezTo>
                <a:cubicBezTo>
                  <a:pt x="4496" y="105"/>
                  <a:pt x="4496" y="117"/>
                  <a:pt x="4496" y="117"/>
                </a:cubicBezTo>
                <a:cubicBezTo>
                  <a:pt x="4547" y="132"/>
                  <a:pt x="4547" y="132"/>
                  <a:pt x="4547" y="132"/>
                </a:cubicBezTo>
                <a:cubicBezTo>
                  <a:pt x="4547" y="132"/>
                  <a:pt x="4527" y="138"/>
                  <a:pt x="4515" y="138"/>
                </a:cubicBezTo>
                <a:cubicBezTo>
                  <a:pt x="4504" y="138"/>
                  <a:pt x="4456" y="112"/>
                  <a:pt x="4456" y="112"/>
                </a:cubicBezTo>
                <a:cubicBezTo>
                  <a:pt x="4456" y="112"/>
                  <a:pt x="4407" y="113"/>
                  <a:pt x="4394" y="113"/>
                </a:cubicBezTo>
                <a:cubicBezTo>
                  <a:pt x="4381" y="113"/>
                  <a:pt x="4373" y="128"/>
                  <a:pt x="4373" y="128"/>
                </a:cubicBezTo>
                <a:cubicBezTo>
                  <a:pt x="4394" y="139"/>
                  <a:pt x="4394" y="139"/>
                  <a:pt x="4394" y="139"/>
                </a:cubicBezTo>
                <a:cubicBezTo>
                  <a:pt x="4394" y="139"/>
                  <a:pt x="4405" y="155"/>
                  <a:pt x="4422" y="158"/>
                </a:cubicBezTo>
                <a:cubicBezTo>
                  <a:pt x="4438" y="161"/>
                  <a:pt x="4471" y="157"/>
                  <a:pt x="4471" y="157"/>
                </a:cubicBezTo>
                <a:cubicBezTo>
                  <a:pt x="4471" y="157"/>
                  <a:pt x="4463" y="166"/>
                  <a:pt x="4446" y="168"/>
                </a:cubicBezTo>
                <a:cubicBezTo>
                  <a:pt x="4430" y="170"/>
                  <a:pt x="4399" y="164"/>
                  <a:pt x="4391" y="162"/>
                </a:cubicBezTo>
                <a:cubicBezTo>
                  <a:pt x="4384" y="160"/>
                  <a:pt x="4328" y="170"/>
                  <a:pt x="4310" y="170"/>
                </a:cubicBezTo>
                <a:cubicBezTo>
                  <a:pt x="4291" y="170"/>
                  <a:pt x="4256" y="195"/>
                  <a:pt x="4256" y="195"/>
                </a:cubicBezTo>
                <a:cubicBezTo>
                  <a:pt x="4305" y="187"/>
                  <a:pt x="4305" y="187"/>
                  <a:pt x="4305" y="187"/>
                </a:cubicBezTo>
                <a:cubicBezTo>
                  <a:pt x="4303" y="199"/>
                  <a:pt x="4303" y="199"/>
                  <a:pt x="4303" y="199"/>
                </a:cubicBezTo>
                <a:cubicBezTo>
                  <a:pt x="4345" y="187"/>
                  <a:pt x="4345" y="187"/>
                  <a:pt x="4345" y="187"/>
                </a:cubicBezTo>
                <a:cubicBezTo>
                  <a:pt x="4298" y="205"/>
                  <a:pt x="4298" y="205"/>
                  <a:pt x="4298" y="205"/>
                </a:cubicBezTo>
                <a:cubicBezTo>
                  <a:pt x="4298" y="205"/>
                  <a:pt x="4306" y="216"/>
                  <a:pt x="4322" y="216"/>
                </a:cubicBezTo>
                <a:cubicBezTo>
                  <a:pt x="4339" y="216"/>
                  <a:pt x="4384" y="199"/>
                  <a:pt x="4384" y="199"/>
                </a:cubicBezTo>
                <a:cubicBezTo>
                  <a:pt x="4316" y="225"/>
                  <a:pt x="4316" y="225"/>
                  <a:pt x="4316" y="225"/>
                </a:cubicBezTo>
                <a:cubicBezTo>
                  <a:pt x="4271" y="222"/>
                  <a:pt x="4271" y="222"/>
                  <a:pt x="4271" y="222"/>
                </a:cubicBezTo>
                <a:cubicBezTo>
                  <a:pt x="4262" y="205"/>
                  <a:pt x="4262" y="205"/>
                  <a:pt x="4262" y="205"/>
                </a:cubicBezTo>
                <a:cubicBezTo>
                  <a:pt x="4262" y="205"/>
                  <a:pt x="4229" y="202"/>
                  <a:pt x="4219" y="204"/>
                </a:cubicBezTo>
                <a:cubicBezTo>
                  <a:pt x="4209" y="206"/>
                  <a:pt x="4223" y="231"/>
                  <a:pt x="4223" y="231"/>
                </a:cubicBezTo>
                <a:cubicBezTo>
                  <a:pt x="4223" y="231"/>
                  <a:pt x="4179" y="235"/>
                  <a:pt x="4173" y="235"/>
                </a:cubicBezTo>
                <a:cubicBezTo>
                  <a:pt x="4166" y="235"/>
                  <a:pt x="4136" y="250"/>
                  <a:pt x="4116" y="252"/>
                </a:cubicBezTo>
                <a:cubicBezTo>
                  <a:pt x="4104" y="253"/>
                  <a:pt x="4095" y="254"/>
                  <a:pt x="4092" y="254"/>
                </a:cubicBezTo>
                <a:cubicBezTo>
                  <a:pt x="4089" y="254"/>
                  <a:pt x="4108" y="260"/>
                  <a:pt x="4123" y="260"/>
                </a:cubicBezTo>
                <a:cubicBezTo>
                  <a:pt x="4138" y="260"/>
                  <a:pt x="4145" y="253"/>
                  <a:pt x="4145" y="253"/>
                </a:cubicBezTo>
                <a:cubicBezTo>
                  <a:pt x="4137" y="265"/>
                  <a:pt x="4137" y="265"/>
                  <a:pt x="4137" y="265"/>
                </a:cubicBezTo>
                <a:cubicBezTo>
                  <a:pt x="4162" y="260"/>
                  <a:pt x="4162" y="260"/>
                  <a:pt x="4162" y="260"/>
                </a:cubicBezTo>
                <a:cubicBezTo>
                  <a:pt x="4177" y="253"/>
                  <a:pt x="4177" y="253"/>
                  <a:pt x="4177" y="253"/>
                </a:cubicBezTo>
                <a:cubicBezTo>
                  <a:pt x="4177" y="261"/>
                  <a:pt x="4177" y="261"/>
                  <a:pt x="4177" y="261"/>
                </a:cubicBezTo>
                <a:cubicBezTo>
                  <a:pt x="4194" y="259"/>
                  <a:pt x="4194" y="259"/>
                  <a:pt x="4194" y="259"/>
                </a:cubicBezTo>
                <a:cubicBezTo>
                  <a:pt x="4210" y="257"/>
                  <a:pt x="4210" y="257"/>
                  <a:pt x="4210" y="257"/>
                </a:cubicBezTo>
                <a:cubicBezTo>
                  <a:pt x="4210" y="257"/>
                  <a:pt x="4211" y="266"/>
                  <a:pt x="4222" y="267"/>
                </a:cubicBezTo>
                <a:cubicBezTo>
                  <a:pt x="4233" y="268"/>
                  <a:pt x="4255" y="254"/>
                  <a:pt x="4255" y="254"/>
                </a:cubicBezTo>
                <a:cubicBezTo>
                  <a:pt x="4260" y="263"/>
                  <a:pt x="4260" y="263"/>
                  <a:pt x="4260" y="263"/>
                </a:cubicBezTo>
                <a:cubicBezTo>
                  <a:pt x="4278" y="253"/>
                  <a:pt x="4278" y="253"/>
                  <a:pt x="4278" y="253"/>
                </a:cubicBezTo>
                <a:cubicBezTo>
                  <a:pt x="4278" y="253"/>
                  <a:pt x="4284" y="261"/>
                  <a:pt x="4292" y="264"/>
                </a:cubicBezTo>
                <a:cubicBezTo>
                  <a:pt x="4301" y="266"/>
                  <a:pt x="4310" y="255"/>
                  <a:pt x="4310" y="255"/>
                </a:cubicBezTo>
                <a:cubicBezTo>
                  <a:pt x="4310" y="255"/>
                  <a:pt x="4319" y="263"/>
                  <a:pt x="4332" y="263"/>
                </a:cubicBezTo>
                <a:cubicBezTo>
                  <a:pt x="4345" y="263"/>
                  <a:pt x="4335" y="251"/>
                  <a:pt x="4335" y="251"/>
                </a:cubicBezTo>
                <a:cubicBezTo>
                  <a:pt x="4373" y="265"/>
                  <a:pt x="4373" y="265"/>
                  <a:pt x="4373" y="265"/>
                </a:cubicBezTo>
                <a:cubicBezTo>
                  <a:pt x="4373" y="265"/>
                  <a:pt x="4380" y="274"/>
                  <a:pt x="4384" y="274"/>
                </a:cubicBezTo>
                <a:cubicBezTo>
                  <a:pt x="4388" y="274"/>
                  <a:pt x="4446" y="261"/>
                  <a:pt x="4457" y="261"/>
                </a:cubicBezTo>
                <a:cubicBezTo>
                  <a:pt x="4468" y="261"/>
                  <a:pt x="4493" y="251"/>
                  <a:pt x="4497" y="244"/>
                </a:cubicBezTo>
                <a:cubicBezTo>
                  <a:pt x="4501" y="238"/>
                  <a:pt x="4455" y="243"/>
                  <a:pt x="4455" y="243"/>
                </a:cubicBezTo>
                <a:cubicBezTo>
                  <a:pt x="4455" y="243"/>
                  <a:pt x="4464" y="236"/>
                  <a:pt x="4457" y="233"/>
                </a:cubicBezTo>
                <a:cubicBezTo>
                  <a:pt x="4451" y="231"/>
                  <a:pt x="4425" y="233"/>
                  <a:pt x="4425" y="233"/>
                </a:cubicBezTo>
                <a:cubicBezTo>
                  <a:pt x="4387" y="227"/>
                  <a:pt x="4387" y="227"/>
                  <a:pt x="4387" y="227"/>
                </a:cubicBezTo>
                <a:cubicBezTo>
                  <a:pt x="4399" y="214"/>
                  <a:pt x="4399" y="214"/>
                  <a:pt x="4399" y="214"/>
                </a:cubicBezTo>
                <a:cubicBezTo>
                  <a:pt x="4441" y="228"/>
                  <a:pt x="4441" y="228"/>
                  <a:pt x="4441" y="228"/>
                </a:cubicBezTo>
                <a:cubicBezTo>
                  <a:pt x="4441" y="228"/>
                  <a:pt x="4496" y="225"/>
                  <a:pt x="4516" y="224"/>
                </a:cubicBezTo>
                <a:cubicBezTo>
                  <a:pt x="4537" y="223"/>
                  <a:pt x="4532" y="205"/>
                  <a:pt x="4532" y="205"/>
                </a:cubicBezTo>
                <a:cubicBezTo>
                  <a:pt x="4532" y="205"/>
                  <a:pt x="4557" y="200"/>
                  <a:pt x="4576" y="200"/>
                </a:cubicBezTo>
                <a:cubicBezTo>
                  <a:pt x="4594" y="200"/>
                  <a:pt x="4632" y="191"/>
                  <a:pt x="4632" y="191"/>
                </a:cubicBezTo>
                <a:cubicBezTo>
                  <a:pt x="4614" y="180"/>
                  <a:pt x="4614" y="180"/>
                  <a:pt x="4614" y="180"/>
                </a:cubicBezTo>
                <a:cubicBezTo>
                  <a:pt x="4614" y="180"/>
                  <a:pt x="4637" y="180"/>
                  <a:pt x="4662" y="174"/>
                </a:cubicBezTo>
                <a:cubicBezTo>
                  <a:pt x="4687" y="169"/>
                  <a:pt x="4629" y="159"/>
                  <a:pt x="4629" y="159"/>
                </a:cubicBezTo>
                <a:cubicBezTo>
                  <a:pt x="4629" y="159"/>
                  <a:pt x="4597" y="160"/>
                  <a:pt x="4586" y="156"/>
                </a:cubicBezTo>
                <a:cubicBezTo>
                  <a:pt x="4576" y="152"/>
                  <a:pt x="4634" y="138"/>
                  <a:pt x="4637" y="139"/>
                </a:cubicBezTo>
                <a:cubicBezTo>
                  <a:pt x="4640" y="140"/>
                  <a:pt x="4682" y="144"/>
                  <a:pt x="4682" y="144"/>
                </a:cubicBezTo>
                <a:cubicBezTo>
                  <a:pt x="4682" y="144"/>
                  <a:pt x="4730" y="142"/>
                  <a:pt x="4745" y="139"/>
                </a:cubicBezTo>
                <a:cubicBezTo>
                  <a:pt x="4760" y="135"/>
                  <a:pt x="4711" y="133"/>
                  <a:pt x="4729" y="126"/>
                </a:cubicBezTo>
                <a:cubicBezTo>
                  <a:pt x="4746" y="118"/>
                  <a:pt x="4778" y="132"/>
                  <a:pt x="4798" y="132"/>
                </a:cubicBezTo>
                <a:cubicBezTo>
                  <a:pt x="4817" y="132"/>
                  <a:pt x="4810" y="115"/>
                  <a:pt x="4810" y="115"/>
                </a:cubicBezTo>
                <a:cubicBezTo>
                  <a:pt x="4858" y="118"/>
                  <a:pt x="4858" y="118"/>
                  <a:pt x="4858" y="118"/>
                </a:cubicBezTo>
                <a:cubicBezTo>
                  <a:pt x="4861" y="104"/>
                  <a:pt x="4861" y="104"/>
                  <a:pt x="4861" y="104"/>
                </a:cubicBezTo>
                <a:cubicBezTo>
                  <a:pt x="4861" y="104"/>
                  <a:pt x="4874" y="108"/>
                  <a:pt x="4883" y="108"/>
                </a:cubicBezTo>
                <a:cubicBezTo>
                  <a:pt x="4891" y="108"/>
                  <a:pt x="4922" y="96"/>
                  <a:pt x="4922" y="96"/>
                </a:cubicBezTo>
                <a:cubicBezTo>
                  <a:pt x="4922" y="96"/>
                  <a:pt x="4981" y="86"/>
                  <a:pt x="5013" y="80"/>
                </a:cubicBezTo>
                <a:cubicBezTo>
                  <a:pt x="5046" y="75"/>
                  <a:pt x="5049" y="70"/>
                  <a:pt x="5044" y="70"/>
                </a:cubicBezTo>
                <a:cubicBezTo>
                  <a:pt x="5040" y="70"/>
                  <a:pt x="4973" y="73"/>
                  <a:pt x="4973" y="73"/>
                </a:cubicBezTo>
                <a:cubicBezTo>
                  <a:pt x="4956" y="80"/>
                  <a:pt x="4956" y="80"/>
                  <a:pt x="4956" y="80"/>
                </a:cubicBezTo>
                <a:cubicBezTo>
                  <a:pt x="4910" y="77"/>
                  <a:pt x="4910" y="77"/>
                  <a:pt x="4910" y="77"/>
                </a:cubicBezTo>
                <a:cubicBezTo>
                  <a:pt x="4963" y="74"/>
                  <a:pt x="4963" y="74"/>
                  <a:pt x="4963" y="74"/>
                </a:cubicBezTo>
                <a:cubicBezTo>
                  <a:pt x="4961" y="65"/>
                  <a:pt x="4961" y="65"/>
                  <a:pt x="4961" y="65"/>
                </a:cubicBezTo>
                <a:cubicBezTo>
                  <a:pt x="4994" y="70"/>
                  <a:pt x="4994" y="70"/>
                  <a:pt x="4994" y="70"/>
                </a:cubicBezTo>
                <a:cubicBezTo>
                  <a:pt x="4994" y="70"/>
                  <a:pt x="4999" y="62"/>
                  <a:pt x="5008" y="62"/>
                </a:cubicBezTo>
                <a:cubicBezTo>
                  <a:pt x="5016" y="62"/>
                  <a:pt x="5117" y="58"/>
                  <a:pt x="5135" y="57"/>
                </a:cubicBezTo>
                <a:cubicBezTo>
                  <a:pt x="5153" y="56"/>
                  <a:pt x="5200" y="43"/>
                  <a:pt x="5197" y="39"/>
                </a:cubicBezTo>
                <a:cubicBezTo>
                  <a:pt x="5195" y="36"/>
                  <a:pt x="5140" y="41"/>
                  <a:pt x="5140" y="41"/>
                </a:cubicBezTo>
                <a:cubicBezTo>
                  <a:pt x="5142" y="31"/>
                  <a:pt x="5142" y="31"/>
                  <a:pt x="5142" y="31"/>
                </a:cubicBezTo>
                <a:cubicBezTo>
                  <a:pt x="5142" y="31"/>
                  <a:pt x="5107" y="23"/>
                  <a:pt x="5094" y="23"/>
                </a:cubicBezTo>
                <a:cubicBezTo>
                  <a:pt x="5081" y="23"/>
                  <a:pt x="5009" y="38"/>
                  <a:pt x="5009" y="38"/>
                </a:cubicBezTo>
                <a:cubicBezTo>
                  <a:pt x="5042" y="23"/>
                  <a:pt x="5042" y="23"/>
                  <a:pt x="5042" y="23"/>
                </a:cubicBezTo>
                <a:cubicBezTo>
                  <a:pt x="4997" y="25"/>
                  <a:pt x="4997" y="25"/>
                  <a:pt x="4997" y="25"/>
                </a:cubicBezTo>
                <a:cubicBezTo>
                  <a:pt x="4997" y="25"/>
                  <a:pt x="4961" y="13"/>
                  <a:pt x="4951" y="15"/>
                </a:cubicBezTo>
                <a:cubicBezTo>
                  <a:pt x="4940" y="17"/>
                  <a:pt x="4935" y="28"/>
                  <a:pt x="4935" y="28"/>
                </a:cubicBezTo>
                <a:cubicBezTo>
                  <a:pt x="4935" y="28"/>
                  <a:pt x="4909" y="16"/>
                  <a:pt x="4900" y="16"/>
                </a:cubicBezTo>
                <a:cubicBezTo>
                  <a:pt x="4891" y="16"/>
                  <a:pt x="4871" y="31"/>
                  <a:pt x="4871" y="31"/>
                </a:cubicBezTo>
                <a:cubicBezTo>
                  <a:pt x="4845" y="23"/>
                  <a:pt x="4845" y="23"/>
                  <a:pt x="4845" y="23"/>
                </a:cubicBezTo>
                <a:cubicBezTo>
                  <a:pt x="4772" y="20"/>
                  <a:pt x="4772" y="20"/>
                  <a:pt x="4772" y="20"/>
                </a:cubicBezTo>
                <a:cubicBezTo>
                  <a:pt x="4790" y="38"/>
                  <a:pt x="4790" y="38"/>
                  <a:pt x="4790" y="38"/>
                </a:cubicBezTo>
                <a:cubicBezTo>
                  <a:pt x="4748" y="24"/>
                  <a:pt x="4748" y="24"/>
                  <a:pt x="4748" y="24"/>
                </a:cubicBezTo>
                <a:cubicBezTo>
                  <a:pt x="4707" y="31"/>
                  <a:pt x="4707" y="31"/>
                  <a:pt x="4707" y="31"/>
                </a:cubicBezTo>
                <a:cubicBezTo>
                  <a:pt x="4707" y="31"/>
                  <a:pt x="4677" y="25"/>
                  <a:pt x="4661" y="25"/>
                </a:cubicBezTo>
                <a:cubicBezTo>
                  <a:pt x="4645" y="25"/>
                  <a:pt x="4596" y="37"/>
                  <a:pt x="4596" y="37"/>
                </a:cubicBezTo>
                <a:cubicBezTo>
                  <a:pt x="4654" y="55"/>
                  <a:pt x="4654" y="55"/>
                  <a:pt x="4654" y="55"/>
                </a:cubicBezTo>
                <a:cubicBezTo>
                  <a:pt x="4596" y="47"/>
                  <a:pt x="4596" y="47"/>
                  <a:pt x="4596" y="47"/>
                </a:cubicBezTo>
                <a:cubicBezTo>
                  <a:pt x="4596" y="47"/>
                  <a:pt x="4541" y="36"/>
                  <a:pt x="4516" y="38"/>
                </a:cubicBezTo>
                <a:cubicBezTo>
                  <a:pt x="4492" y="41"/>
                  <a:pt x="4500" y="55"/>
                  <a:pt x="4500" y="55"/>
                </a:cubicBezTo>
                <a:cubicBezTo>
                  <a:pt x="4500" y="55"/>
                  <a:pt x="4438" y="49"/>
                  <a:pt x="4425" y="49"/>
                </a:cubicBezTo>
                <a:cubicBezTo>
                  <a:pt x="4412" y="49"/>
                  <a:pt x="4312" y="59"/>
                  <a:pt x="4308" y="61"/>
                </a:cubicBezTo>
                <a:cubicBezTo>
                  <a:pt x="4305" y="63"/>
                  <a:pt x="4331" y="69"/>
                  <a:pt x="4331" y="69"/>
                </a:cubicBezTo>
                <a:close/>
                <a:moveTo>
                  <a:pt x="4558" y="1696"/>
                </a:moveTo>
                <a:cubicBezTo>
                  <a:pt x="4605" y="1655"/>
                  <a:pt x="4605" y="1655"/>
                  <a:pt x="4605" y="1655"/>
                </a:cubicBezTo>
                <a:cubicBezTo>
                  <a:pt x="4600" y="1640"/>
                  <a:pt x="4600" y="1640"/>
                  <a:pt x="4600" y="1640"/>
                </a:cubicBezTo>
                <a:cubicBezTo>
                  <a:pt x="4578" y="1649"/>
                  <a:pt x="4578" y="1649"/>
                  <a:pt x="4578" y="1649"/>
                </a:cubicBezTo>
                <a:cubicBezTo>
                  <a:pt x="4558" y="1648"/>
                  <a:pt x="4558" y="1648"/>
                  <a:pt x="4558" y="1648"/>
                </a:cubicBezTo>
                <a:cubicBezTo>
                  <a:pt x="4580" y="1634"/>
                  <a:pt x="4580" y="1634"/>
                  <a:pt x="4580" y="1634"/>
                </a:cubicBezTo>
                <a:cubicBezTo>
                  <a:pt x="4556" y="1633"/>
                  <a:pt x="4556" y="1633"/>
                  <a:pt x="4556" y="1633"/>
                </a:cubicBezTo>
                <a:cubicBezTo>
                  <a:pt x="4556" y="1633"/>
                  <a:pt x="4600" y="1581"/>
                  <a:pt x="4594" y="1580"/>
                </a:cubicBezTo>
                <a:cubicBezTo>
                  <a:pt x="4588" y="1580"/>
                  <a:pt x="4562" y="1577"/>
                  <a:pt x="4570" y="1574"/>
                </a:cubicBezTo>
                <a:cubicBezTo>
                  <a:pt x="4579" y="1571"/>
                  <a:pt x="4589" y="1556"/>
                  <a:pt x="4589" y="1556"/>
                </a:cubicBezTo>
                <a:cubicBezTo>
                  <a:pt x="4576" y="1547"/>
                  <a:pt x="4576" y="1547"/>
                  <a:pt x="4576" y="1547"/>
                </a:cubicBezTo>
                <a:cubicBezTo>
                  <a:pt x="4542" y="1568"/>
                  <a:pt x="4542" y="1568"/>
                  <a:pt x="4542" y="1568"/>
                </a:cubicBezTo>
                <a:cubicBezTo>
                  <a:pt x="4536" y="1549"/>
                  <a:pt x="4536" y="1549"/>
                  <a:pt x="4536" y="1549"/>
                </a:cubicBezTo>
                <a:cubicBezTo>
                  <a:pt x="4516" y="1551"/>
                  <a:pt x="4516" y="1551"/>
                  <a:pt x="4516" y="1551"/>
                </a:cubicBezTo>
                <a:cubicBezTo>
                  <a:pt x="4524" y="1530"/>
                  <a:pt x="4524" y="1530"/>
                  <a:pt x="4524" y="1530"/>
                </a:cubicBezTo>
                <a:cubicBezTo>
                  <a:pt x="4508" y="1524"/>
                  <a:pt x="4508" y="1524"/>
                  <a:pt x="4508" y="1524"/>
                </a:cubicBezTo>
                <a:cubicBezTo>
                  <a:pt x="4494" y="1512"/>
                  <a:pt x="4494" y="1512"/>
                  <a:pt x="4494" y="1512"/>
                </a:cubicBezTo>
                <a:cubicBezTo>
                  <a:pt x="4476" y="1542"/>
                  <a:pt x="4476" y="1542"/>
                  <a:pt x="4476" y="1542"/>
                </a:cubicBezTo>
                <a:cubicBezTo>
                  <a:pt x="4459" y="1555"/>
                  <a:pt x="4459" y="1555"/>
                  <a:pt x="4459" y="1555"/>
                </a:cubicBezTo>
                <a:cubicBezTo>
                  <a:pt x="4461" y="1537"/>
                  <a:pt x="4461" y="1537"/>
                  <a:pt x="4461" y="1537"/>
                </a:cubicBezTo>
                <a:cubicBezTo>
                  <a:pt x="4485" y="1508"/>
                  <a:pt x="4485" y="1508"/>
                  <a:pt x="4485" y="1508"/>
                </a:cubicBezTo>
                <a:cubicBezTo>
                  <a:pt x="4485" y="1508"/>
                  <a:pt x="4500" y="1507"/>
                  <a:pt x="4512" y="1496"/>
                </a:cubicBezTo>
                <a:cubicBezTo>
                  <a:pt x="4524" y="1485"/>
                  <a:pt x="4529" y="1465"/>
                  <a:pt x="4529" y="1465"/>
                </a:cubicBezTo>
                <a:cubicBezTo>
                  <a:pt x="4543" y="1456"/>
                  <a:pt x="4543" y="1456"/>
                  <a:pt x="4543" y="1456"/>
                </a:cubicBezTo>
                <a:cubicBezTo>
                  <a:pt x="4543" y="1456"/>
                  <a:pt x="4558" y="1446"/>
                  <a:pt x="4540" y="1441"/>
                </a:cubicBezTo>
                <a:cubicBezTo>
                  <a:pt x="4523" y="1436"/>
                  <a:pt x="4494" y="1453"/>
                  <a:pt x="4494" y="1453"/>
                </a:cubicBezTo>
                <a:cubicBezTo>
                  <a:pt x="4457" y="1501"/>
                  <a:pt x="4457" y="1501"/>
                  <a:pt x="4457" y="1501"/>
                </a:cubicBezTo>
                <a:cubicBezTo>
                  <a:pt x="4420" y="1537"/>
                  <a:pt x="4420" y="1537"/>
                  <a:pt x="4420" y="1537"/>
                </a:cubicBezTo>
                <a:cubicBezTo>
                  <a:pt x="4364" y="1589"/>
                  <a:pt x="4364" y="1589"/>
                  <a:pt x="4364" y="1589"/>
                </a:cubicBezTo>
                <a:cubicBezTo>
                  <a:pt x="4364" y="1589"/>
                  <a:pt x="4324" y="1606"/>
                  <a:pt x="4322" y="1612"/>
                </a:cubicBezTo>
                <a:cubicBezTo>
                  <a:pt x="4320" y="1619"/>
                  <a:pt x="4348" y="1622"/>
                  <a:pt x="4348" y="1622"/>
                </a:cubicBezTo>
                <a:cubicBezTo>
                  <a:pt x="4348" y="1622"/>
                  <a:pt x="4314" y="1625"/>
                  <a:pt x="4326" y="1637"/>
                </a:cubicBezTo>
                <a:cubicBezTo>
                  <a:pt x="4338" y="1649"/>
                  <a:pt x="4378" y="1635"/>
                  <a:pt x="4378" y="1635"/>
                </a:cubicBezTo>
                <a:cubicBezTo>
                  <a:pt x="4378" y="1635"/>
                  <a:pt x="4450" y="1652"/>
                  <a:pt x="4466" y="1653"/>
                </a:cubicBezTo>
                <a:cubicBezTo>
                  <a:pt x="4482" y="1653"/>
                  <a:pt x="4473" y="1664"/>
                  <a:pt x="4473" y="1664"/>
                </a:cubicBezTo>
                <a:cubicBezTo>
                  <a:pt x="4445" y="1672"/>
                  <a:pt x="4445" y="1672"/>
                  <a:pt x="4445" y="1672"/>
                </a:cubicBezTo>
                <a:cubicBezTo>
                  <a:pt x="4447" y="1675"/>
                  <a:pt x="4447" y="1675"/>
                  <a:pt x="4447" y="1675"/>
                </a:cubicBezTo>
                <a:cubicBezTo>
                  <a:pt x="4472" y="1679"/>
                  <a:pt x="4472" y="1679"/>
                  <a:pt x="4472" y="1679"/>
                </a:cubicBezTo>
                <a:cubicBezTo>
                  <a:pt x="4519" y="1673"/>
                  <a:pt x="4519" y="1673"/>
                  <a:pt x="4519" y="1673"/>
                </a:cubicBezTo>
                <a:cubicBezTo>
                  <a:pt x="4524" y="1678"/>
                  <a:pt x="4524" y="1678"/>
                  <a:pt x="4524" y="1678"/>
                </a:cubicBezTo>
                <a:cubicBezTo>
                  <a:pt x="4546" y="1676"/>
                  <a:pt x="4546" y="1676"/>
                  <a:pt x="4546" y="1676"/>
                </a:cubicBezTo>
                <a:cubicBezTo>
                  <a:pt x="4530" y="1692"/>
                  <a:pt x="4530" y="1692"/>
                  <a:pt x="4530" y="1692"/>
                </a:cubicBezTo>
                <a:lnTo>
                  <a:pt x="4558" y="1696"/>
                </a:lnTo>
                <a:close/>
                <a:moveTo>
                  <a:pt x="5966" y="589"/>
                </a:moveTo>
                <a:cubicBezTo>
                  <a:pt x="5984" y="589"/>
                  <a:pt x="5984" y="589"/>
                  <a:pt x="5984" y="589"/>
                </a:cubicBezTo>
                <a:cubicBezTo>
                  <a:pt x="5993" y="578"/>
                  <a:pt x="5993" y="578"/>
                  <a:pt x="5993" y="578"/>
                </a:cubicBezTo>
                <a:cubicBezTo>
                  <a:pt x="6010" y="578"/>
                  <a:pt x="6010" y="578"/>
                  <a:pt x="6010" y="578"/>
                </a:cubicBezTo>
                <a:cubicBezTo>
                  <a:pt x="6010" y="578"/>
                  <a:pt x="6028" y="561"/>
                  <a:pt x="6032" y="558"/>
                </a:cubicBezTo>
                <a:cubicBezTo>
                  <a:pt x="6036" y="555"/>
                  <a:pt x="6062" y="553"/>
                  <a:pt x="6062" y="553"/>
                </a:cubicBezTo>
                <a:cubicBezTo>
                  <a:pt x="6094" y="542"/>
                  <a:pt x="6094" y="542"/>
                  <a:pt x="6094" y="542"/>
                </a:cubicBezTo>
                <a:cubicBezTo>
                  <a:pt x="6115" y="537"/>
                  <a:pt x="6115" y="537"/>
                  <a:pt x="6115" y="537"/>
                </a:cubicBezTo>
                <a:cubicBezTo>
                  <a:pt x="6120" y="529"/>
                  <a:pt x="6120" y="529"/>
                  <a:pt x="6120" y="529"/>
                </a:cubicBezTo>
                <a:cubicBezTo>
                  <a:pt x="6120" y="529"/>
                  <a:pt x="6100" y="531"/>
                  <a:pt x="6088" y="531"/>
                </a:cubicBezTo>
                <a:cubicBezTo>
                  <a:pt x="6076" y="531"/>
                  <a:pt x="6068" y="524"/>
                  <a:pt x="6053" y="522"/>
                </a:cubicBezTo>
                <a:cubicBezTo>
                  <a:pt x="6038" y="520"/>
                  <a:pt x="6010" y="520"/>
                  <a:pt x="5996" y="524"/>
                </a:cubicBezTo>
                <a:cubicBezTo>
                  <a:pt x="5982" y="528"/>
                  <a:pt x="5962" y="528"/>
                  <a:pt x="5962" y="528"/>
                </a:cubicBezTo>
                <a:cubicBezTo>
                  <a:pt x="5952" y="537"/>
                  <a:pt x="5952" y="537"/>
                  <a:pt x="5952" y="537"/>
                </a:cubicBezTo>
                <a:cubicBezTo>
                  <a:pt x="5952" y="537"/>
                  <a:pt x="5907" y="541"/>
                  <a:pt x="5914" y="535"/>
                </a:cubicBezTo>
                <a:cubicBezTo>
                  <a:pt x="5921" y="529"/>
                  <a:pt x="5981" y="520"/>
                  <a:pt x="5981" y="520"/>
                </a:cubicBezTo>
                <a:cubicBezTo>
                  <a:pt x="5981" y="520"/>
                  <a:pt x="6041" y="508"/>
                  <a:pt x="6026" y="499"/>
                </a:cubicBezTo>
                <a:cubicBezTo>
                  <a:pt x="6011" y="490"/>
                  <a:pt x="6003" y="490"/>
                  <a:pt x="6003" y="490"/>
                </a:cubicBezTo>
                <a:cubicBezTo>
                  <a:pt x="6003" y="490"/>
                  <a:pt x="5948" y="508"/>
                  <a:pt x="5942" y="511"/>
                </a:cubicBezTo>
                <a:cubicBezTo>
                  <a:pt x="5936" y="514"/>
                  <a:pt x="5910" y="512"/>
                  <a:pt x="5910" y="512"/>
                </a:cubicBezTo>
                <a:cubicBezTo>
                  <a:pt x="5934" y="500"/>
                  <a:pt x="5934" y="500"/>
                  <a:pt x="5934" y="500"/>
                </a:cubicBezTo>
                <a:cubicBezTo>
                  <a:pt x="5948" y="489"/>
                  <a:pt x="5948" y="489"/>
                  <a:pt x="5948" y="489"/>
                </a:cubicBezTo>
                <a:cubicBezTo>
                  <a:pt x="5948" y="489"/>
                  <a:pt x="5972" y="493"/>
                  <a:pt x="5979" y="491"/>
                </a:cubicBezTo>
                <a:cubicBezTo>
                  <a:pt x="5986" y="489"/>
                  <a:pt x="6004" y="485"/>
                  <a:pt x="6012" y="485"/>
                </a:cubicBezTo>
                <a:cubicBezTo>
                  <a:pt x="6020" y="485"/>
                  <a:pt x="6042" y="483"/>
                  <a:pt x="6030" y="477"/>
                </a:cubicBezTo>
                <a:cubicBezTo>
                  <a:pt x="6018" y="471"/>
                  <a:pt x="5980" y="470"/>
                  <a:pt x="5980" y="470"/>
                </a:cubicBezTo>
                <a:cubicBezTo>
                  <a:pt x="5948" y="472"/>
                  <a:pt x="5948" y="472"/>
                  <a:pt x="5948" y="472"/>
                </a:cubicBezTo>
                <a:cubicBezTo>
                  <a:pt x="5964" y="465"/>
                  <a:pt x="5964" y="465"/>
                  <a:pt x="5964" y="465"/>
                </a:cubicBezTo>
                <a:cubicBezTo>
                  <a:pt x="5948" y="455"/>
                  <a:pt x="5948" y="455"/>
                  <a:pt x="5948" y="455"/>
                </a:cubicBezTo>
                <a:cubicBezTo>
                  <a:pt x="5948" y="455"/>
                  <a:pt x="5946" y="446"/>
                  <a:pt x="5950" y="446"/>
                </a:cubicBezTo>
                <a:cubicBezTo>
                  <a:pt x="5954" y="446"/>
                  <a:pt x="5974" y="463"/>
                  <a:pt x="5987" y="464"/>
                </a:cubicBezTo>
                <a:cubicBezTo>
                  <a:pt x="6000" y="465"/>
                  <a:pt x="6041" y="477"/>
                  <a:pt x="6041" y="477"/>
                </a:cubicBezTo>
                <a:cubicBezTo>
                  <a:pt x="6041" y="477"/>
                  <a:pt x="6059" y="469"/>
                  <a:pt x="6060" y="478"/>
                </a:cubicBezTo>
                <a:cubicBezTo>
                  <a:pt x="6061" y="487"/>
                  <a:pt x="6049" y="501"/>
                  <a:pt x="6070" y="507"/>
                </a:cubicBezTo>
                <a:cubicBezTo>
                  <a:pt x="6091" y="513"/>
                  <a:pt x="6114" y="514"/>
                  <a:pt x="6114" y="514"/>
                </a:cubicBezTo>
                <a:cubicBezTo>
                  <a:pt x="6114" y="514"/>
                  <a:pt x="6116" y="499"/>
                  <a:pt x="6120" y="502"/>
                </a:cubicBezTo>
                <a:cubicBezTo>
                  <a:pt x="6124" y="505"/>
                  <a:pt x="6120" y="520"/>
                  <a:pt x="6129" y="520"/>
                </a:cubicBezTo>
                <a:cubicBezTo>
                  <a:pt x="6138" y="520"/>
                  <a:pt x="6150" y="510"/>
                  <a:pt x="6150" y="510"/>
                </a:cubicBezTo>
                <a:cubicBezTo>
                  <a:pt x="6150" y="494"/>
                  <a:pt x="6150" y="494"/>
                  <a:pt x="6150" y="494"/>
                </a:cubicBezTo>
                <a:cubicBezTo>
                  <a:pt x="6144" y="492"/>
                  <a:pt x="6144" y="492"/>
                  <a:pt x="6144" y="492"/>
                </a:cubicBezTo>
                <a:cubicBezTo>
                  <a:pt x="6144" y="492"/>
                  <a:pt x="6158" y="481"/>
                  <a:pt x="6152" y="476"/>
                </a:cubicBezTo>
                <a:cubicBezTo>
                  <a:pt x="6146" y="471"/>
                  <a:pt x="6135" y="477"/>
                  <a:pt x="6135" y="477"/>
                </a:cubicBezTo>
                <a:cubicBezTo>
                  <a:pt x="6129" y="462"/>
                  <a:pt x="6129" y="462"/>
                  <a:pt x="6129" y="462"/>
                </a:cubicBezTo>
                <a:cubicBezTo>
                  <a:pt x="6118" y="459"/>
                  <a:pt x="6118" y="459"/>
                  <a:pt x="6118" y="459"/>
                </a:cubicBezTo>
                <a:cubicBezTo>
                  <a:pt x="6121" y="449"/>
                  <a:pt x="6121" y="449"/>
                  <a:pt x="6121" y="449"/>
                </a:cubicBezTo>
                <a:cubicBezTo>
                  <a:pt x="6073" y="430"/>
                  <a:pt x="6073" y="430"/>
                  <a:pt x="6073" y="430"/>
                </a:cubicBezTo>
                <a:cubicBezTo>
                  <a:pt x="6046" y="437"/>
                  <a:pt x="6046" y="437"/>
                  <a:pt x="6046" y="437"/>
                </a:cubicBezTo>
                <a:cubicBezTo>
                  <a:pt x="6040" y="434"/>
                  <a:pt x="6040" y="434"/>
                  <a:pt x="6040" y="434"/>
                </a:cubicBezTo>
                <a:cubicBezTo>
                  <a:pt x="6062" y="427"/>
                  <a:pt x="6062" y="427"/>
                  <a:pt x="6062" y="427"/>
                </a:cubicBezTo>
                <a:cubicBezTo>
                  <a:pt x="6064" y="424"/>
                  <a:pt x="6064" y="424"/>
                  <a:pt x="6064" y="424"/>
                </a:cubicBezTo>
                <a:cubicBezTo>
                  <a:pt x="6064" y="424"/>
                  <a:pt x="6063" y="415"/>
                  <a:pt x="6046" y="415"/>
                </a:cubicBezTo>
                <a:cubicBezTo>
                  <a:pt x="6029" y="415"/>
                  <a:pt x="5996" y="412"/>
                  <a:pt x="5996" y="412"/>
                </a:cubicBezTo>
                <a:cubicBezTo>
                  <a:pt x="6007" y="398"/>
                  <a:pt x="6007" y="398"/>
                  <a:pt x="6007" y="398"/>
                </a:cubicBezTo>
                <a:cubicBezTo>
                  <a:pt x="6007" y="398"/>
                  <a:pt x="6020" y="396"/>
                  <a:pt x="6030" y="400"/>
                </a:cubicBezTo>
                <a:cubicBezTo>
                  <a:pt x="6040" y="404"/>
                  <a:pt x="6056" y="393"/>
                  <a:pt x="6056" y="393"/>
                </a:cubicBezTo>
                <a:cubicBezTo>
                  <a:pt x="6074" y="390"/>
                  <a:pt x="6074" y="390"/>
                  <a:pt x="6074" y="390"/>
                </a:cubicBezTo>
                <a:cubicBezTo>
                  <a:pt x="6106" y="400"/>
                  <a:pt x="6106" y="400"/>
                  <a:pt x="6106" y="400"/>
                </a:cubicBezTo>
                <a:cubicBezTo>
                  <a:pt x="6120" y="397"/>
                  <a:pt x="6120" y="397"/>
                  <a:pt x="6120" y="397"/>
                </a:cubicBezTo>
                <a:cubicBezTo>
                  <a:pt x="6120" y="397"/>
                  <a:pt x="6146" y="418"/>
                  <a:pt x="6157" y="418"/>
                </a:cubicBezTo>
                <a:cubicBezTo>
                  <a:pt x="6168" y="418"/>
                  <a:pt x="6164" y="404"/>
                  <a:pt x="6164" y="404"/>
                </a:cubicBezTo>
                <a:cubicBezTo>
                  <a:pt x="6138" y="400"/>
                  <a:pt x="6138" y="400"/>
                  <a:pt x="6138" y="400"/>
                </a:cubicBezTo>
                <a:cubicBezTo>
                  <a:pt x="6118" y="390"/>
                  <a:pt x="6118" y="390"/>
                  <a:pt x="6118" y="390"/>
                </a:cubicBezTo>
                <a:cubicBezTo>
                  <a:pt x="6087" y="387"/>
                  <a:pt x="6087" y="387"/>
                  <a:pt x="6087" y="387"/>
                </a:cubicBezTo>
                <a:cubicBezTo>
                  <a:pt x="6087" y="387"/>
                  <a:pt x="6094" y="378"/>
                  <a:pt x="6101" y="375"/>
                </a:cubicBezTo>
                <a:cubicBezTo>
                  <a:pt x="6108" y="372"/>
                  <a:pt x="6125" y="390"/>
                  <a:pt x="6141" y="390"/>
                </a:cubicBezTo>
                <a:cubicBezTo>
                  <a:pt x="6157" y="390"/>
                  <a:pt x="6185" y="391"/>
                  <a:pt x="6185" y="391"/>
                </a:cubicBezTo>
                <a:cubicBezTo>
                  <a:pt x="6227" y="386"/>
                  <a:pt x="6227" y="386"/>
                  <a:pt x="6227" y="386"/>
                </a:cubicBezTo>
                <a:cubicBezTo>
                  <a:pt x="6228" y="368"/>
                  <a:pt x="6228" y="368"/>
                  <a:pt x="6228" y="368"/>
                </a:cubicBezTo>
                <a:cubicBezTo>
                  <a:pt x="6199" y="361"/>
                  <a:pt x="6199" y="361"/>
                  <a:pt x="6199" y="361"/>
                </a:cubicBezTo>
                <a:cubicBezTo>
                  <a:pt x="6184" y="371"/>
                  <a:pt x="6184" y="371"/>
                  <a:pt x="6184" y="371"/>
                </a:cubicBezTo>
                <a:cubicBezTo>
                  <a:pt x="6184" y="371"/>
                  <a:pt x="6170" y="359"/>
                  <a:pt x="6174" y="355"/>
                </a:cubicBezTo>
                <a:cubicBezTo>
                  <a:pt x="6178" y="351"/>
                  <a:pt x="6210" y="354"/>
                  <a:pt x="6210" y="354"/>
                </a:cubicBezTo>
                <a:cubicBezTo>
                  <a:pt x="6239" y="346"/>
                  <a:pt x="6239" y="346"/>
                  <a:pt x="6239" y="346"/>
                </a:cubicBezTo>
                <a:cubicBezTo>
                  <a:pt x="6239" y="346"/>
                  <a:pt x="6256" y="356"/>
                  <a:pt x="6269" y="352"/>
                </a:cubicBezTo>
                <a:cubicBezTo>
                  <a:pt x="6282" y="348"/>
                  <a:pt x="6295" y="339"/>
                  <a:pt x="6290" y="337"/>
                </a:cubicBezTo>
                <a:cubicBezTo>
                  <a:pt x="6285" y="335"/>
                  <a:pt x="6243" y="334"/>
                  <a:pt x="6239" y="334"/>
                </a:cubicBezTo>
                <a:cubicBezTo>
                  <a:pt x="6235" y="334"/>
                  <a:pt x="6243" y="326"/>
                  <a:pt x="6231" y="323"/>
                </a:cubicBezTo>
                <a:cubicBezTo>
                  <a:pt x="6219" y="320"/>
                  <a:pt x="6191" y="321"/>
                  <a:pt x="6191" y="321"/>
                </a:cubicBezTo>
                <a:cubicBezTo>
                  <a:pt x="6191" y="321"/>
                  <a:pt x="6225" y="320"/>
                  <a:pt x="6228" y="314"/>
                </a:cubicBezTo>
                <a:cubicBezTo>
                  <a:pt x="6231" y="308"/>
                  <a:pt x="6192" y="301"/>
                  <a:pt x="6192" y="301"/>
                </a:cubicBezTo>
                <a:cubicBezTo>
                  <a:pt x="6192" y="301"/>
                  <a:pt x="6214" y="296"/>
                  <a:pt x="6221" y="299"/>
                </a:cubicBezTo>
                <a:cubicBezTo>
                  <a:pt x="6228" y="302"/>
                  <a:pt x="6252" y="310"/>
                  <a:pt x="6258" y="308"/>
                </a:cubicBezTo>
                <a:cubicBezTo>
                  <a:pt x="6264" y="306"/>
                  <a:pt x="6266" y="320"/>
                  <a:pt x="6276" y="316"/>
                </a:cubicBezTo>
                <a:cubicBezTo>
                  <a:pt x="6286" y="312"/>
                  <a:pt x="6294" y="294"/>
                  <a:pt x="6287" y="289"/>
                </a:cubicBezTo>
                <a:cubicBezTo>
                  <a:pt x="6280" y="284"/>
                  <a:pt x="6263" y="272"/>
                  <a:pt x="6263" y="272"/>
                </a:cubicBezTo>
                <a:cubicBezTo>
                  <a:pt x="6224" y="264"/>
                  <a:pt x="6224" y="264"/>
                  <a:pt x="6224" y="264"/>
                </a:cubicBezTo>
                <a:cubicBezTo>
                  <a:pt x="6224" y="264"/>
                  <a:pt x="6206" y="256"/>
                  <a:pt x="6213" y="250"/>
                </a:cubicBezTo>
                <a:cubicBezTo>
                  <a:pt x="6220" y="244"/>
                  <a:pt x="6242" y="249"/>
                  <a:pt x="6242" y="249"/>
                </a:cubicBezTo>
                <a:cubicBezTo>
                  <a:pt x="6273" y="242"/>
                  <a:pt x="6273" y="242"/>
                  <a:pt x="6273" y="242"/>
                </a:cubicBezTo>
                <a:cubicBezTo>
                  <a:pt x="6273" y="242"/>
                  <a:pt x="6284" y="244"/>
                  <a:pt x="6316" y="246"/>
                </a:cubicBezTo>
                <a:cubicBezTo>
                  <a:pt x="6348" y="248"/>
                  <a:pt x="6363" y="225"/>
                  <a:pt x="6340" y="223"/>
                </a:cubicBezTo>
                <a:cubicBezTo>
                  <a:pt x="6317" y="221"/>
                  <a:pt x="6283" y="221"/>
                  <a:pt x="6283" y="221"/>
                </a:cubicBezTo>
                <a:cubicBezTo>
                  <a:pt x="6282" y="211"/>
                  <a:pt x="6282" y="211"/>
                  <a:pt x="6282" y="211"/>
                </a:cubicBezTo>
                <a:cubicBezTo>
                  <a:pt x="6302" y="210"/>
                  <a:pt x="6302" y="210"/>
                  <a:pt x="6302" y="210"/>
                </a:cubicBezTo>
                <a:cubicBezTo>
                  <a:pt x="6302" y="210"/>
                  <a:pt x="6296" y="195"/>
                  <a:pt x="6280" y="197"/>
                </a:cubicBezTo>
                <a:cubicBezTo>
                  <a:pt x="6264" y="199"/>
                  <a:pt x="6276" y="215"/>
                  <a:pt x="6267" y="216"/>
                </a:cubicBezTo>
                <a:cubicBezTo>
                  <a:pt x="6258" y="217"/>
                  <a:pt x="6233" y="204"/>
                  <a:pt x="6242" y="201"/>
                </a:cubicBezTo>
                <a:cubicBezTo>
                  <a:pt x="6251" y="198"/>
                  <a:pt x="6275" y="193"/>
                  <a:pt x="6278" y="185"/>
                </a:cubicBezTo>
                <a:cubicBezTo>
                  <a:pt x="6281" y="177"/>
                  <a:pt x="6291" y="165"/>
                  <a:pt x="6294" y="164"/>
                </a:cubicBezTo>
                <a:cubicBezTo>
                  <a:pt x="6297" y="163"/>
                  <a:pt x="6311" y="170"/>
                  <a:pt x="6320" y="165"/>
                </a:cubicBezTo>
                <a:cubicBezTo>
                  <a:pt x="6329" y="160"/>
                  <a:pt x="6342" y="151"/>
                  <a:pt x="6342" y="151"/>
                </a:cubicBezTo>
                <a:cubicBezTo>
                  <a:pt x="6332" y="141"/>
                  <a:pt x="6332" y="141"/>
                  <a:pt x="6332" y="141"/>
                </a:cubicBezTo>
                <a:cubicBezTo>
                  <a:pt x="6332" y="141"/>
                  <a:pt x="6358" y="128"/>
                  <a:pt x="6364" y="128"/>
                </a:cubicBezTo>
                <a:cubicBezTo>
                  <a:pt x="6370" y="128"/>
                  <a:pt x="6380" y="138"/>
                  <a:pt x="6388" y="132"/>
                </a:cubicBezTo>
                <a:cubicBezTo>
                  <a:pt x="6396" y="126"/>
                  <a:pt x="6416" y="122"/>
                  <a:pt x="6404" y="119"/>
                </a:cubicBezTo>
                <a:cubicBezTo>
                  <a:pt x="6392" y="116"/>
                  <a:pt x="6363" y="119"/>
                  <a:pt x="6363" y="119"/>
                </a:cubicBezTo>
                <a:cubicBezTo>
                  <a:pt x="6363" y="119"/>
                  <a:pt x="6308" y="134"/>
                  <a:pt x="6319" y="123"/>
                </a:cubicBezTo>
                <a:cubicBezTo>
                  <a:pt x="6330" y="112"/>
                  <a:pt x="6352" y="111"/>
                  <a:pt x="6352" y="111"/>
                </a:cubicBezTo>
                <a:cubicBezTo>
                  <a:pt x="6352" y="111"/>
                  <a:pt x="6393" y="113"/>
                  <a:pt x="6414" y="112"/>
                </a:cubicBezTo>
                <a:cubicBezTo>
                  <a:pt x="6435" y="111"/>
                  <a:pt x="6451" y="104"/>
                  <a:pt x="6451" y="104"/>
                </a:cubicBezTo>
                <a:cubicBezTo>
                  <a:pt x="6451" y="104"/>
                  <a:pt x="6416" y="95"/>
                  <a:pt x="6410" y="98"/>
                </a:cubicBezTo>
                <a:cubicBezTo>
                  <a:pt x="6404" y="101"/>
                  <a:pt x="6365" y="102"/>
                  <a:pt x="6365" y="102"/>
                </a:cubicBezTo>
                <a:cubicBezTo>
                  <a:pt x="6365" y="102"/>
                  <a:pt x="6318" y="105"/>
                  <a:pt x="6335" y="100"/>
                </a:cubicBezTo>
                <a:cubicBezTo>
                  <a:pt x="6352" y="95"/>
                  <a:pt x="6403" y="94"/>
                  <a:pt x="6403" y="94"/>
                </a:cubicBezTo>
                <a:cubicBezTo>
                  <a:pt x="6403" y="94"/>
                  <a:pt x="6469" y="95"/>
                  <a:pt x="6480" y="92"/>
                </a:cubicBezTo>
                <a:cubicBezTo>
                  <a:pt x="6491" y="89"/>
                  <a:pt x="6500" y="79"/>
                  <a:pt x="6500" y="79"/>
                </a:cubicBezTo>
                <a:cubicBezTo>
                  <a:pt x="6500" y="79"/>
                  <a:pt x="6527" y="80"/>
                  <a:pt x="6544" y="78"/>
                </a:cubicBezTo>
                <a:cubicBezTo>
                  <a:pt x="6561" y="76"/>
                  <a:pt x="6584" y="67"/>
                  <a:pt x="6584" y="67"/>
                </a:cubicBezTo>
                <a:cubicBezTo>
                  <a:pt x="6584" y="67"/>
                  <a:pt x="6558" y="57"/>
                  <a:pt x="6538" y="57"/>
                </a:cubicBezTo>
                <a:cubicBezTo>
                  <a:pt x="6518" y="57"/>
                  <a:pt x="6450" y="51"/>
                  <a:pt x="6445" y="57"/>
                </a:cubicBezTo>
                <a:cubicBezTo>
                  <a:pt x="6440" y="63"/>
                  <a:pt x="6415" y="69"/>
                  <a:pt x="6404" y="69"/>
                </a:cubicBezTo>
                <a:cubicBezTo>
                  <a:pt x="6393" y="69"/>
                  <a:pt x="6348" y="60"/>
                  <a:pt x="6340" y="64"/>
                </a:cubicBezTo>
                <a:cubicBezTo>
                  <a:pt x="6332" y="68"/>
                  <a:pt x="6280" y="83"/>
                  <a:pt x="6274" y="86"/>
                </a:cubicBezTo>
                <a:cubicBezTo>
                  <a:pt x="6268" y="89"/>
                  <a:pt x="6216" y="101"/>
                  <a:pt x="6225" y="94"/>
                </a:cubicBezTo>
                <a:cubicBezTo>
                  <a:pt x="6234" y="87"/>
                  <a:pt x="6308" y="71"/>
                  <a:pt x="6303" y="61"/>
                </a:cubicBezTo>
                <a:cubicBezTo>
                  <a:pt x="6298" y="51"/>
                  <a:pt x="6269" y="48"/>
                  <a:pt x="6258" y="52"/>
                </a:cubicBezTo>
                <a:cubicBezTo>
                  <a:pt x="6247" y="56"/>
                  <a:pt x="6229" y="63"/>
                  <a:pt x="6229" y="63"/>
                </a:cubicBezTo>
                <a:cubicBezTo>
                  <a:pt x="6150" y="73"/>
                  <a:pt x="6150" y="73"/>
                  <a:pt x="6150" y="73"/>
                </a:cubicBezTo>
                <a:cubicBezTo>
                  <a:pt x="6150" y="73"/>
                  <a:pt x="6224" y="55"/>
                  <a:pt x="6206" y="54"/>
                </a:cubicBezTo>
                <a:cubicBezTo>
                  <a:pt x="6188" y="53"/>
                  <a:pt x="6120" y="52"/>
                  <a:pt x="6120" y="52"/>
                </a:cubicBezTo>
                <a:cubicBezTo>
                  <a:pt x="6096" y="57"/>
                  <a:pt x="6096" y="57"/>
                  <a:pt x="6096" y="57"/>
                </a:cubicBezTo>
                <a:cubicBezTo>
                  <a:pt x="6051" y="53"/>
                  <a:pt x="6051" y="53"/>
                  <a:pt x="6051" y="53"/>
                </a:cubicBezTo>
                <a:cubicBezTo>
                  <a:pt x="6051" y="53"/>
                  <a:pt x="6000" y="68"/>
                  <a:pt x="6002" y="61"/>
                </a:cubicBezTo>
                <a:cubicBezTo>
                  <a:pt x="6004" y="54"/>
                  <a:pt x="6064" y="47"/>
                  <a:pt x="6085" y="47"/>
                </a:cubicBezTo>
                <a:cubicBezTo>
                  <a:pt x="6106" y="47"/>
                  <a:pt x="6241" y="45"/>
                  <a:pt x="6250" y="45"/>
                </a:cubicBezTo>
                <a:cubicBezTo>
                  <a:pt x="6259" y="45"/>
                  <a:pt x="6338" y="43"/>
                  <a:pt x="6329" y="35"/>
                </a:cubicBezTo>
                <a:cubicBezTo>
                  <a:pt x="6320" y="27"/>
                  <a:pt x="6270" y="24"/>
                  <a:pt x="6251" y="27"/>
                </a:cubicBezTo>
                <a:cubicBezTo>
                  <a:pt x="6232" y="30"/>
                  <a:pt x="6219" y="29"/>
                  <a:pt x="6219" y="29"/>
                </a:cubicBezTo>
                <a:cubicBezTo>
                  <a:pt x="6219" y="29"/>
                  <a:pt x="6244" y="18"/>
                  <a:pt x="6228" y="17"/>
                </a:cubicBezTo>
                <a:cubicBezTo>
                  <a:pt x="6212" y="16"/>
                  <a:pt x="6185" y="19"/>
                  <a:pt x="6185" y="19"/>
                </a:cubicBezTo>
                <a:cubicBezTo>
                  <a:pt x="6185" y="19"/>
                  <a:pt x="6155" y="18"/>
                  <a:pt x="6148" y="16"/>
                </a:cubicBezTo>
                <a:cubicBezTo>
                  <a:pt x="6141" y="14"/>
                  <a:pt x="6176" y="17"/>
                  <a:pt x="6183" y="10"/>
                </a:cubicBezTo>
                <a:cubicBezTo>
                  <a:pt x="6190" y="3"/>
                  <a:pt x="6147" y="5"/>
                  <a:pt x="6125" y="5"/>
                </a:cubicBezTo>
                <a:cubicBezTo>
                  <a:pt x="6103" y="5"/>
                  <a:pt x="6048" y="8"/>
                  <a:pt x="6048" y="8"/>
                </a:cubicBezTo>
                <a:cubicBezTo>
                  <a:pt x="6048" y="8"/>
                  <a:pt x="6008" y="4"/>
                  <a:pt x="5985" y="2"/>
                </a:cubicBezTo>
                <a:cubicBezTo>
                  <a:pt x="5962" y="0"/>
                  <a:pt x="5939" y="5"/>
                  <a:pt x="5930" y="6"/>
                </a:cubicBezTo>
                <a:cubicBezTo>
                  <a:pt x="5921" y="7"/>
                  <a:pt x="5903" y="7"/>
                  <a:pt x="5881" y="6"/>
                </a:cubicBezTo>
                <a:cubicBezTo>
                  <a:pt x="5859" y="5"/>
                  <a:pt x="5837" y="5"/>
                  <a:pt x="5839" y="10"/>
                </a:cubicBezTo>
                <a:cubicBezTo>
                  <a:pt x="5841" y="15"/>
                  <a:pt x="5870" y="16"/>
                  <a:pt x="5870" y="16"/>
                </a:cubicBezTo>
                <a:cubicBezTo>
                  <a:pt x="5870" y="16"/>
                  <a:pt x="5835" y="21"/>
                  <a:pt x="5822" y="20"/>
                </a:cubicBezTo>
                <a:cubicBezTo>
                  <a:pt x="5809" y="19"/>
                  <a:pt x="5754" y="13"/>
                  <a:pt x="5740" y="11"/>
                </a:cubicBezTo>
                <a:cubicBezTo>
                  <a:pt x="5726" y="9"/>
                  <a:pt x="5688" y="13"/>
                  <a:pt x="5683" y="13"/>
                </a:cubicBezTo>
                <a:cubicBezTo>
                  <a:pt x="5678" y="13"/>
                  <a:pt x="5628" y="19"/>
                  <a:pt x="5649" y="24"/>
                </a:cubicBezTo>
                <a:cubicBezTo>
                  <a:pt x="5670" y="29"/>
                  <a:pt x="5739" y="31"/>
                  <a:pt x="5739" y="31"/>
                </a:cubicBezTo>
                <a:cubicBezTo>
                  <a:pt x="5796" y="38"/>
                  <a:pt x="5796" y="38"/>
                  <a:pt x="5796" y="38"/>
                </a:cubicBezTo>
                <a:cubicBezTo>
                  <a:pt x="5796" y="38"/>
                  <a:pt x="5741" y="40"/>
                  <a:pt x="5733" y="40"/>
                </a:cubicBezTo>
                <a:cubicBezTo>
                  <a:pt x="5725" y="40"/>
                  <a:pt x="5677" y="27"/>
                  <a:pt x="5678" y="31"/>
                </a:cubicBezTo>
                <a:cubicBezTo>
                  <a:pt x="5679" y="35"/>
                  <a:pt x="5699" y="38"/>
                  <a:pt x="5699" y="38"/>
                </a:cubicBezTo>
                <a:cubicBezTo>
                  <a:pt x="5668" y="41"/>
                  <a:pt x="5668" y="41"/>
                  <a:pt x="5668" y="41"/>
                </a:cubicBezTo>
                <a:cubicBezTo>
                  <a:pt x="5668" y="41"/>
                  <a:pt x="5651" y="55"/>
                  <a:pt x="5655" y="59"/>
                </a:cubicBezTo>
                <a:cubicBezTo>
                  <a:pt x="5659" y="63"/>
                  <a:pt x="5631" y="64"/>
                  <a:pt x="5618" y="56"/>
                </a:cubicBezTo>
                <a:cubicBezTo>
                  <a:pt x="5605" y="48"/>
                  <a:pt x="5578" y="42"/>
                  <a:pt x="5552" y="40"/>
                </a:cubicBezTo>
                <a:cubicBezTo>
                  <a:pt x="5526" y="38"/>
                  <a:pt x="5497" y="38"/>
                  <a:pt x="5497" y="38"/>
                </a:cubicBezTo>
                <a:cubicBezTo>
                  <a:pt x="5499" y="58"/>
                  <a:pt x="5499" y="58"/>
                  <a:pt x="5499" y="58"/>
                </a:cubicBezTo>
                <a:cubicBezTo>
                  <a:pt x="5499" y="58"/>
                  <a:pt x="5479" y="61"/>
                  <a:pt x="5466" y="59"/>
                </a:cubicBezTo>
                <a:cubicBezTo>
                  <a:pt x="5453" y="57"/>
                  <a:pt x="5429" y="49"/>
                  <a:pt x="5421" y="51"/>
                </a:cubicBezTo>
                <a:cubicBezTo>
                  <a:pt x="5413" y="53"/>
                  <a:pt x="5395" y="62"/>
                  <a:pt x="5395" y="62"/>
                </a:cubicBezTo>
                <a:cubicBezTo>
                  <a:pt x="5395" y="62"/>
                  <a:pt x="5406" y="44"/>
                  <a:pt x="5393" y="44"/>
                </a:cubicBezTo>
                <a:cubicBezTo>
                  <a:pt x="5380" y="44"/>
                  <a:pt x="5309" y="45"/>
                  <a:pt x="5290" y="48"/>
                </a:cubicBezTo>
                <a:cubicBezTo>
                  <a:pt x="5271" y="51"/>
                  <a:pt x="5238" y="44"/>
                  <a:pt x="5243" y="49"/>
                </a:cubicBezTo>
                <a:cubicBezTo>
                  <a:pt x="5248" y="54"/>
                  <a:pt x="5283" y="71"/>
                  <a:pt x="5283" y="71"/>
                </a:cubicBezTo>
                <a:cubicBezTo>
                  <a:pt x="5283" y="71"/>
                  <a:pt x="5229" y="54"/>
                  <a:pt x="5220" y="54"/>
                </a:cubicBezTo>
                <a:cubicBezTo>
                  <a:pt x="5211" y="54"/>
                  <a:pt x="5184" y="49"/>
                  <a:pt x="5180" y="59"/>
                </a:cubicBezTo>
                <a:cubicBezTo>
                  <a:pt x="5176" y="69"/>
                  <a:pt x="5158" y="80"/>
                  <a:pt x="5145" y="80"/>
                </a:cubicBezTo>
                <a:cubicBezTo>
                  <a:pt x="5132" y="80"/>
                  <a:pt x="5095" y="80"/>
                  <a:pt x="5095" y="80"/>
                </a:cubicBezTo>
                <a:cubicBezTo>
                  <a:pt x="5095" y="80"/>
                  <a:pt x="5021" y="94"/>
                  <a:pt x="5017" y="95"/>
                </a:cubicBezTo>
                <a:cubicBezTo>
                  <a:pt x="5013" y="96"/>
                  <a:pt x="4941" y="106"/>
                  <a:pt x="4952" y="113"/>
                </a:cubicBezTo>
                <a:cubicBezTo>
                  <a:pt x="4963" y="120"/>
                  <a:pt x="5003" y="122"/>
                  <a:pt x="5008" y="121"/>
                </a:cubicBezTo>
                <a:cubicBezTo>
                  <a:pt x="5013" y="120"/>
                  <a:pt x="5028" y="118"/>
                  <a:pt x="5028" y="118"/>
                </a:cubicBezTo>
                <a:cubicBezTo>
                  <a:pt x="5004" y="128"/>
                  <a:pt x="5004" y="128"/>
                  <a:pt x="5004" y="128"/>
                </a:cubicBezTo>
                <a:cubicBezTo>
                  <a:pt x="4993" y="139"/>
                  <a:pt x="4993" y="139"/>
                  <a:pt x="4993" y="139"/>
                </a:cubicBezTo>
                <a:cubicBezTo>
                  <a:pt x="4993" y="139"/>
                  <a:pt x="4946" y="157"/>
                  <a:pt x="4929" y="157"/>
                </a:cubicBezTo>
                <a:cubicBezTo>
                  <a:pt x="4912" y="157"/>
                  <a:pt x="4844" y="157"/>
                  <a:pt x="4830" y="169"/>
                </a:cubicBezTo>
                <a:cubicBezTo>
                  <a:pt x="4816" y="181"/>
                  <a:pt x="4805" y="167"/>
                  <a:pt x="4805" y="167"/>
                </a:cubicBezTo>
                <a:cubicBezTo>
                  <a:pt x="4783" y="176"/>
                  <a:pt x="4783" y="176"/>
                  <a:pt x="4783" y="176"/>
                </a:cubicBezTo>
                <a:cubicBezTo>
                  <a:pt x="4750" y="175"/>
                  <a:pt x="4750" y="175"/>
                  <a:pt x="4750" y="175"/>
                </a:cubicBezTo>
                <a:cubicBezTo>
                  <a:pt x="4750" y="175"/>
                  <a:pt x="4693" y="181"/>
                  <a:pt x="4707" y="191"/>
                </a:cubicBezTo>
                <a:cubicBezTo>
                  <a:pt x="4721" y="201"/>
                  <a:pt x="4744" y="212"/>
                  <a:pt x="4744" y="212"/>
                </a:cubicBezTo>
                <a:cubicBezTo>
                  <a:pt x="4764" y="204"/>
                  <a:pt x="4764" y="204"/>
                  <a:pt x="4764" y="204"/>
                </a:cubicBezTo>
                <a:cubicBezTo>
                  <a:pt x="4764" y="204"/>
                  <a:pt x="4766" y="216"/>
                  <a:pt x="4776" y="219"/>
                </a:cubicBezTo>
                <a:cubicBezTo>
                  <a:pt x="4786" y="222"/>
                  <a:pt x="4809" y="209"/>
                  <a:pt x="4809" y="209"/>
                </a:cubicBezTo>
                <a:cubicBezTo>
                  <a:pt x="4809" y="209"/>
                  <a:pt x="4805" y="220"/>
                  <a:pt x="4815" y="220"/>
                </a:cubicBezTo>
                <a:cubicBezTo>
                  <a:pt x="4825" y="220"/>
                  <a:pt x="4862" y="204"/>
                  <a:pt x="4869" y="209"/>
                </a:cubicBezTo>
                <a:cubicBezTo>
                  <a:pt x="4876" y="214"/>
                  <a:pt x="4874" y="220"/>
                  <a:pt x="4874" y="220"/>
                </a:cubicBezTo>
                <a:cubicBezTo>
                  <a:pt x="4863" y="221"/>
                  <a:pt x="4863" y="221"/>
                  <a:pt x="4863" y="221"/>
                </a:cubicBezTo>
                <a:cubicBezTo>
                  <a:pt x="4863" y="221"/>
                  <a:pt x="4855" y="232"/>
                  <a:pt x="4848" y="232"/>
                </a:cubicBezTo>
                <a:cubicBezTo>
                  <a:pt x="4841" y="232"/>
                  <a:pt x="4845" y="226"/>
                  <a:pt x="4834" y="226"/>
                </a:cubicBezTo>
                <a:cubicBezTo>
                  <a:pt x="4823" y="226"/>
                  <a:pt x="4789" y="231"/>
                  <a:pt x="4789" y="231"/>
                </a:cubicBezTo>
                <a:cubicBezTo>
                  <a:pt x="4762" y="228"/>
                  <a:pt x="4762" y="228"/>
                  <a:pt x="4762" y="228"/>
                </a:cubicBezTo>
                <a:cubicBezTo>
                  <a:pt x="4762" y="228"/>
                  <a:pt x="4724" y="208"/>
                  <a:pt x="4713" y="227"/>
                </a:cubicBezTo>
                <a:cubicBezTo>
                  <a:pt x="4702" y="246"/>
                  <a:pt x="4729" y="252"/>
                  <a:pt x="4737" y="251"/>
                </a:cubicBezTo>
                <a:cubicBezTo>
                  <a:pt x="4745" y="250"/>
                  <a:pt x="4772" y="251"/>
                  <a:pt x="4772" y="251"/>
                </a:cubicBezTo>
                <a:cubicBezTo>
                  <a:pt x="4772" y="251"/>
                  <a:pt x="4729" y="254"/>
                  <a:pt x="4734" y="261"/>
                </a:cubicBezTo>
                <a:cubicBezTo>
                  <a:pt x="4739" y="268"/>
                  <a:pt x="4767" y="274"/>
                  <a:pt x="4767" y="274"/>
                </a:cubicBezTo>
                <a:cubicBezTo>
                  <a:pt x="4791" y="277"/>
                  <a:pt x="4791" y="277"/>
                  <a:pt x="4791" y="277"/>
                </a:cubicBezTo>
                <a:cubicBezTo>
                  <a:pt x="4791" y="277"/>
                  <a:pt x="4792" y="267"/>
                  <a:pt x="4799" y="266"/>
                </a:cubicBezTo>
                <a:cubicBezTo>
                  <a:pt x="4806" y="265"/>
                  <a:pt x="4814" y="276"/>
                  <a:pt x="4814" y="276"/>
                </a:cubicBezTo>
                <a:cubicBezTo>
                  <a:pt x="4837" y="267"/>
                  <a:pt x="4837" y="267"/>
                  <a:pt x="4837" y="267"/>
                </a:cubicBezTo>
                <a:cubicBezTo>
                  <a:pt x="4837" y="267"/>
                  <a:pt x="4841" y="277"/>
                  <a:pt x="4844" y="277"/>
                </a:cubicBezTo>
                <a:cubicBezTo>
                  <a:pt x="4847" y="277"/>
                  <a:pt x="4877" y="263"/>
                  <a:pt x="4886" y="265"/>
                </a:cubicBezTo>
                <a:cubicBezTo>
                  <a:pt x="4895" y="267"/>
                  <a:pt x="4902" y="271"/>
                  <a:pt x="4907" y="271"/>
                </a:cubicBezTo>
                <a:cubicBezTo>
                  <a:pt x="4912" y="271"/>
                  <a:pt x="4923" y="262"/>
                  <a:pt x="4929" y="262"/>
                </a:cubicBezTo>
                <a:cubicBezTo>
                  <a:pt x="4935" y="262"/>
                  <a:pt x="4952" y="273"/>
                  <a:pt x="4952" y="273"/>
                </a:cubicBezTo>
                <a:cubicBezTo>
                  <a:pt x="4952" y="273"/>
                  <a:pt x="4984" y="268"/>
                  <a:pt x="5006" y="274"/>
                </a:cubicBezTo>
                <a:cubicBezTo>
                  <a:pt x="5028" y="280"/>
                  <a:pt x="5032" y="291"/>
                  <a:pt x="5032" y="291"/>
                </a:cubicBezTo>
                <a:cubicBezTo>
                  <a:pt x="5032" y="291"/>
                  <a:pt x="5054" y="286"/>
                  <a:pt x="5054" y="291"/>
                </a:cubicBezTo>
                <a:cubicBezTo>
                  <a:pt x="5054" y="296"/>
                  <a:pt x="5044" y="306"/>
                  <a:pt x="5044" y="306"/>
                </a:cubicBezTo>
                <a:cubicBezTo>
                  <a:pt x="5050" y="315"/>
                  <a:pt x="5050" y="315"/>
                  <a:pt x="5050" y="315"/>
                </a:cubicBezTo>
                <a:cubicBezTo>
                  <a:pt x="5050" y="315"/>
                  <a:pt x="5083" y="321"/>
                  <a:pt x="5083" y="330"/>
                </a:cubicBezTo>
                <a:cubicBezTo>
                  <a:pt x="5083" y="339"/>
                  <a:pt x="5067" y="343"/>
                  <a:pt x="5067" y="343"/>
                </a:cubicBezTo>
                <a:cubicBezTo>
                  <a:pt x="5076" y="359"/>
                  <a:pt x="5076" y="359"/>
                  <a:pt x="5076" y="359"/>
                </a:cubicBezTo>
                <a:cubicBezTo>
                  <a:pt x="5092" y="369"/>
                  <a:pt x="5092" y="369"/>
                  <a:pt x="5092" y="369"/>
                </a:cubicBezTo>
                <a:cubicBezTo>
                  <a:pt x="5078" y="374"/>
                  <a:pt x="5078" y="374"/>
                  <a:pt x="5078" y="374"/>
                </a:cubicBezTo>
                <a:cubicBezTo>
                  <a:pt x="5088" y="387"/>
                  <a:pt x="5088" y="387"/>
                  <a:pt x="5088" y="387"/>
                </a:cubicBezTo>
                <a:cubicBezTo>
                  <a:pt x="5088" y="387"/>
                  <a:pt x="5076" y="386"/>
                  <a:pt x="5076" y="395"/>
                </a:cubicBezTo>
                <a:cubicBezTo>
                  <a:pt x="5076" y="404"/>
                  <a:pt x="5098" y="407"/>
                  <a:pt x="5095" y="412"/>
                </a:cubicBezTo>
                <a:cubicBezTo>
                  <a:pt x="5092" y="417"/>
                  <a:pt x="5073" y="426"/>
                  <a:pt x="5073" y="426"/>
                </a:cubicBezTo>
                <a:cubicBezTo>
                  <a:pt x="5081" y="433"/>
                  <a:pt x="5081" y="433"/>
                  <a:pt x="5081" y="433"/>
                </a:cubicBezTo>
                <a:cubicBezTo>
                  <a:pt x="5081" y="433"/>
                  <a:pt x="5040" y="438"/>
                  <a:pt x="5041" y="441"/>
                </a:cubicBezTo>
                <a:cubicBezTo>
                  <a:pt x="5042" y="444"/>
                  <a:pt x="5050" y="446"/>
                  <a:pt x="5063" y="445"/>
                </a:cubicBezTo>
                <a:cubicBezTo>
                  <a:pt x="5076" y="444"/>
                  <a:pt x="5060" y="455"/>
                  <a:pt x="5060" y="455"/>
                </a:cubicBezTo>
                <a:cubicBezTo>
                  <a:pt x="5060" y="455"/>
                  <a:pt x="5009" y="456"/>
                  <a:pt x="5021" y="465"/>
                </a:cubicBezTo>
                <a:cubicBezTo>
                  <a:pt x="5033" y="474"/>
                  <a:pt x="5046" y="479"/>
                  <a:pt x="5062" y="478"/>
                </a:cubicBezTo>
                <a:cubicBezTo>
                  <a:pt x="5078" y="477"/>
                  <a:pt x="5082" y="467"/>
                  <a:pt x="5082" y="467"/>
                </a:cubicBezTo>
                <a:cubicBezTo>
                  <a:pt x="5082" y="467"/>
                  <a:pt x="5109" y="469"/>
                  <a:pt x="5107" y="460"/>
                </a:cubicBezTo>
                <a:cubicBezTo>
                  <a:pt x="5105" y="451"/>
                  <a:pt x="5112" y="439"/>
                  <a:pt x="5112" y="439"/>
                </a:cubicBezTo>
                <a:cubicBezTo>
                  <a:pt x="5114" y="458"/>
                  <a:pt x="5114" y="458"/>
                  <a:pt x="5114" y="458"/>
                </a:cubicBezTo>
                <a:cubicBezTo>
                  <a:pt x="5131" y="447"/>
                  <a:pt x="5131" y="447"/>
                  <a:pt x="5131" y="447"/>
                </a:cubicBezTo>
                <a:cubicBezTo>
                  <a:pt x="5131" y="447"/>
                  <a:pt x="5123" y="453"/>
                  <a:pt x="5127" y="458"/>
                </a:cubicBezTo>
                <a:cubicBezTo>
                  <a:pt x="5131" y="463"/>
                  <a:pt x="5156" y="465"/>
                  <a:pt x="5156" y="465"/>
                </a:cubicBezTo>
                <a:cubicBezTo>
                  <a:pt x="5147" y="471"/>
                  <a:pt x="5147" y="471"/>
                  <a:pt x="5147" y="471"/>
                </a:cubicBezTo>
                <a:cubicBezTo>
                  <a:pt x="5147" y="471"/>
                  <a:pt x="5141" y="484"/>
                  <a:pt x="5150" y="487"/>
                </a:cubicBezTo>
                <a:cubicBezTo>
                  <a:pt x="5159" y="490"/>
                  <a:pt x="5172" y="504"/>
                  <a:pt x="5166" y="510"/>
                </a:cubicBezTo>
                <a:cubicBezTo>
                  <a:pt x="5160" y="516"/>
                  <a:pt x="5149" y="513"/>
                  <a:pt x="5149" y="513"/>
                </a:cubicBezTo>
                <a:cubicBezTo>
                  <a:pt x="5149" y="519"/>
                  <a:pt x="5149" y="519"/>
                  <a:pt x="5149" y="519"/>
                </a:cubicBezTo>
                <a:cubicBezTo>
                  <a:pt x="5149" y="519"/>
                  <a:pt x="5134" y="518"/>
                  <a:pt x="5125" y="517"/>
                </a:cubicBezTo>
                <a:cubicBezTo>
                  <a:pt x="5116" y="516"/>
                  <a:pt x="5108" y="506"/>
                  <a:pt x="5108" y="506"/>
                </a:cubicBezTo>
                <a:cubicBezTo>
                  <a:pt x="5068" y="505"/>
                  <a:pt x="5068" y="505"/>
                  <a:pt x="5068" y="505"/>
                </a:cubicBezTo>
                <a:cubicBezTo>
                  <a:pt x="5068" y="505"/>
                  <a:pt x="5044" y="483"/>
                  <a:pt x="5038" y="505"/>
                </a:cubicBezTo>
                <a:cubicBezTo>
                  <a:pt x="5036" y="514"/>
                  <a:pt x="5048" y="520"/>
                  <a:pt x="5055" y="521"/>
                </a:cubicBezTo>
                <a:cubicBezTo>
                  <a:pt x="5062" y="522"/>
                  <a:pt x="5067" y="518"/>
                  <a:pt x="5076" y="522"/>
                </a:cubicBezTo>
                <a:cubicBezTo>
                  <a:pt x="5085" y="526"/>
                  <a:pt x="5093" y="540"/>
                  <a:pt x="5108" y="540"/>
                </a:cubicBezTo>
                <a:cubicBezTo>
                  <a:pt x="5123" y="540"/>
                  <a:pt x="5134" y="534"/>
                  <a:pt x="5134" y="534"/>
                </a:cubicBezTo>
                <a:cubicBezTo>
                  <a:pt x="5149" y="542"/>
                  <a:pt x="5149" y="542"/>
                  <a:pt x="5149" y="542"/>
                </a:cubicBezTo>
                <a:cubicBezTo>
                  <a:pt x="5163" y="533"/>
                  <a:pt x="5163" y="533"/>
                  <a:pt x="5163" y="533"/>
                </a:cubicBezTo>
                <a:cubicBezTo>
                  <a:pt x="5160" y="547"/>
                  <a:pt x="5160" y="547"/>
                  <a:pt x="5160" y="547"/>
                </a:cubicBezTo>
                <a:cubicBezTo>
                  <a:pt x="5160" y="547"/>
                  <a:pt x="5145" y="540"/>
                  <a:pt x="5143" y="547"/>
                </a:cubicBezTo>
                <a:cubicBezTo>
                  <a:pt x="5141" y="554"/>
                  <a:pt x="5152" y="561"/>
                  <a:pt x="5152" y="561"/>
                </a:cubicBezTo>
                <a:cubicBezTo>
                  <a:pt x="5152" y="561"/>
                  <a:pt x="5125" y="561"/>
                  <a:pt x="5126" y="566"/>
                </a:cubicBezTo>
                <a:cubicBezTo>
                  <a:pt x="5127" y="571"/>
                  <a:pt x="5147" y="572"/>
                  <a:pt x="5147" y="572"/>
                </a:cubicBezTo>
                <a:cubicBezTo>
                  <a:pt x="5147" y="572"/>
                  <a:pt x="5144" y="581"/>
                  <a:pt x="5139" y="583"/>
                </a:cubicBezTo>
                <a:cubicBezTo>
                  <a:pt x="5134" y="585"/>
                  <a:pt x="5118" y="572"/>
                  <a:pt x="5114" y="578"/>
                </a:cubicBezTo>
                <a:cubicBezTo>
                  <a:pt x="5110" y="584"/>
                  <a:pt x="5120" y="592"/>
                  <a:pt x="5120" y="592"/>
                </a:cubicBezTo>
                <a:cubicBezTo>
                  <a:pt x="5104" y="591"/>
                  <a:pt x="5104" y="591"/>
                  <a:pt x="5104" y="591"/>
                </a:cubicBezTo>
                <a:cubicBezTo>
                  <a:pt x="5109" y="605"/>
                  <a:pt x="5109" y="605"/>
                  <a:pt x="5109" y="605"/>
                </a:cubicBezTo>
                <a:cubicBezTo>
                  <a:pt x="5109" y="605"/>
                  <a:pt x="5088" y="606"/>
                  <a:pt x="5091" y="616"/>
                </a:cubicBezTo>
                <a:cubicBezTo>
                  <a:pt x="5094" y="626"/>
                  <a:pt x="5113" y="628"/>
                  <a:pt x="5113" y="628"/>
                </a:cubicBezTo>
                <a:cubicBezTo>
                  <a:pt x="5113" y="628"/>
                  <a:pt x="5115" y="639"/>
                  <a:pt x="5108" y="639"/>
                </a:cubicBezTo>
                <a:cubicBezTo>
                  <a:pt x="5101" y="639"/>
                  <a:pt x="5106" y="647"/>
                  <a:pt x="5106" y="647"/>
                </a:cubicBezTo>
                <a:cubicBezTo>
                  <a:pt x="5106" y="647"/>
                  <a:pt x="5104" y="649"/>
                  <a:pt x="5101" y="639"/>
                </a:cubicBezTo>
                <a:cubicBezTo>
                  <a:pt x="5098" y="629"/>
                  <a:pt x="5087" y="624"/>
                  <a:pt x="5087" y="624"/>
                </a:cubicBezTo>
                <a:cubicBezTo>
                  <a:pt x="5087" y="624"/>
                  <a:pt x="5070" y="593"/>
                  <a:pt x="5060" y="595"/>
                </a:cubicBezTo>
                <a:cubicBezTo>
                  <a:pt x="5050" y="597"/>
                  <a:pt x="5024" y="609"/>
                  <a:pt x="5038" y="617"/>
                </a:cubicBezTo>
                <a:cubicBezTo>
                  <a:pt x="5052" y="625"/>
                  <a:pt x="5074" y="628"/>
                  <a:pt x="5074" y="628"/>
                </a:cubicBezTo>
                <a:cubicBezTo>
                  <a:pt x="5074" y="628"/>
                  <a:pt x="5057" y="630"/>
                  <a:pt x="5046" y="630"/>
                </a:cubicBezTo>
                <a:cubicBezTo>
                  <a:pt x="5035" y="630"/>
                  <a:pt x="5021" y="625"/>
                  <a:pt x="5013" y="630"/>
                </a:cubicBezTo>
                <a:cubicBezTo>
                  <a:pt x="5005" y="635"/>
                  <a:pt x="4982" y="640"/>
                  <a:pt x="4989" y="643"/>
                </a:cubicBezTo>
                <a:cubicBezTo>
                  <a:pt x="4996" y="646"/>
                  <a:pt x="5037" y="639"/>
                  <a:pt x="5047" y="640"/>
                </a:cubicBezTo>
                <a:cubicBezTo>
                  <a:pt x="5057" y="641"/>
                  <a:pt x="5081" y="643"/>
                  <a:pt x="5081" y="643"/>
                </a:cubicBezTo>
                <a:cubicBezTo>
                  <a:pt x="5081" y="643"/>
                  <a:pt x="5061" y="644"/>
                  <a:pt x="5055" y="644"/>
                </a:cubicBezTo>
                <a:cubicBezTo>
                  <a:pt x="5049" y="644"/>
                  <a:pt x="4983" y="649"/>
                  <a:pt x="4977" y="654"/>
                </a:cubicBezTo>
                <a:cubicBezTo>
                  <a:pt x="4971" y="659"/>
                  <a:pt x="4971" y="663"/>
                  <a:pt x="4987" y="662"/>
                </a:cubicBezTo>
                <a:cubicBezTo>
                  <a:pt x="5003" y="661"/>
                  <a:pt x="5041" y="657"/>
                  <a:pt x="5041" y="657"/>
                </a:cubicBezTo>
                <a:cubicBezTo>
                  <a:pt x="5041" y="657"/>
                  <a:pt x="5068" y="656"/>
                  <a:pt x="5069" y="659"/>
                </a:cubicBezTo>
                <a:cubicBezTo>
                  <a:pt x="5070" y="662"/>
                  <a:pt x="5023" y="664"/>
                  <a:pt x="5023" y="664"/>
                </a:cubicBezTo>
                <a:cubicBezTo>
                  <a:pt x="5023" y="664"/>
                  <a:pt x="4968" y="666"/>
                  <a:pt x="4969" y="668"/>
                </a:cubicBezTo>
                <a:cubicBezTo>
                  <a:pt x="4970" y="670"/>
                  <a:pt x="4979" y="675"/>
                  <a:pt x="4988" y="675"/>
                </a:cubicBezTo>
                <a:cubicBezTo>
                  <a:pt x="4997" y="675"/>
                  <a:pt x="5011" y="682"/>
                  <a:pt x="5011" y="682"/>
                </a:cubicBezTo>
                <a:cubicBezTo>
                  <a:pt x="5011" y="682"/>
                  <a:pt x="4987" y="676"/>
                  <a:pt x="4982" y="682"/>
                </a:cubicBezTo>
                <a:cubicBezTo>
                  <a:pt x="4977" y="688"/>
                  <a:pt x="4982" y="690"/>
                  <a:pt x="4982" y="690"/>
                </a:cubicBezTo>
                <a:cubicBezTo>
                  <a:pt x="4982" y="690"/>
                  <a:pt x="4951" y="699"/>
                  <a:pt x="4955" y="705"/>
                </a:cubicBezTo>
                <a:cubicBezTo>
                  <a:pt x="4980" y="706"/>
                  <a:pt x="4980" y="706"/>
                  <a:pt x="4980" y="706"/>
                </a:cubicBezTo>
                <a:cubicBezTo>
                  <a:pt x="4957" y="716"/>
                  <a:pt x="4957" y="716"/>
                  <a:pt x="4957" y="716"/>
                </a:cubicBezTo>
                <a:cubicBezTo>
                  <a:pt x="4957" y="716"/>
                  <a:pt x="4956" y="729"/>
                  <a:pt x="4966" y="727"/>
                </a:cubicBezTo>
                <a:cubicBezTo>
                  <a:pt x="4976" y="725"/>
                  <a:pt x="4999" y="725"/>
                  <a:pt x="4999" y="725"/>
                </a:cubicBezTo>
                <a:cubicBezTo>
                  <a:pt x="4999" y="725"/>
                  <a:pt x="4960" y="736"/>
                  <a:pt x="4967" y="744"/>
                </a:cubicBezTo>
                <a:cubicBezTo>
                  <a:pt x="4974" y="752"/>
                  <a:pt x="4997" y="740"/>
                  <a:pt x="4997" y="740"/>
                </a:cubicBezTo>
                <a:cubicBezTo>
                  <a:pt x="4997" y="740"/>
                  <a:pt x="4980" y="755"/>
                  <a:pt x="4978" y="762"/>
                </a:cubicBezTo>
                <a:cubicBezTo>
                  <a:pt x="4976" y="769"/>
                  <a:pt x="4973" y="775"/>
                  <a:pt x="4979" y="775"/>
                </a:cubicBezTo>
                <a:cubicBezTo>
                  <a:pt x="4985" y="775"/>
                  <a:pt x="4996" y="767"/>
                  <a:pt x="4996" y="767"/>
                </a:cubicBezTo>
                <a:cubicBezTo>
                  <a:pt x="4996" y="767"/>
                  <a:pt x="4991" y="783"/>
                  <a:pt x="4984" y="783"/>
                </a:cubicBezTo>
                <a:cubicBezTo>
                  <a:pt x="4977" y="783"/>
                  <a:pt x="4962" y="792"/>
                  <a:pt x="4963" y="802"/>
                </a:cubicBezTo>
                <a:cubicBezTo>
                  <a:pt x="4964" y="812"/>
                  <a:pt x="4987" y="793"/>
                  <a:pt x="4987" y="793"/>
                </a:cubicBezTo>
                <a:cubicBezTo>
                  <a:pt x="4987" y="793"/>
                  <a:pt x="5002" y="776"/>
                  <a:pt x="5006" y="780"/>
                </a:cubicBezTo>
                <a:cubicBezTo>
                  <a:pt x="5010" y="784"/>
                  <a:pt x="5034" y="774"/>
                  <a:pt x="5034" y="774"/>
                </a:cubicBezTo>
                <a:cubicBezTo>
                  <a:pt x="5031" y="784"/>
                  <a:pt x="5031" y="784"/>
                  <a:pt x="5031" y="784"/>
                </a:cubicBezTo>
                <a:cubicBezTo>
                  <a:pt x="5045" y="774"/>
                  <a:pt x="5045" y="774"/>
                  <a:pt x="5045" y="774"/>
                </a:cubicBezTo>
                <a:cubicBezTo>
                  <a:pt x="5031" y="791"/>
                  <a:pt x="5031" y="791"/>
                  <a:pt x="5031" y="791"/>
                </a:cubicBezTo>
                <a:cubicBezTo>
                  <a:pt x="5053" y="794"/>
                  <a:pt x="5053" y="794"/>
                  <a:pt x="5053" y="794"/>
                </a:cubicBezTo>
                <a:cubicBezTo>
                  <a:pt x="5053" y="794"/>
                  <a:pt x="5023" y="794"/>
                  <a:pt x="5021" y="798"/>
                </a:cubicBezTo>
                <a:cubicBezTo>
                  <a:pt x="5019" y="802"/>
                  <a:pt x="5028" y="804"/>
                  <a:pt x="5028" y="804"/>
                </a:cubicBezTo>
                <a:cubicBezTo>
                  <a:pt x="5028" y="804"/>
                  <a:pt x="5005" y="809"/>
                  <a:pt x="4999" y="810"/>
                </a:cubicBezTo>
                <a:cubicBezTo>
                  <a:pt x="4993" y="811"/>
                  <a:pt x="5000" y="816"/>
                  <a:pt x="5000" y="816"/>
                </a:cubicBezTo>
                <a:cubicBezTo>
                  <a:pt x="5000" y="816"/>
                  <a:pt x="4976" y="821"/>
                  <a:pt x="4974" y="826"/>
                </a:cubicBezTo>
                <a:cubicBezTo>
                  <a:pt x="4972" y="831"/>
                  <a:pt x="4998" y="829"/>
                  <a:pt x="4998" y="829"/>
                </a:cubicBezTo>
                <a:cubicBezTo>
                  <a:pt x="4998" y="829"/>
                  <a:pt x="4977" y="833"/>
                  <a:pt x="4977" y="836"/>
                </a:cubicBezTo>
                <a:cubicBezTo>
                  <a:pt x="4977" y="839"/>
                  <a:pt x="4997" y="844"/>
                  <a:pt x="4997" y="844"/>
                </a:cubicBezTo>
                <a:cubicBezTo>
                  <a:pt x="4997" y="844"/>
                  <a:pt x="4980" y="844"/>
                  <a:pt x="4979" y="851"/>
                </a:cubicBezTo>
                <a:cubicBezTo>
                  <a:pt x="4978" y="858"/>
                  <a:pt x="5003" y="855"/>
                  <a:pt x="5003" y="855"/>
                </a:cubicBezTo>
                <a:cubicBezTo>
                  <a:pt x="4991" y="870"/>
                  <a:pt x="4991" y="870"/>
                  <a:pt x="4991" y="870"/>
                </a:cubicBezTo>
                <a:cubicBezTo>
                  <a:pt x="5010" y="867"/>
                  <a:pt x="5010" y="867"/>
                  <a:pt x="5010" y="867"/>
                </a:cubicBezTo>
                <a:cubicBezTo>
                  <a:pt x="5010" y="867"/>
                  <a:pt x="4988" y="880"/>
                  <a:pt x="4991" y="891"/>
                </a:cubicBezTo>
                <a:cubicBezTo>
                  <a:pt x="4994" y="902"/>
                  <a:pt x="5017" y="900"/>
                  <a:pt x="5017" y="900"/>
                </a:cubicBezTo>
                <a:cubicBezTo>
                  <a:pt x="5006" y="915"/>
                  <a:pt x="5006" y="915"/>
                  <a:pt x="5006" y="915"/>
                </a:cubicBezTo>
                <a:cubicBezTo>
                  <a:pt x="5027" y="908"/>
                  <a:pt x="5027" y="908"/>
                  <a:pt x="5027" y="908"/>
                </a:cubicBezTo>
                <a:cubicBezTo>
                  <a:pt x="5027" y="908"/>
                  <a:pt x="5012" y="920"/>
                  <a:pt x="5015" y="925"/>
                </a:cubicBezTo>
                <a:cubicBezTo>
                  <a:pt x="5018" y="930"/>
                  <a:pt x="5037" y="931"/>
                  <a:pt x="5037" y="931"/>
                </a:cubicBezTo>
                <a:cubicBezTo>
                  <a:pt x="5037" y="931"/>
                  <a:pt x="5027" y="934"/>
                  <a:pt x="5030" y="940"/>
                </a:cubicBezTo>
                <a:cubicBezTo>
                  <a:pt x="5033" y="946"/>
                  <a:pt x="5044" y="943"/>
                  <a:pt x="5044" y="943"/>
                </a:cubicBezTo>
                <a:cubicBezTo>
                  <a:pt x="5044" y="943"/>
                  <a:pt x="5029" y="955"/>
                  <a:pt x="5032" y="959"/>
                </a:cubicBezTo>
                <a:cubicBezTo>
                  <a:pt x="5035" y="963"/>
                  <a:pt x="5051" y="961"/>
                  <a:pt x="5051" y="961"/>
                </a:cubicBezTo>
                <a:cubicBezTo>
                  <a:pt x="5049" y="969"/>
                  <a:pt x="5049" y="969"/>
                  <a:pt x="5049" y="969"/>
                </a:cubicBezTo>
                <a:cubicBezTo>
                  <a:pt x="5075" y="963"/>
                  <a:pt x="5075" y="963"/>
                  <a:pt x="5075" y="963"/>
                </a:cubicBezTo>
                <a:cubicBezTo>
                  <a:pt x="5075" y="963"/>
                  <a:pt x="5083" y="976"/>
                  <a:pt x="5091" y="969"/>
                </a:cubicBezTo>
                <a:cubicBezTo>
                  <a:pt x="5099" y="962"/>
                  <a:pt x="5124" y="946"/>
                  <a:pt x="5128" y="948"/>
                </a:cubicBezTo>
                <a:cubicBezTo>
                  <a:pt x="5132" y="950"/>
                  <a:pt x="5121" y="958"/>
                  <a:pt x="5121" y="958"/>
                </a:cubicBezTo>
                <a:cubicBezTo>
                  <a:pt x="5136" y="962"/>
                  <a:pt x="5136" y="962"/>
                  <a:pt x="5136" y="962"/>
                </a:cubicBezTo>
                <a:cubicBezTo>
                  <a:pt x="5150" y="955"/>
                  <a:pt x="5150" y="955"/>
                  <a:pt x="5150" y="955"/>
                </a:cubicBezTo>
                <a:cubicBezTo>
                  <a:pt x="5150" y="955"/>
                  <a:pt x="5129" y="968"/>
                  <a:pt x="5124" y="973"/>
                </a:cubicBezTo>
                <a:cubicBezTo>
                  <a:pt x="5119" y="978"/>
                  <a:pt x="5115" y="983"/>
                  <a:pt x="5123" y="983"/>
                </a:cubicBezTo>
                <a:cubicBezTo>
                  <a:pt x="5131" y="983"/>
                  <a:pt x="5158" y="978"/>
                  <a:pt x="5158" y="978"/>
                </a:cubicBezTo>
                <a:cubicBezTo>
                  <a:pt x="5158" y="978"/>
                  <a:pt x="5127" y="994"/>
                  <a:pt x="5136" y="1000"/>
                </a:cubicBezTo>
                <a:cubicBezTo>
                  <a:pt x="5145" y="1006"/>
                  <a:pt x="5164" y="1000"/>
                  <a:pt x="5164" y="1000"/>
                </a:cubicBezTo>
                <a:cubicBezTo>
                  <a:pt x="5164" y="1000"/>
                  <a:pt x="5174" y="1019"/>
                  <a:pt x="5186" y="1012"/>
                </a:cubicBezTo>
                <a:cubicBezTo>
                  <a:pt x="5198" y="1005"/>
                  <a:pt x="5204" y="998"/>
                  <a:pt x="5204" y="998"/>
                </a:cubicBezTo>
                <a:cubicBezTo>
                  <a:pt x="5204" y="998"/>
                  <a:pt x="5199" y="995"/>
                  <a:pt x="5195" y="989"/>
                </a:cubicBezTo>
                <a:cubicBezTo>
                  <a:pt x="5191" y="983"/>
                  <a:pt x="5208" y="990"/>
                  <a:pt x="5213" y="985"/>
                </a:cubicBezTo>
                <a:cubicBezTo>
                  <a:pt x="5218" y="980"/>
                  <a:pt x="5217" y="964"/>
                  <a:pt x="5217" y="964"/>
                </a:cubicBezTo>
                <a:cubicBezTo>
                  <a:pt x="5217" y="964"/>
                  <a:pt x="5239" y="974"/>
                  <a:pt x="5238" y="964"/>
                </a:cubicBezTo>
                <a:cubicBezTo>
                  <a:pt x="5237" y="954"/>
                  <a:pt x="5233" y="948"/>
                  <a:pt x="5233" y="948"/>
                </a:cubicBezTo>
                <a:cubicBezTo>
                  <a:pt x="5233" y="948"/>
                  <a:pt x="5239" y="957"/>
                  <a:pt x="5245" y="958"/>
                </a:cubicBezTo>
                <a:cubicBezTo>
                  <a:pt x="5250" y="958"/>
                  <a:pt x="5255" y="949"/>
                  <a:pt x="5252" y="944"/>
                </a:cubicBezTo>
                <a:cubicBezTo>
                  <a:pt x="5246" y="934"/>
                  <a:pt x="5240" y="931"/>
                  <a:pt x="5240" y="931"/>
                </a:cubicBezTo>
                <a:cubicBezTo>
                  <a:pt x="5240" y="931"/>
                  <a:pt x="5262" y="937"/>
                  <a:pt x="5262" y="933"/>
                </a:cubicBezTo>
                <a:cubicBezTo>
                  <a:pt x="5262" y="929"/>
                  <a:pt x="5257" y="923"/>
                  <a:pt x="5257" y="923"/>
                </a:cubicBezTo>
                <a:cubicBezTo>
                  <a:pt x="5275" y="922"/>
                  <a:pt x="5275" y="922"/>
                  <a:pt x="5275" y="922"/>
                </a:cubicBezTo>
                <a:cubicBezTo>
                  <a:pt x="5267" y="908"/>
                  <a:pt x="5267" y="908"/>
                  <a:pt x="5267" y="908"/>
                </a:cubicBezTo>
                <a:cubicBezTo>
                  <a:pt x="5278" y="903"/>
                  <a:pt x="5278" y="903"/>
                  <a:pt x="5278" y="903"/>
                </a:cubicBezTo>
                <a:cubicBezTo>
                  <a:pt x="5278" y="903"/>
                  <a:pt x="5265" y="894"/>
                  <a:pt x="5262" y="893"/>
                </a:cubicBezTo>
                <a:cubicBezTo>
                  <a:pt x="5259" y="892"/>
                  <a:pt x="5273" y="887"/>
                  <a:pt x="5273" y="887"/>
                </a:cubicBezTo>
                <a:cubicBezTo>
                  <a:pt x="5259" y="873"/>
                  <a:pt x="5259" y="873"/>
                  <a:pt x="5259" y="873"/>
                </a:cubicBezTo>
                <a:cubicBezTo>
                  <a:pt x="5259" y="873"/>
                  <a:pt x="5273" y="885"/>
                  <a:pt x="5277" y="882"/>
                </a:cubicBezTo>
                <a:cubicBezTo>
                  <a:pt x="5281" y="879"/>
                  <a:pt x="5289" y="873"/>
                  <a:pt x="5289" y="873"/>
                </a:cubicBezTo>
                <a:cubicBezTo>
                  <a:pt x="5289" y="873"/>
                  <a:pt x="5305" y="875"/>
                  <a:pt x="5308" y="872"/>
                </a:cubicBezTo>
                <a:cubicBezTo>
                  <a:pt x="5311" y="869"/>
                  <a:pt x="5304" y="859"/>
                  <a:pt x="5304" y="859"/>
                </a:cubicBezTo>
                <a:cubicBezTo>
                  <a:pt x="5318" y="858"/>
                  <a:pt x="5318" y="858"/>
                  <a:pt x="5318" y="858"/>
                </a:cubicBezTo>
                <a:cubicBezTo>
                  <a:pt x="5323" y="841"/>
                  <a:pt x="5323" y="841"/>
                  <a:pt x="5323" y="841"/>
                </a:cubicBezTo>
                <a:cubicBezTo>
                  <a:pt x="5323" y="841"/>
                  <a:pt x="5343" y="848"/>
                  <a:pt x="5349" y="843"/>
                </a:cubicBezTo>
                <a:cubicBezTo>
                  <a:pt x="5355" y="838"/>
                  <a:pt x="5350" y="829"/>
                  <a:pt x="5350" y="829"/>
                </a:cubicBezTo>
                <a:cubicBezTo>
                  <a:pt x="5350" y="829"/>
                  <a:pt x="5357" y="839"/>
                  <a:pt x="5364" y="839"/>
                </a:cubicBezTo>
                <a:cubicBezTo>
                  <a:pt x="5368" y="839"/>
                  <a:pt x="5371" y="830"/>
                  <a:pt x="5373" y="828"/>
                </a:cubicBezTo>
                <a:cubicBezTo>
                  <a:pt x="5378" y="821"/>
                  <a:pt x="5373" y="811"/>
                  <a:pt x="5373" y="811"/>
                </a:cubicBezTo>
                <a:cubicBezTo>
                  <a:pt x="5348" y="807"/>
                  <a:pt x="5348" y="807"/>
                  <a:pt x="5348" y="807"/>
                </a:cubicBezTo>
                <a:cubicBezTo>
                  <a:pt x="5366" y="802"/>
                  <a:pt x="5366" y="802"/>
                  <a:pt x="5366" y="802"/>
                </a:cubicBezTo>
                <a:cubicBezTo>
                  <a:pt x="5386" y="794"/>
                  <a:pt x="5386" y="794"/>
                  <a:pt x="5386" y="794"/>
                </a:cubicBezTo>
                <a:cubicBezTo>
                  <a:pt x="5387" y="780"/>
                  <a:pt x="5387" y="780"/>
                  <a:pt x="5387" y="780"/>
                </a:cubicBezTo>
                <a:cubicBezTo>
                  <a:pt x="5374" y="777"/>
                  <a:pt x="5374" y="777"/>
                  <a:pt x="5374" y="777"/>
                </a:cubicBezTo>
                <a:cubicBezTo>
                  <a:pt x="5379" y="765"/>
                  <a:pt x="5379" y="765"/>
                  <a:pt x="5379" y="765"/>
                </a:cubicBezTo>
                <a:cubicBezTo>
                  <a:pt x="5400" y="765"/>
                  <a:pt x="5400" y="765"/>
                  <a:pt x="5400" y="765"/>
                </a:cubicBezTo>
                <a:cubicBezTo>
                  <a:pt x="5400" y="765"/>
                  <a:pt x="5414" y="769"/>
                  <a:pt x="5421" y="763"/>
                </a:cubicBezTo>
                <a:cubicBezTo>
                  <a:pt x="5428" y="757"/>
                  <a:pt x="5423" y="745"/>
                  <a:pt x="5423" y="745"/>
                </a:cubicBezTo>
                <a:cubicBezTo>
                  <a:pt x="5445" y="741"/>
                  <a:pt x="5445" y="741"/>
                  <a:pt x="5445" y="741"/>
                </a:cubicBezTo>
                <a:cubicBezTo>
                  <a:pt x="5445" y="741"/>
                  <a:pt x="5476" y="747"/>
                  <a:pt x="5484" y="740"/>
                </a:cubicBezTo>
                <a:cubicBezTo>
                  <a:pt x="5492" y="733"/>
                  <a:pt x="5495" y="726"/>
                  <a:pt x="5495" y="726"/>
                </a:cubicBezTo>
                <a:cubicBezTo>
                  <a:pt x="5504" y="721"/>
                  <a:pt x="5504" y="721"/>
                  <a:pt x="5504" y="721"/>
                </a:cubicBezTo>
                <a:cubicBezTo>
                  <a:pt x="5504" y="721"/>
                  <a:pt x="5506" y="710"/>
                  <a:pt x="5517" y="708"/>
                </a:cubicBezTo>
                <a:cubicBezTo>
                  <a:pt x="5528" y="706"/>
                  <a:pt x="5497" y="740"/>
                  <a:pt x="5505" y="740"/>
                </a:cubicBezTo>
                <a:cubicBezTo>
                  <a:pt x="5513" y="740"/>
                  <a:pt x="5521" y="738"/>
                  <a:pt x="5521" y="738"/>
                </a:cubicBezTo>
                <a:cubicBezTo>
                  <a:pt x="5525" y="725"/>
                  <a:pt x="5525" y="725"/>
                  <a:pt x="5525" y="725"/>
                </a:cubicBezTo>
                <a:cubicBezTo>
                  <a:pt x="5534" y="727"/>
                  <a:pt x="5534" y="727"/>
                  <a:pt x="5534" y="727"/>
                </a:cubicBezTo>
                <a:cubicBezTo>
                  <a:pt x="5542" y="718"/>
                  <a:pt x="5542" y="718"/>
                  <a:pt x="5542" y="718"/>
                </a:cubicBezTo>
                <a:cubicBezTo>
                  <a:pt x="5542" y="718"/>
                  <a:pt x="5559" y="733"/>
                  <a:pt x="5571" y="725"/>
                </a:cubicBezTo>
                <a:cubicBezTo>
                  <a:pt x="5583" y="717"/>
                  <a:pt x="5600" y="704"/>
                  <a:pt x="5600" y="704"/>
                </a:cubicBezTo>
                <a:cubicBezTo>
                  <a:pt x="5600" y="704"/>
                  <a:pt x="5616" y="709"/>
                  <a:pt x="5643" y="698"/>
                </a:cubicBezTo>
                <a:cubicBezTo>
                  <a:pt x="5670" y="687"/>
                  <a:pt x="5667" y="670"/>
                  <a:pt x="5685" y="658"/>
                </a:cubicBezTo>
                <a:cubicBezTo>
                  <a:pt x="5703" y="646"/>
                  <a:pt x="5745" y="634"/>
                  <a:pt x="5745" y="634"/>
                </a:cubicBezTo>
                <a:cubicBezTo>
                  <a:pt x="5745" y="634"/>
                  <a:pt x="5748" y="625"/>
                  <a:pt x="5747" y="619"/>
                </a:cubicBezTo>
                <a:cubicBezTo>
                  <a:pt x="5746" y="613"/>
                  <a:pt x="5739" y="601"/>
                  <a:pt x="5746" y="599"/>
                </a:cubicBezTo>
                <a:cubicBezTo>
                  <a:pt x="5753" y="597"/>
                  <a:pt x="5764" y="625"/>
                  <a:pt x="5775" y="625"/>
                </a:cubicBezTo>
                <a:cubicBezTo>
                  <a:pt x="5775" y="625"/>
                  <a:pt x="5817" y="624"/>
                  <a:pt x="5828" y="622"/>
                </a:cubicBezTo>
                <a:cubicBezTo>
                  <a:pt x="5839" y="620"/>
                  <a:pt x="5860" y="609"/>
                  <a:pt x="5883" y="606"/>
                </a:cubicBezTo>
                <a:cubicBezTo>
                  <a:pt x="5906" y="603"/>
                  <a:pt x="5946" y="600"/>
                  <a:pt x="5953" y="598"/>
                </a:cubicBezTo>
                <a:cubicBezTo>
                  <a:pt x="5960" y="596"/>
                  <a:pt x="5966" y="589"/>
                  <a:pt x="5966" y="589"/>
                </a:cubicBezTo>
                <a:close/>
                <a:moveTo>
                  <a:pt x="3460" y="585"/>
                </a:moveTo>
                <a:cubicBezTo>
                  <a:pt x="3479" y="587"/>
                  <a:pt x="3488" y="593"/>
                  <a:pt x="3504" y="601"/>
                </a:cubicBezTo>
                <a:cubicBezTo>
                  <a:pt x="3520" y="609"/>
                  <a:pt x="3574" y="600"/>
                  <a:pt x="3574" y="600"/>
                </a:cubicBezTo>
                <a:cubicBezTo>
                  <a:pt x="3560" y="555"/>
                  <a:pt x="3560" y="555"/>
                  <a:pt x="3560" y="555"/>
                </a:cubicBezTo>
                <a:cubicBezTo>
                  <a:pt x="3494" y="541"/>
                  <a:pt x="3494" y="541"/>
                  <a:pt x="3494" y="541"/>
                </a:cubicBezTo>
                <a:cubicBezTo>
                  <a:pt x="3472" y="566"/>
                  <a:pt x="3472" y="566"/>
                  <a:pt x="3472" y="566"/>
                </a:cubicBezTo>
                <a:cubicBezTo>
                  <a:pt x="3450" y="568"/>
                  <a:pt x="3450" y="568"/>
                  <a:pt x="3450" y="568"/>
                </a:cubicBezTo>
                <a:cubicBezTo>
                  <a:pt x="3450" y="568"/>
                  <a:pt x="3441" y="584"/>
                  <a:pt x="3460" y="585"/>
                </a:cubicBezTo>
                <a:close/>
                <a:moveTo>
                  <a:pt x="5038" y="566"/>
                </a:moveTo>
                <a:cubicBezTo>
                  <a:pt x="5046" y="568"/>
                  <a:pt x="5046" y="568"/>
                  <a:pt x="5046" y="568"/>
                </a:cubicBezTo>
                <a:cubicBezTo>
                  <a:pt x="5046" y="568"/>
                  <a:pt x="5064" y="564"/>
                  <a:pt x="5070" y="564"/>
                </a:cubicBezTo>
                <a:cubicBezTo>
                  <a:pt x="5076" y="564"/>
                  <a:pt x="5090" y="554"/>
                  <a:pt x="5088" y="546"/>
                </a:cubicBezTo>
                <a:cubicBezTo>
                  <a:pt x="5086" y="538"/>
                  <a:pt x="5064" y="534"/>
                  <a:pt x="5064" y="534"/>
                </a:cubicBezTo>
                <a:cubicBezTo>
                  <a:pt x="5064" y="534"/>
                  <a:pt x="5054" y="526"/>
                  <a:pt x="5044" y="526"/>
                </a:cubicBezTo>
                <a:cubicBezTo>
                  <a:pt x="5034" y="526"/>
                  <a:pt x="5030" y="532"/>
                  <a:pt x="5014" y="526"/>
                </a:cubicBezTo>
                <a:cubicBezTo>
                  <a:pt x="5010" y="542"/>
                  <a:pt x="5010" y="542"/>
                  <a:pt x="5010" y="542"/>
                </a:cubicBezTo>
                <a:cubicBezTo>
                  <a:pt x="5010" y="542"/>
                  <a:pt x="5002" y="546"/>
                  <a:pt x="5002" y="552"/>
                </a:cubicBezTo>
                <a:cubicBezTo>
                  <a:pt x="5002" y="558"/>
                  <a:pt x="5014" y="564"/>
                  <a:pt x="5014" y="564"/>
                </a:cubicBezTo>
                <a:cubicBezTo>
                  <a:pt x="5010" y="572"/>
                  <a:pt x="5010" y="572"/>
                  <a:pt x="5010" y="572"/>
                </a:cubicBezTo>
                <a:lnTo>
                  <a:pt x="5038" y="566"/>
                </a:lnTo>
                <a:close/>
                <a:moveTo>
                  <a:pt x="3831" y="723"/>
                </a:moveTo>
                <a:cubicBezTo>
                  <a:pt x="3819" y="725"/>
                  <a:pt x="3809" y="742"/>
                  <a:pt x="3828" y="742"/>
                </a:cubicBezTo>
                <a:cubicBezTo>
                  <a:pt x="3839" y="742"/>
                  <a:pt x="3844" y="721"/>
                  <a:pt x="3831" y="723"/>
                </a:cubicBezTo>
                <a:close/>
                <a:moveTo>
                  <a:pt x="1600" y="1098"/>
                </a:moveTo>
                <a:cubicBezTo>
                  <a:pt x="1600" y="1098"/>
                  <a:pt x="1575" y="1105"/>
                  <a:pt x="1576" y="1112"/>
                </a:cubicBezTo>
                <a:cubicBezTo>
                  <a:pt x="1577" y="1119"/>
                  <a:pt x="1586" y="1129"/>
                  <a:pt x="1586" y="1129"/>
                </a:cubicBezTo>
                <a:cubicBezTo>
                  <a:pt x="1597" y="1133"/>
                  <a:pt x="1614" y="1125"/>
                  <a:pt x="1614" y="1115"/>
                </a:cubicBezTo>
                <a:cubicBezTo>
                  <a:pt x="1614" y="1105"/>
                  <a:pt x="1600" y="1098"/>
                  <a:pt x="1600" y="1098"/>
                </a:cubicBezTo>
                <a:close/>
                <a:moveTo>
                  <a:pt x="1573" y="1465"/>
                </a:moveTo>
                <a:cubicBezTo>
                  <a:pt x="1561" y="1464"/>
                  <a:pt x="1541" y="1476"/>
                  <a:pt x="1546" y="1484"/>
                </a:cubicBezTo>
                <a:cubicBezTo>
                  <a:pt x="1551" y="1492"/>
                  <a:pt x="1560" y="1490"/>
                  <a:pt x="1560" y="1490"/>
                </a:cubicBezTo>
                <a:cubicBezTo>
                  <a:pt x="1569" y="1484"/>
                  <a:pt x="1569" y="1484"/>
                  <a:pt x="1569" y="1484"/>
                </a:cubicBezTo>
                <a:cubicBezTo>
                  <a:pt x="1576" y="1489"/>
                  <a:pt x="1576" y="1489"/>
                  <a:pt x="1576" y="1489"/>
                </a:cubicBezTo>
                <a:cubicBezTo>
                  <a:pt x="1570" y="1496"/>
                  <a:pt x="1570" y="1496"/>
                  <a:pt x="1570" y="1496"/>
                </a:cubicBezTo>
                <a:cubicBezTo>
                  <a:pt x="1570" y="1496"/>
                  <a:pt x="1541" y="1501"/>
                  <a:pt x="1549" y="1510"/>
                </a:cubicBezTo>
                <a:cubicBezTo>
                  <a:pt x="1557" y="1519"/>
                  <a:pt x="1572" y="1510"/>
                  <a:pt x="1572" y="1510"/>
                </a:cubicBezTo>
                <a:cubicBezTo>
                  <a:pt x="1567" y="1525"/>
                  <a:pt x="1567" y="1525"/>
                  <a:pt x="1567" y="1525"/>
                </a:cubicBezTo>
                <a:cubicBezTo>
                  <a:pt x="1582" y="1524"/>
                  <a:pt x="1582" y="1524"/>
                  <a:pt x="1582" y="1524"/>
                </a:cubicBezTo>
                <a:cubicBezTo>
                  <a:pt x="1568" y="1535"/>
                  <a:pt x="1568" y="1535"/>
                  <a:pt x="1568" y="1535"/>
                </a:cubicBezTo>
                <a:cubicBezTo>
                  <a:pt x="1594" y="1533"/>
                  <a:pt x="1594" y="1533"/>
                  <a:pt x="1594" y="1533"/>
                </a:cubicBezTo>
                <a:cubicBezTo>
                  <a:pt x="1594" y="1533"/>
                  <a:pt x="1567" y="1544"/>
                  <a:pt x="1573" y="1549"/>
                </a:cubicBezTo>
                <a:cubicBezTo>
                  <a:pt x="1579" y="1554"/>
                  <a:pt x="1591" y="1533"/>
                  <a:pt x="1597" y="1544"/>
                </a:cubicBezTo>
                <a:cubicBezTo>
                  <a:pt x="1603" y="1555"/>
                  <a:pt x="1581" y="1559"/>
                  <a:pt x="1587" y="1566"/>
                </a:cubicBezTo>
                <a:cubicBezTo>
                  <a:pt x="1593" y="1573"/>
                  <a:pt x="1619" y="1568"/>
                  <a:pt x="1619" y="1568"/>
                </a:cubicBezTo>
                <a:cubicBezTo>
                  <a:pt x="1632" y="1560"/>
                  <a:pt x="1632" y="1560"/>
                  <a:pt x="1632" y="1560"/>
                </a:cubicBezTo>
                <a:cubicBezTo>
                  <a:pt x="1620" y="1574"/>
                  <a:pt x="1620" y="1574"/>
                  <a:pt x="1620" y="1574"/>
                </a:cubicBezTo>
                <a:cubicBezTo>
                  <a:pt x="1620" y="1574"/>
                  <a:pt x="1595" y="1574"/>
                  <a:pt x="1606" y="1583"/>
                </a:cubicBezTo>
                <a:cubicBezTo>
                  <a:pt x="1617" y="1592"/>
                  <a:pt x="1626" y="1592"/>
                  <a:pt x="1626" y="1592"/>
                </a:cubicBezTo>
                <a:cubicBezTo>
                  <a:pt x="1626" y="1592"/>
                  <a:pt x="1650" y="1609"/>
                  <a:pt x="1662" y="1599"/>
                </a:cubicBezTo>
                <a:cubicBezTo>
                  <a:pt x="1674" y="1589"/>
                  <a:pt x="1683" y="1581"/>
                  <a:pt x="1674" y="1570"/>
                </a:cubicBezTo>
                <a:cubicBezTo>
                  <a:pt x="1665" y="1559"/>
                  <a:pt x="1648" y="1548"/>
                  <a:pt x="1648" y="1548"/>
                </a:cubicBezTo>
                <a:cubicBezTo>
                  <a:pt x="1648" y="1548"/>
                  <a:pt x="1645" y="1534"/>
                  <a:pt x="1646" y="1527"/>
                </a:cubicBezTo>
                <a:cubicBezTo>
                  <a:pt x="1647" y="1520"/>
                  <a:pt x="1652" y="1508"/>
                  <a:pt x="1644" y="1498"/>
                </a:cubicBezTo>
                <a:cubicBezTo>
                  <a:pt x="1644" y="1498"/>
                  <a:pt x="1618" y="1494"/>
                  <a:pt x="1609" y="1492"/>
                </a:cubicBezTo>
                <a:cubicBezTo>
                  <a:pt x="1600" y="1490"/>
                  <a:pt x="1585" y="1466"/>
                  <a:pt x="1573" y="1465"/>
                </a:cubicBezTo>
                <a:close/>
                <a:moveTo>
                  <a:pt x="1638" y="1472"/>
                </a:moveTo>
                <a:cubicBezTo>
                  <a:pt x="1628" y="1469"/>
                  <a:pt x="1629" y="1486"/>
                  <a:pt x="1629" y="1486"/>
                </a:cubicBezTo>
                <a:cubicBezTo>
                  <a:pt x="1637" y="1486"/>
                  <a:pt x="1648" y="1475"/>
                  <a:pt x="1638" y="1472"/>
                </a:cubicBezTo>
                <a:close/>
                <a:moveTo>
                  <a:pt x="1625" y="1384"/>
                </a:moveTo>
                <a:cubicBezTo>
                  <a:pt x="1623" y="1367"/>
                  <a:pt x="1623" y="1367"/>
                  <a:pt x="1623" y="1367"/>
                </a:cubicBezTo>
                <a:cubicBezTo>
                  <a:pt x="1623" y="1367"/>
                  <a:pt x="1591" y="1364"/>
                  <a:pt x="1591" y="1373"/>
                </a:cubicBezTo>
                <a:cubicBezTo>
                  <a:pt x="1591" y="1382"/>
                  <a:pt x="1608" y="1379"/>
                  <a:pt x="1608" y="1379"/>
                </a:cubicBezTo>
                <a:cubicBezTo>
                  <a:pt x="1606" y="1396"/>
                  <a:pt x="1606" y="1396"/>
                  <a:pt x="1606" y="1396"/>
                </a:cubicBezTo>
                <a:lnTo>
                  <a:pt x="1625" y="1384"/>
                </a:lnTo>
                <a:close/>
                <a:moveTo>
                  <a:pt x="1582" y="1336"/>
                </a:moveTo>
                <a:cubicBezTo>
                  <a:pt x="1584" y="1351"/>
                  <a:pt x="1595" y="1357"/>
                  <a:pt x="1595" y="1357"/>
                </a:cubicBezTo>
                <a:cubicBezTo>
                  <a:pt x="1603" y="1336"/>
                  <a:pt x="1603" y="1336"/>
                  <a:pt x="1603" y="1336"/>
                </a:cubicBezTo>
                <a:cubicBezTo>
                  <a:pt x="1603" y="1336"/>
                  <a:pt x="1580" y="1321"/>
                  <a:pt x="1582" y="1336"/>
                </a:cubicBezTo>
                <a:close/>
                <a:moveTo>
                  <a:pt x="1573" y="1224"/>
                </a:moveTo>
                <a:cubicBezTo>
                  <a:pt x="1569" y="1226"/>
                  <a:pt x="1563" y="1237"/>
                  <a:pt x="1568" y="1246"/>
                </a:cubicBezTo>
                <a:cubicBezTo>
                  <a:pt x="1573" y="1255"/>
                  <a:pt x="1572" y="1273"/>
                  <a:pt x="1572" y="1273"/>
                </a:cubicBezTo>
                <a:cubicBezTo>
                  <a:pt x="1572" y="1273"/>
                  <a:pt x="1586" y="1265"/>
                  <a:pt x="1594" y="1256"/>
                </a:cubicBezTo>
                <a:cubicBezTo>
                  <a:pt x="1602" y="1247"/>
                  <a:pt x="1590" y="1235"/>
                  <a:pt x="1590" y="1235"/>
                </a:cubicBezTo>
                <a:cubicBezTo>
                  <a:pt x="1590" y="1235"/>
                  <a:pt x="1600" y="1234"/>
                  <a:pt x="1609" y="1224"/>
                </a:cubicBezTo>
                <a:cubicBezTo>
                  <a:pt x="1618" y="1214"/>
                  <a:pt x="1594" y="1196"/>
                  <a:pt x="1594" y="1196"/>
                </a:cubicBezTo>
                <a:cubicBezTo>
                  <a:pt x="1581" y="1205"/>
                  <a:pt x="1581" y="1205"/>
                  <a:pt x="1581" y="1205"/>
                </a:cubicBezTo>
                <a:cubicBezTo>
                  <a:pt x="1581" y="1205"/>
                  <a:pt x="1587" y="1211"/>
                  <a:pt x="1591" y="1212"/>
                </a:cubicBezTo>
                <a:cubicBezTo>
                  <a:pt x="1595" y="1213"/>
                  <a:pt x="1577" y="1222"/>
                  <a:pt x="1573" y="1224"/>
                </a:cubicBezTo>
                <a:close/>
                <a:moveTo>
                  <a:pt x="1636" y="1101"/>
                </a:moveTo>
                <a:cubicBezTo>
                  <a:pt x="1628" y="1108"/>
                  <a:pt x="1614" y="1124"/>
                  <a:pt x="1614" y="1124"/>
                </a:cubicBezTo>
                <a:cubicBezTo>
                  <a:pt x="1602" y="1148"/>
                  <a:pt x="1602" y="1148"/>
                  <a:pt x="1602" y="1148"/>
                </a:cubicBezTo>
                <a:cubicBezTo>
                  <a:pt x="1602" y="1148"/>
                  <a:pt x="1623" y="1144"/>
                  <a:pt x="1633" y="1135"/>
                </a:cubicBezTo>
                <a:cubicBezTo>
                  <a:pt x="1643" y="1126"/>
                  <a:pt x="1640" y="1117"/>
                  <a:pt x="1640" y="1117"/>
                </a:cubicBezTo>
                <a:cubicBezTo>
                  <a:pt x="1650" y="1107"/>
                  <a:pt x="1650" y="1107"/>
                  <a:pt x="1650" y="1107"/>
                </a:cubicBezTo>
                <a:cubicBezTo>
                  <a:pt x="1650" y="1107"/>
                  <a:pt x="1644" y="1094"/>
                  <a:pt x="1636" y="1101"/>
                </a:cubicBezTo>
                <a:close/>
                <a:moveTo>
                  <a:pt x="1614" y="1326"/>
                </a:moveTo>
                <a:cubicBezTo>
                  <a:pt x="1607" y="1344"/>
                  <a:pt x="1607" y="1344"/>
                  <a:pt x="1607" y="1344"/>
                </a:cubicBezTo>
                <a:cubicBezTo>
                  <a:pt x="1609" y="1356"/>
                  <a:pt x="1609" y="1356"/>
                  <a:pt x="1609" y="1356"/>
                </a:cubicBezTo>
                <a:cubicBezTo>
                  <a:pt x="1625" y="1346"/>
                  <a:pt x="1625" y="1346"/>
                  <a:pt x="1625" y="1346"/>
                </a:cubicBezTo>
                <a:lnTo>
                  <a:pt x="1614" y="1326"/>
                </a:lnTo>
                <a:close/>
                <a:moveTo>
                  <a:pt x="4282" y="982"/>
                </a:moveTo>
                <a:cubicBezTo>
                  <a:pt x="4259" y="984"/>
                  <a:pt x="4259" y="984"/>
                  <a:pt x="4259" y="984"/>
                </a:cubicBezTo>
                <a:cubicBezTo>
                  <a:pt x="4283" y="1000"/>
                  <a:pt x="4283" y="1000"/>
                  <a:pt x="4283" y="1000"/>
                </a:cubicBezTo>
                <a:cubicBezTo>
                  <a:pt x="4302" y="991"/>
                  <a:pt x="4282" y="982"/>
                  <a:pt x="4282" y="982"/>
                </a:cubicBezTo>
                <a:close/>
                <a:moveTo>
                  <a:pt x="4428" y="931"/>
                </a:moveTo>
                <a:cubicBezTo>
                  <a:pt x="4428" y="931"/>
                  <a:pt x="4406" y="926"/>
                  <a:pt x="4403" y="935"/>
                </a:cubicBezTo>
                <a:cubicBezTo>
                  <a:pt x="4403" y="935"/>
                  <a:pt x="4414" y="949"/>
                  <a:pt x="4425" y="942"/>
                </a:cubicBezTo>
                <a:cubicBezTo>
                  <a:pt x="4435" y="934"/>
                  <a:pt x="4428" y="931"/>
                  <a:pt x="4428" y="931"/>
                </a:cubicBezTo>
                <a:close/>
                <a:moveTo>
                  <a:pt x="1487" y="1399"/>
                </a:moveTo>
                <a:cubicBezTo>
                  <a:pt x="1487" y="1399"/>
                  <a:pt x="1482" y="1411"/>
                  <a:pt x="1498" y="1410"/>
                </a:cubicBezTo>
                <a:cubicBezTo>
                  <a:pt x="1509" y="1409"/>
                  <a:pt x="1498" y="1392"/>
                  <a:pt x="1495" y="1385"/>
                </a:cubicBezTo>
                <a:cubicBezTo>
                  <a:pt x="1492" y="1378"/>
                  <a:pt x="1500" y="1372"/>
                  <a:pt x="1505" y="1369"/>
                </a:cubicBezTo>
                <a:cubicBezTo>
                  <a:pt x="1510" y="1366"/>
                  <a:pt x="1518" y="1357"/>
                  <a:pt x="1516" y="1353"/>
                </a:cubicBezTo>
                <a:cubicBezTo>
                  <a:pt x="1516" y="1353"/>
                  <a:pt x="1514" y="1342"/>
                  <a:pt x="1520" y="1337"/>
                </a:cubicBezTo>
                <a:cubicBezTo>
                  <a:pt x="1526" y="1332"/>
                  <a:pt x="1537" y="1321"/>
                  <a:pt x="1546" y="1316"/>
                </a:cubicBezTo>
                <a:cubicBezTo>
                  <a:pt x="1555" y="1311"/>
                  <a:pt x="1568" y="1305"/>
                  <a:pt x="1564" y="1304"/>
                </a:cubicBezTo>
                <a:cubicBezTo>
                  <a:pt x="1560" y="1303"/>
                  <a:pt x="1544" y="1307"/>
                  <a:pt x="1538" y="1310"/>
                </a:cubicBezTo>
                <a:cubicBezTo>
                  <a:pt x="1532" y="1313"/>
                  <a:pt x="1527" y="1328"/>
                  <a:pt x="1517" y="1328"/>
                </a:cubicBezTo>
                <a:cubicBezTo>
                  <a:pt x="1507" y="1328"/>
                  <a:pt x="1506" y="1320"/>
                  <a:pt x="1516" y="1320"/>
                </a:cubicBezTo>
                <a:cubicBezTo>
                  <a:pt x="1526" y="1320"/>
                  <a:pt x="1544" y="1307"/>
                  <a:pt x="1530" y="1308"/>
                </a:cubicBezTo>
                <a:cubicBezTo>
                  <a:pt x="1516" y="1309"/>
                  <a:pt x="1514" y="1312"/>
                  <a:pt x="1514" y="1312"/>
                </a:cubicBezTo>
                <a:cubicBezTo>
                  <a:pt x="1514" y="1312"/>
                  <a:pt x="1517" y="1298"/>
                  <a:pt x="1506" y="1302"/>
                </a:cubicBezTo>
                <a:cubicBezTo>
                  <a:pt x="1495" y="1306"/>
                  <a:pt x="1493" y="1319"/>
                  <a:pt x="1493" y="1319"/>
                </a:cubicBezTo>
                <a:cubicBezTo>
                  <a:pt x="1485" y="1337"/>
                  <a:pt x="1485" y="1337"/>
                  <a:pt x="1485" y="1337"/>
                </a:cubicBezTo>
                <a:cubicBezTo>
                  <a:pt x="1485" y="1337"/>
                  <a:pt x="1482" y="1349"/>
                  <a:pt x="1485" y="1350"/>
                </a:cubicBezTo>
                <a:cubicBezTo>
                  <a:pt x="1488" y="1351"/>
                  <a:pt x="1491" y="1360"/>
                  <a:pt x="1491" y="1360"/>
                </a:cubicBezTo>
                <a:cubicBezTo>
                  <a:pt x="1482" y="1364"/>
                  <a:pt x="1482" y="1364"/>
                  <a:pt x="1482" y="1364"/>
                </a:cubicBezTo>
                <a:lnTo>
                  <a:pt x="1487" y="1399"/>
                </a:lnTo>
                <a:close/>
                <a:moveTo>
                  <a:pt x="3982" y="842"/>
                </a:moveTo>
                <a:cubicBezTo>
                  <a:pt x="3959" y="854"/>
                  <a:pt x="3991" y="862"/>
                  <a:pt x="3991" y="862"/>
                </a:cubicBezTo>
                <a:cubicBezTo>
                  <a:pt x="4014" y="849"/>
                  <a:pt x="4006" y="829"/>
                  <a:pt x="3982" y="842"/>
                </a:cubicBezTo>
                <a:close/>
                <a:moveTo>
                  <a:pt x="3698" y="1210"/>
                </a:moveTo>
                <a:cubicBezTo>
                  <a:pt x="3730" y="1209"/>
                  <a:pt x="3741" y="1183"/>
                  <a:pt x="3710" y="1183"/>
                </a:cubicBezTo>
                <a:cubicBezTo>
                  <a:pt x="3678" y="1184"/>
                  <a:pt x="3698" y="1210"/>
                  <a:pt x="3698" y="1210"/>
                </a:cubicBezTo>
                <a:close/>
                <a:moveTo>
                  <a:pt x="3875" y="899"/>
                </a:moveTo>
                <a:cubicBezTo>
                  <a:pt x="3834" y="912"/>
                  <a:pt x="3875" y="926"/>
                  <a:pt x="3875" y="926"/>
                </a:cubicBezTo>
                <a:cubicBezTo>
                  <a:pt x="3897" y="910"/>
                  <a:pt x="3916" y="885"/>
                  <a:pt x="3875" y="899"/>
                </a:cubicBezTo>
                <a:close/>
                <a:moveTo>
                  <a:pt x="3938" y="838"/>
                </a:moveTo>
                <a:cubicBezTo>
                  <a:pt x="3938" y="838"/>
                  <a:pt x="3915" y="835"/>
                  <a:pt x="3905" y="827"/>
                </a:cubicBezTo>
                <a:cubicBezTo>
                  <a:pt x="3895" y="819"/>
                  <a:pt x="3900" y="798"/>
                  <a:pt x="3900" y="798"/>
                </a:cubicBezTo>
                <a:cubicBezTo>
                  <a:pt x="3879" y="782"/>
                  <a:pt x="3879" y="782"/>
                  <a:pt x="3879" y="782"/>
                </a:cubicBezTo>
                <a:cubicBezTo>
                  <a:pt x="3852" y="785"/>
                  <a:pt x="3852" y="785"/>
                  <a:pt x="3852" y="785"/>
                </a:cubicBezTo>
                <a:cubicBezTo>
                  <a:pt x="3848" y="776"/>
                  <a:pt x="3848" y="776"/>
                  <a:pt x="3848" y="776"/>
                </a:cubicBezTo>
                <a:cubicBezTo>
                  <a:pt x="3835" y="754"/>
                  <a:pt x="3835" y="754"/>
                  <a:pt x="3835" y="754"/>
                </a:cubicBezTo>
                <a:cubicBezTo>
                  <a:pt x="3812" y="758"/>
                  <a:pt x="3812" y="758"/>
                  <a:pt x="3812" y="758"/>
                </a:cubicBezTo>
                <a:cubicBezTo>
                  <a:pt x="3799" y="751"/>
                  <a:pt x="3799" y="751"/>
                  <a:pt x="3799" y="751"/>
                </a:cubicBezTo>
                <a:cubicBezTo>
                  <a:pt x="3811" y="740"/>
                  <a:pt x="3811" y="740"/>
                  <a:pt x="3811" y="740"/>
                </a:cubicBezTo>
                <a:cubicBezTo>
                  <a:pt x="3809" y="723"/>
                  <a:pt x="3809" y="723"/>
                  <a:pt x="3809" y="723"/>
                </a:cubicBezTo>
                <a:cubicBezTo>
                  <a:pt x="3775" y="741"/>
                  <a:pt x="3775" y="741"/>
                  <a:pt x="3775" y="741"/>
                </a:cubicBezTo>
                <a:cubicBezTo>
                  <a:pt x="3758" y="749"/>
                  <a:pt x="3758" y="749"/>
                  <a:pt x="3758" y="749"/>
                </a:cubicBezTo>
                <a:cubicBezTo>
                  <a:pt x="3739" y="777"/>
                  <a:pt x="3739" y="777"/>
                  <a:pt x="3739" y="777"/>
                </a:cubicBezTo>
                <a:cubicBezTo>
                  <a:pt x="3739" y="777"/>
                  <a:pt x="3708" y="784"/>
                  <a:pt x="3706" y="790"/>
                </a:cubicBezTo>
                <a:cubicBezTo>
                  <a:pt x="3704" y="796"/>
                  <a:pt x="3716" y="803"/>
                  <a:pt x="3706" y="806"/>
                </a:cubicBezTo>
                <a:cubicBezTo>
                  <a:pt x="3697" y="810"/>
                  <a:pt x="3668" y="820"/>
                  <a:pt x="3668" y="820"/>
                </a:cubicBezTo>
                <a:cubicBezTo>
                  <a:pt x="3685" y="828"/>
                  <a:pt x="3685" y="828"/>
                  <a:pt x="3685" y="828"/>
                </a:cubicBezTo>
                <a:cubicBezTo>
                  <a:pt x="3685" y="828"/>
                  <a:pt x="3712" y="824"/>
                  <a:pt x="3713" y="827"/>
                </a:cubicBezTo>
                <a:cubicBezTo>
                  <a:pt x="3713" y="830"/>
                  <a:pt x="3707" y="835"/>
                  <a:pt x="3707" y="846"/>
                </a:cubicBezTo>
                <a:cubicBezTo>
                  <a:pt x="3707" y="857"/>
                  <a:pt x="3750" y="858"/>
                  <a:pt x="3769" y="848"/>
                </a:cubicBezTo>
                <a:cubicBezTo>
                  <a:pt x="3788" y="839"/>
                  <a:pt x="3778" y="821"/>
                  <a:pt x="3806" y="822"/>
                </a:cubicBezTo>
                <a:cubicBezTo>
                  <a:pt x="3833" y="822"/>
                  <a:pt x="3837" y="831"/>
                  <a:pt x="3837" y="831"/>
                </a:cubicBezTo>
                <a:cubicBezTo>
                  <a:pt x="3868" y="836"/>
                  <a:pt x="3868" y="836"/>
                  <a:pt x="3868" y="836"/>
                </a:cubicBezTo>
                <a:cubicBezTo>
                  <a:pt x="3872" y="847"/>
                  <a:pt x="3872" y="847"/>
                  <a:pt x="3872" y="847"/>
                </a:cubicBezTo>
                <a:cubicBezTo>
                  <a:pt x="3934" y="851"/>
                  <a:pt x="3934" y="851"/>
                  <a:pt x="3934" y="851"/>
                </a:cubicBezTo>
                <a:lnTo>
                  <a:pt x="3938" y="838"/>
                </a:lnTo>
                <a:close/>
                <a:moveTo>
                  <a:pt x="3767" y="885"/>
                </a:moveTo>
                <a:cubicBezTo>
                  <a:pt x="3712" y="935"/>
                  <a:pt x="3802" y="899"/>
                  <a:pt x="3802" y="899"/>
                </a:cubicBezTo>
                <a:cubicBezTo>
                  <a:pt x="3848" y="856"/>
                  <a:pt x="3821" y="834"/>
                  <a:pt x="3767" y="885"/>
                </a:cubicBezTo>
                <a:close/>
                <a:moveTo>
                  <a:pt x="4240" y="874"/>
                </a:moveTo>
                <a:cubicBezTo>
                  <a:pt x="4228" y="875"/>
                  <a:pt x="4229" y="891"/>
                  <a:pt x="4243" y="891"/>
                </a:cubicBezTo>
                <a:cubicBezTo>
                  <a:pt x="4267" y="891"/>
                  <a:pt x="4253" y="872"/>
                  <a:pt x="4240" y="874"/>
                </a:cubicBezTo>
                <a:close/>
                <a:moveTo>
                  <a:pt x="1646" y="1241"/>
                </a:moveTo>
                <a:cubicBezTo>
                  <a:pt x="1652" y="1228"/>
                  <a:pt x="1637" y="1213"/>
                  <a:pt x="1627" y="1223"/>
                </a:cubicBezTo>
                <a:cubicBezTo>
                  <a:pt x="1617" y="1233"/>
                  <a:pt x="1611" y="1263"/>
                  <a:pt x="1611" y="1263"/>
                </a:cubicBezTo>
                <a:cubicBezTo>
                  <a:pt x="1611" y="1263"/>
                  <a:pt x="1624" y="1252"/>
                  <a:pt x="1629" y="1252"/>
                </a:cubicBezTo>
                <a:cubicBezTo>
                  <a:pt x="1634" y="1252"/>
                  <a:pt x="1640" y="1254"/>
                  <a:pt x="1646" y="1241"/>
                </a:cubicBezTo>
                <a:close/>
                <a:moveTo>
                  <a:pt x="1638" y="1161"/>
                </a:moveTo>
                <a:cubicBezTo>
                  <a:pt x="1620" y="1158"/>
                  <a:pt x="1620" y="1158"/>
                  <a:pt x="1620" y="1158"/>
                </a:cubicBezTo>
                <a:cubicBezTo>
                  <a:pt x="1620" y="1158"/>
                  <a:pt x="1595" y="1176"/>
                  <a:pt x="1598" y="1183"/>
                </a:cubicBezTo>
                <a:cubicBezTo>
                  <a:pt x="1604" y="1197"/>
                  <a:pt x="1624" y="1175"/>
                  <a:pt x="1624" y="1175"/>
                </a:cubicBezTo>
                <a:cubicBezTo>
                  <a:pt x="1639" y="1171"/>
                  <a:pt x="1639" y="1171"/>
                  <a:pt x="1639" y="1171"/>
                </a:cubicBezTo>
                <a:lnTo>
                  <a:pt x="1638" y="1161"/>
                </a:lnTo>
                <a:close/>
                <a:moveTo>
                  <a:pt x="1553" y="1272"/>
                </a:moveTo>
                <a:cubicBezTo>
                  <a:pt x="1559" y="1247"/>
                  <a:pt x="1559" y="1247"/>
                  <a:pt x="1559" y="1247"/>
                </a:cubicBezTo>
                <a:cubicBezTo>
                  <a:pt x="1548" y="1252"/>
                  <a:pt x="1548" y="1252"/>
                  <a:pt x="1548" y="1252"/>
                </a:cubicBezTo>
                <a:cubicBezTo>
                  <a:pt x="1544" y="1271"/>
                  <a:pt x="1544" y="1271"/>
                  <a:pt x="1544" y="1271"/>
                </a:cubicBezTo>
                <a:lnTo>
                  <a:pt x="1553" y="1272"/>
                </a:lnTo>
                <a:close/>
                <a:moveTo>
                  <a:pt x="1558" y="1149"/>
                </a:moveTo>
                <a:cubicBezTo>
                  <a:pt x="1557" y="1155"/>
                  <a:pt x="1550" y="1168"/>
                  <a:pt x="1550" y="1168"/>
                </a:cubicBezTo>
                <a:cubicBezTo>
                  <a:pt x="1549" y="1177"/>
                  <a:pt x="1549" y="1177"/>
                  <a:pt x="1549" y="1177"/>
                </a:cubicBezTo>
                <a:cubicBezTo>
                  <a:pt x="1549" y="1177"/>
                  <a:pt x="1541" y="1181"/>
                  <a:pt x="1540" y="1188"/>
                </a:cubicBezTo>
                <a:cubicBezTo>
                  <a:pt x="1539" y="1195"/>
                  <a:pt x="1546" y="1199"/>
                  <a:pt x="1546" y="1199"/>
                </a:cubicBezTo>
                <a:cubicBezTo>
                  <a:pt x="1546" y="1199"/>
                  <a:pt x="1559" y="1179"/>
                  <a:pt x="1576" y="1166"/>
                </a:cubicBezTo>
                <a:cubicBezTo>
                  <a:pt x="1593" y="1153"/>
                  <a:pt x="1590" y="1138"/>
                  <a:pt x="1583" y="1135"/>
                </a:cubicBezTo>
                <a:cubicBezTo>
                  <a:pt x="1576" y="1132"/>
                  <a:pt x="1559" y="1143"/>
                  <a:pt x="1558" y="1149"/>
                </a:cubicBezTo>
                <a:close/>
                <a:moveTo>
                  <a:pt x="4429" y="4263"/>
                </a:moveTo>
                <a:cubicBezTo>
                  <a:pt x="4438" y="4234"/>
                  <a:pt x="4438" y="4234"/>
                  <a:pt x="4438" y="4234"/>
                </a:cubicBezTo>
                <a:cubicBezTo>
                  <a:pt x="4438" y="4234"/>
                  <a:pt x="4445" y="4220"/>
                  <a:pt x="4444" y="4207"/>
                </a:cubicBezTo>
                <a:cubicBezTo>
                  <a:pt x="4443" y="4194"/>
                  <a:pt x="4423" y="4199"/>
                  <a:pt x="4412" y="4199"/>
                </a:cubicBezTo>
                <a:cubicBezTo>
                  <a:pt x="4412" y="4199"/>
                  <a:pt x="4396" y="4208"/>
                  <a:pt x="4389" y="4207"/>
                </a:cubicBezTo>
                <a:cubicBezTo>
                  <a:pt x="4383" y="4206"/>
                  <a:pt x="4355" y="4199"/>
                  <a:pt x="4345" y="4201"/>
                </a:cubicBezTo>
                <a:cubicBezTo>
                  <a:pt x="4335" y="4203"/>
                  <a:pt x="4346" y="4226"/>
                  <a:pt x="4346" y="4226"/>
                </a:cubicBezTo>
                <a:cubicBezTo>
                  <a:pt x="4335" y="4228"/>
                  <a:pt x="4335" y="4228"/>
                  <a:pt x="4335" y="4228"/>
                </a:cubicBezTo>
                <a:cubicBezTo>
                  <a:pt x="4335" y="4244"/>
                  <a:pt x="4335" y="4244"/>
                  <a:pt x="4335" y="4244"/>
                </a:cubicBezTo>
                <a:cubicBezTo>
                  <a:pt x="4349" y="4250"/>
                  <a:pt x="4349" y="4250"/>
                  <a:pt x="4349" y="4250"/>
                </a:cubicBezTo>
                <a:cubicBezTo>
                  <a:pt x="4339" y="4258"/>
                  <a:pt x="4339" y="4258"/>
                  <a:pt x="4339" y="4258"/>
                </a:cubicBezTo>
                <a:cubicBezTo>
                  <a:pt x="4339" y="4258"/>
                  <a:pt x="4342" y="4274"/>
                  <a:pt x="4348" y="4284"/>
                </a:cubicBezTo>
                <a:cubicBezTo>
                  <a:pt x="4355" y="4294"/>
                  <a:pt x="4375" y="4288"/>
                  <a:pt x="4382" y="4288"/>
                </a:cubicBezTo>
                <a:cubicBezTo>
                  <a:pt x="4388" y="4288"/>
                  <a:pt x="4387" y="4280"/>
                  <a:pt x="4387" y="4280"/>
                </a:cubicBezTo>
                <a:cubicBezTo>
                  <a:pt x="4387" y="4280"/>
                  <a:pt x="4400" y="4276"/>
                  <a:pt x="4411" y="4276"/>
                </a:cubicBezTo>
                <a:cubicBezTo>
                  <a:pt x="4422" y="4276"/>
                  <a:pt x="4429" y="4263"/>
                  <a:pt x="4429" y="4263"/>
                </a:cubicBezTo>
                <a:close/>
                <a:moveTo>
                  <a:pt x="4330" y="4191"/>
                </a:moveTo>
                <a:cubicBezTo>
                  <a:pt x="4317" y="4207"/>
                  <a:pt x="4317" y="4207"/>
                  <a:pt x="4317" y="4207"/>
                </a:cubicBezTo>
                <a:cubicBezTo>
                  <a:pt x="4328" y="4212"/>
                  <a:pt x="4328" y="4212"/>
                  <a:pt x="4328" y="4212"/>
                </a:cubicBezTo>
                <a:cubicBezTo>
                  <a:pt x="4339" y="4195"/>
                  <a:pt x="4339" y="4195"/>
                  <a:pt x="4339" y="4195"/>
                </a:cubicBezTo>
                <a:lnTo>
                  <a:pt x="4330" y="4191"/>
                </a:lnTo>
                <a:close/>
                <a:moveTo>
                  <a:pt x="4367" y="4178"/>
                </a:moveTo>
                <a:cubicBezTo>
                  <a:pt x="4353" y="4179"/>
                  <a:pt x="4353" y="4179"/>
                  <a:pt x="4353" y="4179"/>
                </a:cubicBezTo>
                <a:cubicBezTo>
                  <a:pt x="4352" y="4190"/>
                  <a:pt x="4352" y="4190"/>
                  <a:pt x="4352" y="4190"/>
                </a:cubicBezTo>
                <a:cubicBezTo>
                  <a:pt x="4374" y="4191"/>
                  <a:pt x="4374" y="4191"/>
                  <a:pt x="4374" y="4191"/>
                </a:cubicBezTo>
                <a:cubicBezTo>
                  <a:pt x="4386" y="4174"/>
                  <a:pt x="4386" y="4174"/>
                  <a:pt x="4386" y="4174"/>
                </a:cubicBezTo>
                <a:cubicBezTo>
                  <a:pt x="4377" y="4163"/>
                  <a:pt x="4377" y="4163"/>
                  <a:pt x="4377" y="4163"/>
                </a:cubicBezTo>
                <a:lnTo>
                  <a:pt x="4367" y="4178"/>
                </a:lnTo>
                <a:close/>
                <a:moveTo>
                  <a:pt x="4402" y="4194"/>
                </a:moveTo>
                <a:cubicBezTo>
                  <a:pt x="4390" y="4183"/>
                  <a:pt x="4390" y="4183"/>
                  <a:pt x="4390" y="4183"/>
                </a:cubicBezTo>
                <a:cubicBezTo>
                  <a:pt x="4375" y="4200"/>
                  <a:pt x="4375" y="4200"/>
                  <a:pt x="4375" y="4200"/>
                </a:cubicBezTo>
                <a:cubicBezTo>
                  <a:pt x="4387" y="4199"/>
                  <a:pt x="4387" y="4199"/>
                  <a:pt x="4387" y="4199"/>
                </a:cubicBezTo>
                <a:lnTo>
                  <a:pt x="4402" y="4194"/>
                </a:lnTo>
                <a:close/>
                <a:moveTo>
                  <a:pt x="3763" y="6942"/>
                </a:moveTo>
                <a:cubicBezTo>
                  <a:pt x="3766" y="6925"/>
                  <a:pt x="3766" y="6925"/>
                  <a:pt x="3766" y="6925"/>
                </a:cubicBezTo>
                <a:cubicBezTo>
                  <a:pt x="3763" y="6900"/>
                  <a:pt x="3763" y="6900"/>
                  <a:pt x="3763" y="6900"/>
                </a:cubicBezTo>
                <a:cubicBezTo>
                  <a:pt x="3752" y="6896"/>
                  <a:pt x="3752" y="6896"/>
                  <a:pt x="3752" y="6896"/>
                </a:cubicBezTo>
                <a:cubicBezTo>
                  <a:pt x="3752" y="6907"/>
                  <a:pt x="3752" y="6907"/>
                  <a:pt x="3752" y="6907"/>
                </a:cubicBezTo>
                <a:cubicBezTo>
                  <a:pt x="3730" y="6903"/>
                  <a:pt x="3730" y="6903"/>
                  <a:pt x="3730" y="6903"/>
                </a:cubicBezTo>
                <a:cubicBezTo>
                  <a:pt x="3747" y="6926"/>
                  <a:pt x="3747" y="6926"/>
                  <a:pt x="3747" y="6926"/>
                </a:cubicBezTo>
                <a:cubicBezTo>
                  <a:pt x="3743" y="6955"/>
                  <a:pt x="3743" y="6955"/>
                  <a:pt x="3743" y="6955"/>
                </a:cubicBezTo>
                <a:lnTo>
                  <a:pt x="3763" y="6942"/>
                </a:lnTo>
                <a:close/>
                <a:moveTo>
                  <a:pt x="4098" y="7134"/>
                </a:moveTo>
                <a:cubicBezTo>
                  <a:pt x="4104" y="7128"/>
                  <a:pt x="4104" y="7128"/>
                  <a:pt x="4104" y="7128"/>
                </a:cubicBezTo>
                <a:cubicBezTo>
                  <a:pt x="4077" y="7125"/>
                  <a:pt x="4077" y="7125"/>
                  <a:pt x="4077" y="7125"/>
                </a:cubicBezTo>
                <a:cubicBezTo>
                  <a:pt x="4053" y="7125"/>
                  <a:pt x="4053" y="7125"/>
                  <a:pt x="4053" y="7125"/>
                </a:cubicBezTo>
                <a:cubicBezTo>
                  <a:pt x="4062" y="7149"/>
                  <a:pt x="4062" y="7149"/>
                  <a:pt x="4062" y="7149"/>
                </a:cubicBezTo>
                <a:cubicBezTo>
                  <a:pt x="4085" y="7151"/>
                  <a:pt x="4085" y="7151"/>
                  <a:pt x="4085" y="7151"/>
                </a:cubicBezTo>
                <a:cubicBezTo>
                  <a:pt x="4079" y="7141"/>
                  <a:pt x="4079" y="7141"/>
                  <a:pt x="4079" y="7141"/>
                </a:cubicBezTo>
                <a:cubicBezTo>
                  <a:pt x="4085" y="7137"/>
                  <a:pt x="4085" y="7137"/>
                  <a:pt x="4085" y="7137"/>
                </a:cubicBezTo>
                <a:cubicBezTo>
                  <a:pt x="4092" y="7147"/>
                  <a:pt x="4092" y="7147"/>
                  <a:pt x="4092" y="7147"/>
                </a:cubicBezTo>
                <a:cubicBezTo>
                  <a:pt x="4123" y="7147"/>
                  <a:pt x="4123" y="7147"/>
                  <a:pt x="4123" y="7147"/>
                </a:cubicBezTo>
                <a:cubicBezTo>
                  <a:pt x="4133" y="7159"/>
                  <a:pt x="4133" y="7159"/>
                  <a:pt x="4133" y="7159"/>
                </a:cubicBezTo>
                <a:cubicBezTo>
                  <a:pt x="4146" y="7159"/>
                  <a:pt x="4146" y="7159"/>
                  <a:pt x="4146" y="7159"/>
                </a:cubicBezTo>
                <a:cubicBezTo>
                  <a:pt x="4126" y="7138"/>
                  <a:pt x="4126" y="7138"/>
                  <a:pt x="4126" y="7138"/>
                </a:cubicBezTo>
                <a:lnTo>
                  <a:pt x="4098" y="7134"/>
                </a:lnTo>
                <a:close/>
                <a:moveTo>
                  <a:pt x="3867" y="6985"/>
                </a:moveTo>
                <a:cubicBezTo>
                  <a:pt x="3867" y="6985"/>
                  <a:pt x="3841" y="6972"/>
                  <a:pt x="3838" y="6984"/>
                </a:cubicBezTo>
                <a:cubicBezTo>
                  <a:pt x="3835" y="6996"/>
                  <a:pt x="3831" y="7011"/>
                  <a:pt x="3835" y="7011"/>
                </a:cubicBezTo>
                <a:cubicBezTo>
                  <a:pt x="3840" y="7011"/>
                  <a:pt x="3857" y="7004"/>
                  <a:pt x="3857" y="7004"/>
                </a:cubicBezTo>
                <a:cubicBezTo>
                  <a:pt x="3859" y="7020"/>
                  <a:pt x="3859" y="7020"/>
                  <a:pt x="3859" y="7020"/>
                </a:cubicBezTo>
                <a:cubicBezTo>
                  <a:pt x="3880" y="7010"/>
                  <a:pt x="3880" y="7010"/>
                  <a:pt x="3880" y="7010"/>
                </a:cubicBezTo>
                <a:cubicBezTo>
                  <a:pt x="3869" y="7000"/>
                  <a:pt x="3869" y="7000"/>
                  <a:pt x="3869" y="7000"/>
                </a:cubicBezTo>
                <a:cubicBezTo>
                  <a:pt x="3873" y="6988"/>
                  <a:pt x="3873" y="6988"/>
                  <a:pt x="3873" y="6988"/>
                </a:cubicBezTo>
                <a:lnTo>
                  <a:pt x="3867" y="6985"/>
                </a:lnTo>
                <a:close/>
                <a:moveTo>
                  <a:pt x="3994" y="7061"/>
                </a:moveTo>
                <a:cubicBezTo>
                  <a:pt x="3986" y="7072"/>
                  <a:pt x="3986" y="7072"/>
                  <a:pt x="3986" y="7072"/>
                </a:cubicBezTo>
                <a:cubicBezTo>
                  <a:pt x="3990" y="7092"/>
                  <a:pt x="3990" y="7092"/>
                  <a:pt x="3990" y="7092"/>
                </a:cubicBezTo>
                <a:cubicBezTo>
                  <a:pt x="4006" y="7086"/>
                  <a:pt x="4006" y="7086"/>
                  <a:pt x="4006" y="7086"/>
                </a:cubicBezTo>
                <a:lnTo>
                  <a:pt x="3994" y="7061"/>
                </a:lnTo>
                <a:close/>
                <a:moveTo>
                  <a:pt x="3997" y="7104"/>
                </a:moveTo>
                <a:cubicBezTo>
                  <a:pt x="3955" y="7099"/>
                  <a:pt x="3955" y="7099"/>
                  <a:pt x="3955" y="7099"/>
                </a:cubicBezTo>
                <a:cubicBezTo>
                  <a:pt x="3960" y="7111"/>
                  <a:pt x="3960" y="7111"/>
                  <a:pt x="3960" y="7111"/>
                </a:cubicBezTo>
                <a:cubicBezTo>
                  <a:pt x="3987" y="7110"/>
                  <a:pt x="3987" y="7110"/>
                  <a:pt x="3987" y="7110"/>
                </a:cubicBezTo>
                <a:cubicBezTo>
                  <a:pt x="3997" y="7124"/>
                  <a:pt x="3997" y="7124"/>
                  <a:pt x="3997" y="7124"/>
                </a:cubicBezTo>
                <a:cubicBezTo>
                  <a:pt x="4035" y="7140"/>
                  <a:pt x="4035" y="7140"/>
                  <a:pt x="4035" y="7140"/>
                </a:cubicBezTo>
                <a:cubicBezTo>
                  <a:pt x="4012" y="7120"/>
                  <a:pt x="4012" y="7120"/>
                  <a:pt x="4012" y="7120"/>
                </a:cubicBezTo>
                <a:lnTo>
                  <a:pt x="3997" y="7104"/>
                </a:lnTo>
                <a:close/>
                <a:moveTo>
                  <a:pt x="3975" y="7091"/>
                </a:moveTo>
                <a:cubicBezTo>
                  <a:pt x="3973" y="7079"/>
                  <a:pt x="3973" y="7079"/>
                  <a:pt x="3973" y="7079"/>
                </a:cubicBezTo>
                <a:cubicBezTo>
                  <a:pt x="3939" y="7071"/>
                  <a:pt x="3939" y="7071"/>
                  <a:pt x="3939" y="7071"/>
                </a:cubicBezTo>
                <a:cubicBezTo>
                  <a:pt x="3931" y="7082"/>
                  <a:pt x="3931" y="7082"/>
                  <a:pt x="3931" y="7082"/>
                </a:cubicBezTo>
                <a:cubicBezTo>
                  <a:pt x="3932" y="7095"/>
                  <a:pt x="3932" y="7095"/>
                  <a:pt x="3932" y="7095"/>
                </a:cubicBezTo>
                <a:cubicBezTo>
                  <a:pt x="3955" y="7086"/>
                  <a:pt x="3955" y="7086"/>
                  <a:pt x="3955" y="7086"/>
                </a:cubicBezTo>
                <a:lnTo>
                  <a:pt x="3975" y="7091"/>
                </a:lnTo>
                <a:close/>
                <a:moveTo>
                  <a:pt x="4085" y="7040"/>
                </a:moveTo>
                <a:cubicBezTo>
                  <a:pt x="4062" y="7040"/>
                  <a:pt x="4062" y="7040"/>
                  <a:pt x="4062" y="7040"/>
                </a:cubicBezTo>
                <a:cubicBezTo>
                  <a:pt x="4066" y="7029"/>
                  <a:pt x="4066" y="7029"/>
                  <a:pt x="4066" y="7029"/>
                </a:cubicBezTo>
                <a:cubicBezTo>
                  <a:pt x="4040" y="7003"/>
                  <a:pt x="4040" y="7003"/>
                  <a:pt x="4040" y="7003"/>
                </a:cubicBezTo>
                <a:cubicBezTo>
                  <a:pt x="4019" y="7009"/>
                  <a:pt x="4019" y="7009"/>
                  <a:pt x="4019" y="7009"/>
                </a:cubicBezTo>
                <a:cubicBezTo>
                  <a:pt x="4010" y="7001"/>
                  <a:pt x="4010" y="7001"/>
                  <a:pt x="4010" y="7001"/>
                </a:cubicBezTo>
                <a:cubicBezTo>
                  <a:pt x="4003" y="7013"/>
                  <a:pt x="4003" y="7013"/>
                  <a:pt x="4003" y="7013"/>
                </a:cubicBezTo>
                <a:cubicBezTo>
                  <a:pt x="3990" y="7016"/>
                  <a:pt x="3990" y="7016"/>
                  <a:pt x="3990" y="7016"/>
                </a:cubicBezTo>
                <a:cubicBezTo>
                  <a:pt x="3991" y="7027"/>
                  <a:pt x="3991" y="7027"/>
                  <a:pt x="3991" y="7027"/>
                </a:cubicBezTo>
                <a:cubicBezTo>
                  <a:pt x="3980" y="7029"/>
                  <a:pt x="3980" y="7029"/>
                  <a:pt x="3980" y="7029"/>
                </a:cubicBezTo>
                <a:cubicBezTo>
                  <a:pt x="3981" y="7047"/>
                  <a:pt x="3981" y="7047"/>
                  <a:pt x="3981" y="7047"/>
                </a:cubicBezTo>
                <a:cubicBezTo>
                  <a:pt x="3994" y="7060"/>
                  <a:pt x="4017" y="7037"/>
                  <a:pt x="4017" y="7037"/>
                </a:cubicBezTo>
                <a:cubicBezTo>
                  <a:pt x="4032" y="7043"/>
                  <a:pt x="4032" y="7043"/>
                  <a:pt x="4032" y="7043"/>
                </a:cubicBezTo>
                <a:cubicBezTo>
                  <a:pt x="4032" y="7056"/>
                  <a:pt x="4032" y="7056"/>
                  <a:pt x="4032" y="7056"/>
                </a:cubicBezTo>
                <a:cubicBezTo>
                  <a:pt x="4032" y="7056"/>
                  <a:pt x="4001" y="7071"/>
                  <a:pt x="4012" y="7075"/>
                </a:cubicBezTo>
                <a:cubicBezTo>
                  <a:pt x="4022" y="7079"/>
                  <a:pt x="4075" y="7097"/>
                  <a:pt x="4075" y="7097"/>
                </a:cubicBezTo>
                <a:cubicBezTo>
                  <a:pt x="4065" y="7111"/>
                  <a:pt x="4065" y="7111"/>
                  <a:pt x="4065" y="7111"/>
                </a:cubicBezTo>
                <a:cubicBezTo>
                  <a:pt x="4065" y="7111"/>
                  <a:pt x="4062" y="7098"/>
                  <a:pt x="4052" y="7098"/>
                </a:cubicBezTo>
                <a:cubicBezTo>
                  <a:pt x="4042" y="7098"/>
                  <a:pt x="4039" y="7105"/>
                  <a:pt x="4039" y="7105"/>
                </a:cubicBezTo>
                <a:cubicBezTo>
                  <a:pt x="4027" y="7091"/>
                  <a:pt x="4027" y="7091"/>
                  <a:pt x="4027" y="7091"/>
                </a:cubicBezTo>
                <a:cubicBezTo>
                  <a:pt x="4016" y="7095"/>
                  <a:pt x="4016" y="7095"/>
                  <a:pt x="4016" y="7095"/>
                </a:cubicBezTo>
                <a:cubicBezTo>
                  <a:pt x="4025" y="7102"/>
                  <a:pt x="4025" y="7102"/>
                  <a:pt x="4025" y="7102"/>
                </a:cubicBezTo>
                <a:cubicBezTo>
                  <a:pt x="4004" y="7099"/>
                  <a:pt x="4004" y="7099"/>
                  <a:pt x="4004" y="7099"/>
                </a:cubicBezTo>
                <a:cubicBezTo>
                  <a:pt x="4004" y="7099"/>
                  <a:pt x="4010" y="7115"/>
                  <a:pt x="4026" y="7115"/>
                </a:cubicBezTo>
                <a:cubicBezTo>
                  <a:pt x="4042" y="7115"/>
                  <a:pt x="4055" y="7115"/>
                  <a:pt x="4055" y="7115"/>
                </a:cubicBezTo>
                <a:cubicBezTo>
                  <a:pt x="4055" y="7115"/>
                  <a:pt x="4071" y="7121"/>
                  <a:pt x="4081" y="7120"/>
                </a:cubicBezTo>
                <a:cubicBezTo>
                  <a:pt x="4091" y="7118"/>
                  <a:pt x="4136" y="7118"/>
                  <a:pt x="4150" y="7118"/>
                </a:cubicBezTo>
                <a:cubicBezTo>
                  <a:pt x="4165" y="7118"/>
                  <a:pt x="4185" y="7131"/>
                  <a:pt x="4185" y="7131"/>
                </a:cubicBezTo>
                <a:cubicBezTo>
                  <a:pt x="4206" y="7120"/>
                  <a:pt x="4206" y="7120"/>
                  <a:pt x="4206" y="7120"/>
                </a:cubicBezTo>
                <a:cubicBezTo>
                  <a:pt x="4218" y="7124"/>
                  <a:pt x="4218" y="7124"/>
                  <a:pt x="4218" y="7124"/>
                </a:cubicBezTo>
                <a:cubicBezTo>
                  <a:pt x="4230" y="7123"/>
                  <a:pt x="4230" y="7123"/>
                  <a:pt x="4230" y="7123"/>
                </a:cubicBezTo>
                <a:cubicBezTo>
                  <a:pt x="4231" y="7107"/>
                  <a:pt x="4231" y="7107"/>
                  <a:pt x="4231" y="7107"/>
                </a:cubicBezTo>
                <a:cubicBezTo>
                  <a:pt x="4231" y="7107"/>
                  <a:pt x="4189" y="7105"/>
                  <a:pt x="4137" y="7079"/>
                </a:cubicBezTo>
                <a:cubicBezTo>
                  <a:pt x="4085" y="7053"/>
                  <a:pt x="4085" y="7040"/>
                  <a:pt x="4085" y="7040"/>
                </a:cubicBezTo>
                <a:close/>
                <a:moveTo>
                  <a:pt x="4118" y="7130"/>
                </a:moveTo>
                <a:cubicBezTo>
                  <a:pt x="4136" y="7140"/>
                  <a:pt x="4136" y="7140"/>
                  <a:pt x="4136" y="7140"/>
                </a:cubicBezTo>
                <a:cubicBezTo>
                  <a:pt x="4172" y="7143"/>
                  <a:pt x="4172" y="7143"/>
                  <a:pt x="4172" y="7143"/>
                </a:cubicBezTo>
                <a:cubicBezTo>
                  <a:pt x="4153" y="7125"/>
                  <a:pt x="4153" y="7125"/>
                  <a:pt x="4153" y="7125"/>
                </a:cubicBezTo>
                <a:lnTo>
                  <a:pt x="4118" y="7130"/>
                </a:lnTo>
                <a:close/>
                <a:moveTo>
                  <a:pt x="4293" y="4234"/>
                </a:moveTo>
                <a:cubicBezTo>
                  <a:pt x="4290" y="4248"/>
                  <a:pt x="4290" y="4248"/>
                  <a:pt x="4290" y="4248"/>
                </a:cubicBezTo>
                <a:cubicBezTo>
                  <a:pt x="4280" y="4271"/>
                  <a:pt x="4280" y="4271"/>
                  <a:pt x="4280" y="4271"/>
                </a:cubicBezTo>
                <a:cubicBezTo>
                  <a:pt x="4300" y="4259"/>
                  <a:pt x="4300" y="4259"/>
                  <a:pt x="4300" y="4259"/>
                </a:cubicBezTo>
                <a:cubicBezTo>
                  <a:pt x="4300" y="4259"/>
                  <a:pt x="4322" y="4229"/>
                  <a:pt x="4314" y="4224"/>
                </a:cubicBezTo>
                <a:cubicBezTo>
                  <a:pt x="4305" y="4218"/>
                  <a:pt x="4293" y="4234"/>
                  <a:pt x="4293" y="4234"/>
                </a:cubicBezTo>
                <a:close/>
                <a:moveTo>
                  <a:pt x="3623" y="6528"/>
                </a:moveTo>
                <a:cubicBezTo>
                  <a:pt x="3625" y="6496"/>
                  <a:pt x="3625" y="6496"/>
                  <a:pt x="3625" y="6496"/>
                </a:cubicBezTo>
                <a:cubicBezTo>
                  <a:pt x="3604" y="6476"/>
                  <a:pt x="3604" y="6476"/>
                  <a:pt x="3604" y="6476"/>
                </a:cubicBezTo>
                <a:cubicBezTo>
                  <a:pt x="3614" y="6466"/>
                  <a:pt x="3614" y="6466"/>
                  <a:pt x="3614" y="6466"/>
                </a:cubicBezTo>
                <a:cubicBezTo>
                  <a:pt x="3600" y="6450"/>
                  <a:pt x="3600" y="6450"/>
                  <a:pt x="3600" y="6450"/>
                </a:cubicBezTo>
                <a:cubicBezTo>
                  <a:pt x="3577" y="6441"/>
                  <a:pt x="3577" y="6441"/>
                  <a:pt x="3577" y="6441"/>
                </a:cubicBezTo>
                <a:cubicBezTo>
                  <a:pt x="3577" y="6441"/>
                  <a:pt x="3574" y="6477"/>
                  <a:pt x="3583" y="6480"/>
                </a:cubicBezTo>
                <a:cubicBezTo>
                  <a:pt x="3591" y="6483"/>
                  <a:pt x="3597" y="6503"/>
                  <a:pt x="3597" y="6503"/>
                </a:cubicBezTo>
                <a:cubicBezTo>
                  <a:pt x="3593" y="6516"/>
                  <a:pt x="3593" y="6516"/>
                  <a:pt x="3593" y="6516"/>
                </a:cubicBezTo>
                <a:lnTo>
                  <a:pt x="3623" y="6528"/>
                </a:lnTo>
                <a:close/>
                <a:moveTo>
                  <a:pt x="3672" y="6600"/>
                </a:moveTo>
                <a:cubicBezTo>
                  <a:pt x="3672" y="6600"/>
                  <a:pt x="3704" y="6581"/>
                  <a:pt x="3682" y="6577"/>
                </a:cubicBezTo>
                <a:cubicBezTo>
                  <a:pt x="3661" y="6572"/>
                  <a:pt x="3659" y="6600"/>
                  <a:pt x="3672" y="6600"/>
                </a:cubicBezTo>
                <a:close/>
                <a:moveTo>
                  <a:pt x="5098" y="4575"/>
                </a:moveTo>
                <a:cubicBezTo>
                  <a:pt x="5098" y="4558"/>
                  <a:pt x="5082" y="4534"/>
                  <a:pt x="5081" y="4523"/>
                </a:cubicBezTo>
                <a:cubicBezTo>
                  <a:pt x="5080" y="4512"/>
                  <a:pt x="5080" y="4500"/>
                  <a:pt x="5080" y="4491"/>
                </a:cubicBezTo>
                <a:cubicBezTo>
                  <a:pt x="5080" y="4482"/>
                  <a:pt x="5062" y="4466"/>
                  <a:pt x="5062" y="4466"/>
                </a:cubicBezTo>
                <a:cubicBezTo>
                  <a:pt x="5041" y="4462"/>
                  <a:pt x="5041" y="4462"/>
                  <a:pt x="5041" y="4462"/>
                </a:cubicBezTo>
                <a:cubicBezTo>
                  <a:pt x="5007" y="4467"/>
                  <a:pt x="5007" y="4467"/>
                  <a:pt x="5007" y="4467"/>
                </a:cubicBezTo>
                <a:cubicBezTo>
                  <a:pt x="4996" y="4457"/>
                  <a:pt x="4996" y="4457"/>
                  <a:pt x="4996" y="4457"/>
                </a:cubicBezTo>
                <a:cubicBezTo>
                  <a:pt x="4983" y="4456"/>
                  <a:pt x="4983" y="4456"/>
                  <a:pt x="4983" y="4456"/>
                </a:cubicBezTo>
                <a:cubicBezTo>
                  <a:pt x="4971" y="4441"/>
                  <a:pt x="4971" y="4441"/>
                  <a:pt x="4971" y="4441"/>
                </a:cubicBezTo>
                <a:cubicBezTo>
                  <a:pt x="4956" y="4440"/>
                  <a:pt x="4956" y="4440"/>
                  <a:pt x="4956" y="4440"/>
                </a:cubicBezTo>
                <a:cubicBezTo>
                  <a:pt x="4956" y="4440"/>
                  <a:pt x="4938" y="4420"/>
                  <a:pt x="4921" y="4399"/>
                </a:cubicBezTo>
                <a:cubicBezTo>
                  <a:pt x="4904" y="4378"/>
                  <a:pt x="4855" y="4347"/>
                  <a:pt x="4839" y="4346"/>
                </a:cubicBezTo>
                <a:cubicBezTo>
                  <a:pt x="4823" y="4345"/>
                  <a:pt x="4790" y="4347"/>
                  <a:pt x="4790" y="4347"/>
                </a:cubicBezTo>
                <a:cubicBezTo>
                  <a:pt x="4790" y="4357"/>
                  <a:pt x="4790" y="4357"/>
                  <a:pt x="4790" y="4357"/>
                </a:cubicBezTo>
                <a:cubicBezTo>
                  <a:pt x="4790" y="4357"/>
                  <a:pt x="4775" y="4347"/>
                  <a:pt x="4768" y="4344"/>
                </a:cubicBezTo>
                <a:cubicBezTo>
                  <a:pt x="4761" y="4341"/>
                  <a:pt x="4735" y="4340"/>
                  <a:pt x="4735" y="4340"/>
                </a:cubicBezTo>
                <a:cubicBezTo>
                  <a:pt x="4735" y="4340"/>
                  <a:pt x="4707" y="4323"/>
                  <a:pt x="4688" y="4320"/>
                </a:cubicBezTo>
                <a:cubicBezTo>
                  <a:pt x="4669" y="4317"/>
                  <a:pt x="4649" y="4350"/>
                  <a:pt x="4649" y="4350"/>
                </a:cubicBezTo>
                <a:cubicBezTo>
                  <a:pt x="4638" y="4337"/>
                  <a:pt x="4638" y="4337"/>
                  <a:pt x="4638" y="4337"/>
                </a:cubicBezTo>
                <a:cubicBezTo>
                  <a:pt x="4638" y="4359"/>
                  <a:pt x="4638" y="4359"/>
                  <a:pt x="4638" y="4359"/>
                </a:cubicBezTo>
                <a:cubicBezTo>
                  <a:pt x="4618" y="4374"/>
                  <a:pt x="4618" y="4374"/>
                  <a:pt x="4618" y="4374"/>
                </a:cubicBezTo>
                <a:cubicBezTo>
                  <a:pt x="4629" y="4330"/>
                  <a:pt x="4629" y="4330"/>
                  <a:pt x="4629" y="4330"/>
                </a:cubicBezTo>
                <a:cubicBezTo>
                  <a:pt x="4629" y="4330"/>
                  <a:pt x="4647" y="4320"/>
                  <a:pt x="4640" y="4310"/>
                </a:cubicBezTo>
                <a:cubicBezTo>
                  <a:pt x="4633" y="4300"/>
                  <a:pt x="4620" y="4319"/>
                  <a:pt x="4620" y="4319"/>
                </a:cubicBezTo>
                <a:cubicBezTo>
                  <a:pt x="4629" y="4297"/>
                  <a:pt x="4629" y="4297"/>
                  <a:pt x="4629" y="4297"/>
                </a:cubicBezTo>
                <a:cubicBezTo>
                  <a:pt x="4629" y="4297"/>
                  <a:pt x="4620" y="4296"/>
                  <a:pt x="4621" y="4289"/>
                </a:cubicBezTo>
                <a:cubicBezTo>
                  <a:pt x="4622" y="4282"/>
                  <a:pt x="4601" y="4273"/>
                  <a:pt x="4601" y="4273"/>
                </a:cubicBezTo>
                <a:cubicBezTo>
                  <a:pt x="4593" y="4285"/>
                  <a:pt x="4593" y="4285"/>
                  <a:pt x="4593" y="4285"/>
                </a:cubicBezTo>
                <a:cubicBezTo>
                  <a:pt x="4593" y="4285"/>
                  <a:pt x="4580" y="4268"/>
                  <a:pt x="4570" y="4258"/>
                </a:cubicBezTo>
                <a:cubicBezTo>
                  <a:pt x="4560" y="4248"/>
                  <a:pt x="4533" y="4250"/>
                  <a:pt x="4529" y="4246"/>
                </a:cubicBezTo>
                <a:cubicBezTo>
                  <a:pt x="4525" y="4242"/>
                  <a:pt x="4501" y="4224"/>
                  <a:pt x="4501" y="4224"/>
                </a:cubicBezTo>
                <a:cubicBezTo>
                  <a:pt x="4495" y="4232"/>
                  <a:pt x="4495" y="4232"/>
                  <a:pt x="4495" y="4232"/>
                </a:cubicBezTo>
                <a:cubicBezTo>
                  <a:pt x="4495" y="4232"/>
                  <a:pt x="4474" y="4231"/>
                  <a:pt x="4464" y="4230"/>
                </a:cubicBezTo>
                <a:cubicBezTo>
                  <a:pt x="4454" y="4229"/>
                  <a:pt x="4446" y="4264"/>
                  <a:pt x="4446" y="4264"/>
                </a:cubicBezTo>
                <a:cubicBezTo>
                  <a:pt x="4453" y="4276"/>
                  <a:pt x="4453" y="4276"/>
                  <a:pt x="4453" y="4276"/>
                </a:cubicBezTo>
                <a:cubicBezTo>
                  <a:pt x="4453" y="4276"/>
                  <a:pt x="4439" y="4277"/>
                  <a:pt x="4431" y="4277"/>
                </a:cubicBezTo>
                <a:cubicBezTo>
                  <a:pt x="4423" y="4277"/>
                  <a:pt x="4411" y="4299"/>
                  <a:pt x="4411" y="4299"/>
                </a:cubicBezTo>
                <a:cubicBezTo>
                  <a:pt x="4411" y="4299"/>
                  <a:pt x="4404" y="4332"/>
                  <a:pt x="4397" y="4331"/>
                </a:cubicBezTo>
                <a:cubicBezTo>
                  <a:pt x="4390" y="4330"/>
                  <a:pt x="4406" y="4305"/>
                  <a:pt x="4403" y="4294"/>
                </a:cubicBezTo>
                <a:cubicBezTo>
                  <a:pt x="4400" y="4283"/>
                  <a:pt x="4380" y="4304"/>
                  <a:pt x="4380" y="4304"/>
                </a:cubicBezTo>
                <a:cubicBezTo>
                  <a:pt x="4373" y="4298"/>
                  <a:pt x="4373" y="4298"/>
                  <a:pt x="4373" y="4298"/>
                </a:cubicBezTo>
                <a:cubicBezTo>
                  <a:pt x="4373" y="4298"/>
                  <a:pt x="4352" y="4303"/>
                  <a:pt x="4341" y="4296"/>
                </a:cubicBezTo>
                <a:cubicBezTo>
                  <a:pt x="4330" y="4289"/>
                  <a:pt x="4332" y="4279"/>
                  <a:pt x="4332" y="4266"/>
                </a:cubicBezTo>
                <a:cubicBezTo>
                  <a:pt x="4332" y="4253"/>
                  <a:pt x="4327" y="4245"/>
                  <a:pt x="4327" y="4245"/>
                </a:cubicBezTo>
                <a:cubicBezTo>
                  <a:pt x="4320" y="4238"/>
                  <a:pt x="4305" y="4264"/>
                  <a:pt x="4305" y="4264"/>
                </a:cubicBezTo>
                <a:cubicBezTo>
                  <a:pt x="4305" y="4264"/>
                  <a:pt x="4284" y="4279"/>
                  <a:pt x="4272" y="4281"/>
                </a:cubicBezTo>
                <a:cubicBezTo>
                  <a:pt x="4260" y="4283"/>
                  <a:pt x="4246" y="4276"/>
                  <a:pt x="4246" y="4276"/>
                </a:cubicBezTo>
                <a:cubicBezTo>
                  <a:pt x="4272" y="4268"/>
                  <a:pt x="4272" y="4268"/>
                  <a:pt x="4272" y="4268"/>
                </a:cubicBezTo>
                <a:cubicBezTo>
                  <a:pt x="4272" y="4268"/>
                  <a:pt x="4282" y="4256"/>
                  <a:pt x="4285" y="4251"/>
                </a:cubicBezTo>
                <a:cubicBezTo>
                  <a:pt x="4288" y="4246"/>
                  <a:pt x="4287" y="4234"/>
                  <a:pt x="4287" y="4234"/>
                </a:cubicBezTo>
                <a:cubicBezTo>
                  <a:pt x="4287" y="4234"/>
                  <a:pt x="4296" y="4228"/>
                  <a:pt x="4300" y="4216"/>
                </a:cubicBezTo>
                <a:cubicBezTo>
                  <a:pt x="4304" y="4204"/>
                  <a:pt x="4328" y="4185"/>
                  <a:pt x="4338" y="4178"/>
                </a:cubicBezTo>
                <a:cubicBezTo>
                  <a:pt x="4348" y="4171"/>
                  <a:pt x="4350" y="4162"/>
                  <a:pt x="4354" y="4153"/>
                </a:cubicBezTo>
                <a:cubicBezTo>
                  <a:pt x="4358" y="4144"/>
                  <a:pt x="4379" y="4131"/>
                  <a:pt x="4379" y="4131"/>
                </a:cubicBezTo>
                <a:cubicBezTo>
                  <a:pt x="4366" y="4129"/>
                  <a:pt x="4366" y="4129"/>
                  <a:pt x="4366" y="4129"/>
                </a:cubicBezTo>
                <a:cubicBezTo>
                  <a:pt x="4366" y="4129"/>
                  <a:pt x="4378" y="4123"/>
                  <a:pt x="4378" y="4107"/>
                </a:cubicBezTo>
                <a:cubicBezTo>
                  <a:pt x="4378" y="4091"/>
                  <a:pt x="4351" y="4100"/>
                  <a:pt x="4341" y="4089"/>
                </a:cubicBezTo>
                <a:cubicBezTo>
                  <a:pt x="4331" y="4078"/>
                  <a:pt x="4331" y="4055"/>
                  <a:pt x="4327" y="4018"/>
                </a:cubicBezTo>
                <a:cubicBezTo>
                  <a:pt x="4323" y="3981"/>
                  <a:pt x="4315" y="3963"/>
                  <a:pt x="4306" y="3960"/>
                </a:cubicBezTo>
                <a:cubicBezTo>
                  <a:pt x="4297" y="3957"/>
                  <a:pt x="4303" y="3976"/>
                  <a:pt x="4303" y="3980"/>
                </a:cubicBezTo>
                <a:cubicBezTo>
                  <a:pt x="4303" y="3984"/>
                  <a:pt x="4293" y="3979"/>
                  <a:pt x="4291" y="3974"/>
                </a:cubicBezTo>
                <a:cubicBezTo>
                  <a:pt x="4289" y="3969"/>
                  <a:pt x="4277" y="3937"/>
                  <a:pt x="4277" y="3937"/>
                </a:cubicBezTo>
                <a:cubicBezTo>
                  <a:pt x="4258" y="3930"/>
                  <a:pt x="4258" y="3930"/>
                  <a:pt x="4258" y="3930"/>
                </a:cubicBezTo>
                <a:cubicBezTo>
                  <a:pt x="4242" y="3897"/>
                  <a:pt x="4242" y="3897"/>
                  <a:pt x="4242" y="3897"/>
                </a:cubicBezTo>
                <a:cubicBezTo>
                  <a:pt x="4219" y="3897"/>
                  <a:pt x="4219" y="3897"/>
                  <a:pt x="4219" y="3897"/>
                </a:cubicBezTo>
                <a:cubicBezTo>
                  <a:pt x="4219" y="3897"/>
                  <a:pt x="4196" y="3889"/>
                  <a:pt x="4188" y="3881"/>
                </a:cubicBezTo>
                <a:cubicBezTo>
                  <a:pt x="4187" y="3880"/>
                  <a:pt x="4186" y="3880"/>
                  <a:pt x="4186" y="3879"/>
                </a:cubicBezTo>
                <a:cubicBezTo>
                  <a:pt x="4179" y="3870"/>
                  <a:pt x="4132" y="3870"/>
                  <a:pt x="4132" y="3870"/>
                </a:cubicBezTo>
                <a:cubicBezTo>
                  <a:pt x="4128" y="3879"/>
                  <a:pt x="4128" y="3879"/>
                  <a:pt x="4128" y="3879"/>
                </a:cubicBezTo>
                <a:cubicBezTo>
                  <a:pt x="4098" y="3874"/>
                  <a:pt x="4098" y="3874"/>
                  <a:pt x="4098" y="3874"/>
                </a:cubicBezTo>
                <a:cubicBezTo>
                  <a:pt x="4097" y="3885"/>
                  <a:pt x="4097" y="3885"/>
                  <a:pt x="4097" y="3885"/>
                </a:cubicBezTo>
                <a:cubicBezTo>
                  <a:pt x="4058" y="3871"/>
                  <a:pt x="4058" y="3871"/>
                  <a:pt x="4058" y="3871"/>
                </a:cubicBezTo>
                <a:cubicBezTo>
                  <a:pt x="4039" y="3877"/>
                  <a:pt x="4039" y="3877"/>
                  <a:pt x="4039" y="3877"/>
                </a:cubicBezTo>
                <a:cubicBezTo>
                  <a:pt x="4039" y="3877"/>
                  <a:pt x="4039" y="3866"/>
                  <a:pt x="4036" y="3858"/>
                </a:cubicBezTo>
                <a:cubicBezTo>
                  <a:pt x="4033" y="3850"/>
                  <a:pt x="4018" y="3858"/>
                  <a:pt x="4018" y="3858"/>
                </a:cubicBezTo>
                <a:cubicBezTo>
                  <a:pt x="4016" y="3843"/>
                  <a:pt x="4016" y="3843"/>
                  <a:pt x="4016" y="3843"/>
                </a:cubicBezTo>
                <a:cubicBezTo>
                  <a:pt x="4016" y="3843"/>
                  <a:pt x="3999" y="3828"/>
                  <a:pt x="3986" y="3826"/>
                </a:cubicBezTo>
                <a:cubicBezTo>
                  <a:pt x="3973" y="3824"/>
                  <a:pt x="3966" y="3850"/>
                  <a:pt x="3966" y="3850"/>
                </a:cubicBezTo>
                <a:cubicBezTo>
                  <a:pt x="3966" y="3850"/>
                  <a:pt x="3975" y="3810"/>
                  <a:pt x="3977" y="3802"/>
                </a:cubicBezTo>
                <a:cubicBezTo>
                  <a:pt x="3979" y="3794"/>
                  <a:pt x="3965" y="3771"/>
                  <a:pt x="3959" y="3763"/>
                </a:cubicBezTo>
                <a:cubicBezTo>
                  <a:pt x="3953" y="3755"/>
                  <a:pt x="3916" y="3741"/>
                  <a:pt x="3916" y="3741"/>
                </a:cubicBezTo>
                <a:cubicBezTo>
                  <a:pt x="3916" y="3741"/>
                  <a:pt x="3908" y="3731"/>
                  <a:pt x="3904" y="3725"/>
                </a:cubicBezTo>
                <a:cubicBezTo>
                  <a:pt x="3900" y="3719"/>
                  <a:pt x="3885" y="3736"/>
                  <a:pt x="3885" y="3736"/>
                </a:cubicBezTo>
                <a:cubicBezTo>
                  <a:pt x="3885" y="3736"/>
                  <a:pt x="3875" y="3732"/>
                  <a:pt x="3869" y="3729"/>
                </a:cubicBezTo>
                <a:cubicBezTo>
                  <a:pt x="3863" y="3726"/>
                  <a:pt x="3849" y="3743"/>
                  <a:pt x="3849" y="3743"/>
                </a:cubicBezTo>
                <a:cubicBezTo>
                  <a:pt x="3827" y="3729"/>
                  <a:pt x="3827" y="3729"/>
                  <a:pt x="3827" y="3729"/>
                </a:cubicBezTo>
                <a:cubicBezTo>
                  <a:pt x="3827" y="3729"/>
                  <a:pt x="3853" y="3729"/>
                  <a:pt x="3857" y="3722"/>
                </a:cubicBezTo>
                <a:cubicBezTo>
                  <a:pt x="3861" y="3715"/>
                  <a:pt x="3860" y="3702"/>
                  <a:pt x="3860" y="3702"/>
                </a:cubicBezTo>
                <a:cubicBezTo>
                  <a:pt x="3860" y="3702"/>
                  <a:pt x="3870" y="3701"/>
                  <a:pt x="3872" y="3688"/>
                </a:cubicBezTo>
                <a:cubicBezTo>
                  <a:pt x="3874" y="3675"/>
                  <a:pt x="3846" y="3678"/>
                  <a:pt x="3846" y="3678"/>
                </a:cubicBezTo>
                <a:cubicBezTo>
                  <a:pt x="3846" y="3678"/>
                  <a:pt x="3842" y="3664"/>
                  <a:pt x="3835" y="3663"/>
                </a:cubicBezTo>
                <a:cubicBezTo>
                  <a:pt x="3828" y="3662"/>
                  <a:pt x="3830" y="3678"/>
                  <a:pt x="3830" y="3678"/>
                </a:cubicBezTo>
                <a:cubicBezTo>
                  <a:pt x="3830" y="3678"/>
                  <a:pt x="3824" y="3669"/>
                  <a:pt x="3824" y="3663"/>
                </a:cubicBezTo>
                <a:cubicBezTo>
                  <a:pt x="3824" y="3657"/>
                  <a:pt x="3810" y="3658"/>
                  <a:pt x="3810" y="3658"/>
                </a:cubicBezTo>
                <a:cubicBezTo>
                  <a:pt x="3806" y="3678"/>
                  <a:pt x="3806" y="3678"/>
                  <a:pt x="3806" y="3678"/>
                </a:cubicBezTo>
                <a:cubicBezTo>
                  <a:pt x="3806" y="3678"/>
                  <a:pt x="3798" y="3670"/>
                  <a:pt x="3796" y="3664"/>
                </a:cubicBezTo>
                <a:cubicBezTo>
                  <a:pt x="3794" y="3658"/>
                  <a:pt x="3793" y="3644"/>
                  <a:pt x="3793" y="3644"/>
                </a:cubicBezTo>
                <a:cubicBezTo>
                  <a:pt x="3772" y="3652"/>
                  <a:pt x="3772" y="3652"/>
                  <a:pt x="3772" y="3652"/>
                </a:cubicBezTo>
                <a:cubicBezTo>
                  <a:pt x="3772" y="3652"/>
                  <a:pt x="3788" y="3643"/>
                  <a:pt x="3788" y="3638"/>
                </a:cubicBezTo>
                <a:cubicBezTo>
                  <a:pt x="3788" y="3633"/>
                  <a:pt x="3775" y="3633"/>
                  <a:pt x="3775" y="3628"/>
                </a:cubicBezTo>
                <a:cubicBezTo>
                  <a:pt x="3775" y="3623"/>
                  <a:pt x="3817" y="3623"/>
                  <a:pt x="3821" y="3617"/>
                </a:cubicBezTo>
                <a:cubicBezTo>
                  <a:pt x="3825" y="3611"/>
                  <a:pt x="3731" y="3619"/>
                  <a:pt x="3731" y="3619"/>
                </a:cubicBezTo>
                <a:cubicBezTo>
                  <a:pt x="3740" y="3629"/>
                  <a:pt x="3740" y="3629"/>
                  <a:pt x="3740" y="3629"/>
                </a:cubicBezTo>
                <a:cubicBezTo>
                  <a:pt x="3740" y="3629"/>
                  <a:pt x="3718" y="3631"/>
                  <a:pt x="3709" y="3634"/>
                </a:cubicBezTo>
                <a:cubicBezTo>
                  <a:pt x="3700" y="3637"/>
                  <a:pt x="3676" y="3654"/>
                  <a:pt x="3676" y="3654"/>
                </a:cubicBezTo>
                <a:cubicBezTo>
                  <a:pt x="3652" y="3655"/>
                  <a:pt x="3620" y="3623"/>
                  <a:pt x="3620" y="3623"/>
                </a:cubicBezTo>
                <a:cubicBezTo>
                  <a:pt x="3620" y="3623"/>
                  <a:pt x="3539" y="3628"/>
                  <a:pt x="3529" y="3627"/>
                </a:cubicBezTo>
                <a:cubicBezTo>
                  <a:pt x="3519" y="3626"/>
                  <a:pt x="3516" y="3617"/>
                  <a:pt x="3516" y="3603"/>
                </a:cubicBezTo>
                <a:cubicBezTo>
                  <a:pt x="3516" y="3589"/>
                  <a:pt x="3510" y="3579"/>
                  <a:pt x="3484" y="3574"/>
                </a:cubicBezTo>
                <a:cubicBezTo>
                  <a:pt x="3458" y="3569"/>
                  <a:pt x="3421" y="3591"/>
                  <a:pt x="3421" y="3591"/>
                </a:cubicBezTo>
                <a:cubicBezTo>
                  <a:pt x="3421" y="3591"/>
                  <a:pt x="3394" y="3597"/>
                  <a:pt x="3378" y="3611"/>
                </a:cubicBezTo>
                <a:cubicBezTo>
                  <a:pt x="3362" y="3625"/>
                  <a:pt x="3385" y="3651"/>
                  <a:pt x="3387" y="3671"/>
                </a:cubicBezTo>
                <a:cubicBezTo>
                  <a:pt x="3389" y="3691"/>
                  <a:pt x="3362" y="3707"/>
                  <a:pt x="3362" y="3707"/>
                </a:cubicBezTo>
                <a:cubicBezTo>
                  <a:pt x="3363" y="3689"/>
                  <a:pt x="3363" y="3689"/>
                  <a:pt x="3363" y="3689"/>
                </a:cubicBezTo>
                <a:cubicBezTo>
                  <a:pt x="3363" y="3689"/>
                  <a:pt x="3345" y="3684"/>
                  <a:pt x="3339" y="3674"/>
                </a:cubicBezTo>
                <a:cubicBezTo>
                  <a:pt x="3333" y="3664"/>
                  <a:pt x="3349" y="3646"/>
                  <a:pt x="3356" y="3637"/>
                </a:cubicBezTo>
                <a:cubicBezTo>
                  <a:pt x="3363" y="3628"/>
                  <a:pt x="3362" y="3612"/>
                  <a:pt x="3362" y="3600"/>
                </a:cubicBezTo>
                <a:cubicBezTo>
                  <a:pt x="3362" y="3588"/>
                  <a:pt x="3351" y="3573"/>
                  <a:pt x="3351" y="3573"/>
                </a:cubicBezTo>
                <a:cubicBezTo>
                  <a:pt x="3351" y="3573"/>
                  <a:pt x="3368" y="3563"/>
                  <a:pt x="3373" y="3562"/>
                </a:cubicBezTo>
                <a:cubicBezTo>
                  <a:pt x="3378" y="3561"/>
                  <a:pt x="3393" y="3557"/>
                  <a:pt x="3394" y="3536"/>
                </a:cubicBezTo>
                <a:cubicBezTo>
                  <a:pt x="3395" y="3515"/>
                  <a:pt x="3353" y="3531"/>
                  <a:pt x="3347" y="3532"/>
                </a:cubicBezTo>
                <a:cubicBezTo>
                  <a:pt x="3341" y="3533"/>
                  <a:pt x="3341" y="3553"/>
                  <a:pt x="3334" y="3560"/>
                </a:cubicBezTo>
                <a:cubicBezTo>
                  <a:pt x="3327" y="3567"/>
                  <a:pt x="3316" y="3560"/>
                  <a:pt x="3309" y="3561"/>
                </a:cubicBezTo>
                <a:cubicBezTo>
                  <a:pt x="3302" y="3562"/>
                  <a:pt x="3288" y="3585"/>
                  <a:pt x="3288" y="3585"/>
                </a:cubicBezTo>
                <a:cubicBezTo>
                  <a:pt x="3263" y="3589"/>
                  <a:pt x="3263" y="3589"/>
                  <a:pt x="3263" y="3589"/>
                </a:cubicBezTo>
                <a:cubicBezTo>
                  <a:pt x="3263" y="3589"/>
                  <a:pt x="3257" y="3580"/>
                  <a:pt x="3250" y="3584"/>
                </a:cubicBezTo>
                <a:cubicBezTo>
                  <a:pt x="3243" y="3589"/>
                  <a:pt x="3243" y="3601"/>
                  <a:pt x="3243" y="3601"/>
                </a:cubicBezTo>
                <a:cubicBezTo>
                  <a:pt x="3243" y="3601"/>
                  <a:pt x="3238" y="3615"/>
                  <a:pt x="3231" y="3616"/>
                </a:cubicBezTo>
                <a:cubicBezTo>
                  <a:pt x="3224" y="3618"/>
                  <a:pt x="3232" y="3607"/>
                  <a:pt x="3232" y="3607"/>
                </a:cubicBezTo>
                <a:cubicBezTo>
                  <a:pt x="3232" y="3607"/>
                  <a:pt x="3226" y="3602"/>
                  <a:pt x="3222" y="3602"/>
                </a:cubicBezTo>
                <a:cubicBezTo>
                  <a:pt x="3219" y="3602"/>
                  <a:pt x="3204" y="3606"/>
                  <a:pt x="3199" y="3609"/>
                </a:cubicBezTo>
                <a:cubicBezTo>
                  <a:pt x="3194" y="3613"/>
                  <a:pt x="3179" y="3627"/>
                  <a:pt x="3175" y="3634"/>
                </a:cubicBezTo>
                <a:cubicBezTo>
                  <a:pt x="3172" y="3641"/>
                  <a:pt x="3180" y="3650"/>
                  <a:pt x="3180" y="3650"/>
                </a:cubicBezTo>
                <a:cubicBezTo>
                  <a:pt x="3169" y="3670"/>
                  <a:pt x="3169" y="3670"/>
                  <a:pt x="3169" y="3670"/>
                </a:cubicBezTo>
                <a:cubicBezTo>
                  <a:pt x="3176" y="3686"/>
                  <a:pt x="3176" y="3686"/>
                  <a:pt x="3176" y="3686"/>
                </a:cubicBezTo>
                <a:cubicBezTo>
                  <a:pt x="3176" y="3686"/>
                  <a:pt x="3160" y="3687"/>
                  <a:pt x="3154" y="3690"/>
                </a:cubicBezTo>
                <a:cubicBezTo>
                  <a:pt x="3148" y="3692"/>
                  <a:pt x="3142" y="3706"/>
                  <a:pt x="3139" y="3713"/>
                </a:cubicBezTo>
                <a:cubicBezTo>
                  <a:pt x="3135" y="3720"/>
                  <a:pt x="3121" y="3722"/>
                  <a:pt x="3121" y="3722"/>
                </a:cubicBezTo>
                <a:cubicBezTo>
                  <a:pt x="3107" y="3728"/>
                  <a:pt x="3107" y="3728"/>
                  <a:pt x="3107" y="3728"/>
                </a:cubicBezTo>
                <a:cubicBezTo>
                  <a:pt x="3115" y="3744"/>
                  <a:pt x="3115" y="3744"/>
                  <a:pt x="3115" y="3744"/>
                </a:cubicBezTo>
                <a:cubicBezTo>
                  <a:pt x="3115" y="3744"/>
                  <a:pt x="3118" y="3767"/>
                  <a:pt x="3110" y="3769"/>
                </a:cubicBezTo>
                <a:cubicBezTo>
                  <a:pt x="3102" y="3771"/>
                  <a:pt x="3108" y="3761"/>
                  <a:pt x="3107" y="3751"/>
                </a:cubicBezTo>
                <a:cubicBezTo>
                  <a:pt x="3105" y="3742"/>
                  <a:pt x="3085" y="3730"/>
                  <a:pt x="3085" y="3730"/>
                </a:cubicBezTo>
                <a:cubicBezTo>
                  <a:pt x="3085" y="3730"/>
                  <a:pt x="3085" y="3730"/>
                  <a:pt x="3085" y="3731"/>
                </a:cubicBezTo>
                <a:cubicBezTo>
                  <a:pt x="3085" y="3731"/>
                  <a:pt x="3085" y="3731"/>
                  <a:pt x="3085" y="3731"/>
                </a:cubicBezTo>
                <a:cubicBezTo>
                  <a:pt x="3070" y="3719"/>
                  <a:pt x="3070" y="3719"/>
                  <a:pt x="3070" y="3719"/>
                </a:cubicBezTo>
                <a:cubicBezTo>
                  <a:pt x="3070" y="3719"/>
                  <a:pt x="3066" y="3697"/>
                  <a:pt x="3051" y="3691"/>
                </a:cubicBezTo>
                <a:cubicBezTo>
                  <a:pt x="3036" y="3685"/>
                  <a:pt x="3011" y="3686"/>
                  <a:pt x="3011" y="3686"/>
                </a:cubicBezTo>
                <a:cubicBezTo>
                  <a:pt x="3010" y="3677"/>
                  <a:pt x="3010" y="3677"/>
                  <a:pt x="3010" y="3677"/>
                </a:cubicBezTo>
                <a:cubicBezTo>
                  <a:pt x="3010" y="3677"/>
                  <a:pt x="2984" y="3673"/>
                  <a:pt x="2978" y="3680"/>
                </a:cubicBezTo>
                <a:cubicBezTo>
                  <a:pt x="2972" y="3687"/>
                  <a:pt x="2959" y="3700"/>
                  <a:pt x="2959" y="3700"/>
                </a:cubicBezTo>
                <a:cubicBezTo>
                  <a:pt x="2959" y="3700"/>
                  <a:pt x="2949" y="3691"/>
                  <a:pt x="2941" y="3698"/>
                </a:cubicBezTo>
                <a:cubicBezTo>
                  <a:pt x="2933" y="3705"/>
                  <a:pt x="2919" y="3723"/>
                  <a:pt x="2909" y="3723"/>
                </a:cubicBezTo>
                <a:cubicBezTo>
                  <a:pt x="2899" y="3723"/>
                  <a:pt x="2890" y="3716"/>
                  <a:pt x="2890" y="3716"/>
                </a:cubicBezTo>
                <a:cubicBezTo>
                  <a:pt x="2880" y="3705"/>
                  <a:pt x="2880" y="3705"/>
                  <a:pt x="2880" y="3705"/>
                </a:cubicBezTo>
                <a:cubicBezTo>
                  <a:pt x="2874" y="3712"/>
                  <a:pt x="2874" y="3712"/>
                  <a:pt x="2874" y="3712"/>
                </a:cubicBezTo>
                <a:cubicBezTo>
                  <a:pt x="2874" y="3712"/>
                  <a:pt x="2860" y="3717"/>
                  <a:pt x="2855" y="3708"/>
                </a:cubicBezTo>
                <a:cubicBezTo>
                  <a:pt x="2850" y="3699"/>
                  <a:pt x="2857" y="3689"/>
                  <a:pt x="2850" y="3683"/>
                </a:cubicBezTo>
                <a:cubicBezTo>
                  <a:pt x="2848" y="3681"/>
                  <a:pt x="2845" y="3680"/>
                  <a:pt x="2842" y="3678"/>
                </a:cubicBezTo>
                <a:cubicBezTo>
                  <a:pt x="2834" y="3673"/>
                  <a:pt x="2823" y="3666"/>
                  <a:pt x="2820" y="3657"/>
                </a:cubicBezTo>
                <a:cubicBezTo>
                  <a:pt x="2816" y="3644"/>
                  <a:pt x="2804" y="3630"/>
                  <a:pt x="2804" y="3630"/>
                </a:cubicBezTo>
                <a:cubicBezTo>
                  <a:pt x="2802" y="3615"/>
                  <a:pt x="2802" y="3615"/>
                  <a:pt x="2802" y="3615"/>
                </a:cubicBezTo>
                <a:cubicBezTo>
                  <a:pt x="2802" y="3615"/>
                  <a:pt x="2802" y="3615"/>
                  <a:pt x="2802" y="3614"/>
                </a:cubicBezTo>
                <a:cubicBezTo>
                  <a:pt x="2802" y="3614"/>
                  <a:pt x="2802" y="3614"/>
                  <a:pt x="2802" y="3614"/>
                </a:cubicBezTo>
                <a:cubicBezTo>
                  <a:pt x="2799" y="3612"/>
                  <a:pt x="2789" y="3599"/>
                  <a:pt x="2789" y="3586"/>
                </a:cubicBezTo>
                <a:cubicBezTo>
                  <a:pt x="2789" y="3571"/>
                  <a:pt x="2801" y="3575"/>
                  <a:pt x="2801" y="3566"/>
                </a:cubicBezTo>
                <a:cubicBezTo>
                  <a:pt x="2801" y="3557"/>
                  <a:pt x="2796" y="3545"/>
                  <a:pt x="2796" y="3545"/>
                </a:cubicBezTo>
                <a:cubicBezTo>
                  <a:pt x="2800" y="3513"/>
                  <a:pt x="2800" y="3513"/>
                  <a:pt x="2800" y="3513"/>
                </a:cubicBezTo>
                <a:cubicBezTo>
                  <a:pt x="2810" y="3525"/>
                  <a:pt x="2810" y="3525"/>
                  <a:pt x="2810" y="3525"/>
                </a:cubicBezTo>
                <a:cubicBezTo>
                  <a:pt x="2813" y="3468"/>
                  <a:pt x="2813" y="3468"/>
                  <a:pt x="2813" y="3468"/>
                </a:cubicBezTo>
                <a:cubicBezTo>
                  <a:pt x="2813" y="3468"/>
                  <a:pt x="2819" y="3447"/>
                  <a:pt x="2828" y="3438"/>
                </a:cubicBezTo>
                <a:cubicBezTo>
                  <a:pt x="2837" y="3429"/>
                  <a:pt x="2839" y="3414"/>
                  <a:pt x="2837" y="3409"/>
                </a:cubicBezTo>
                <a:cubicBezTo>
                  <a:pt x="2835" y="3404"/>
                  <a:pt x="2829" y="3399"/>
                  <a:pt x="2830" y="3395"/>
                </a:cubicBezTo>
                <a:cubicBezTo>
                  <a:pt x="2831" y="3391"/>
                  <a:pt x="2845" y="3392"/>
                  <a:pt x="2843" y="3385"/>
                </a:cubicBezTo>
                <a:cubicBezTo>
                  <a:pt x="2841" y="3378"/>
                  <a:pt x="2832" y="3371"/>
                  <a:pt x="2832" y="3371"/>
                </a:cubicBezTo>
                <a:cubicBezTo>
                  <a:pt x="2817" y="3365"/>
                  <a:pt x="2817" y="3365"/>
                  <a:pt x="2817" y="3365"/>
                </a:cubicBezTo>
                <a:cubicBezTo>
                  <a:pt x="2817" y="3365"/>
                  <a:pt x="2806" y="3357"/>
                  <a:pt x="2797" y="3348"/>
                </a:cubicBezTo>
                <a:cubicBezTo>
                  <a:pt x="2788" y="3339"/>
                  <a:pt x="2779" y="3343"/>
                  <a:pt x="2779" y="3343"/>
                </a:cubicBezTo>
                <a:cubicBezTo>
                  <a:pt x="2779" y="3343"/>
                  <a:pt x="2775" y="3331"/>
                  <a:pt x="2763" y="3331"/>
                </a:cubicBezTo>
                <a:cubicBezTo>
                  <a:pt x="2751" y="3331"/>
                  <a:pt x="2741" y="3339"/>
                  <a:pt x="2741" y="3339"/>
                </a:cubicBezTo>
                <a:cubicBezTo>
                  <a:pt x="2741" y="3339"/>
                  <a:pt x="2727" y="3330"/>
                  <a:pt x="2720" y="3330"/>
                </a:cubicBezTo>
                <a:cubicBezTo>
                  <a:pt x="2713" y="3330"/>
                  <a:pt x="2697" y="3348"/>
                  <a:pt x="2697" y="3348"/>
                </a:cubicBezTo>
                <a:cubicBezTo>
                  <a:pt x="2674" y="3347"/>
                  <a:pt x="2674" y="3347"/>
                  <a:pt x="2674" y="3347"/>
                </a:cubicBezTo>
                <a:cubicBezTo>
                  <a:pt x="2674" y="3347"/>
                  <a:pt x="2661" y="3341"/>
                  <a:pt x="2658" y="3341"/>
                </a:cubicBezTo>
                <a:cubicBezTo>
                  <a:pt x="2655" y="3341"/>
                  <a:pt x="2638" y="3346"/>
                  <a:pt x="2638" y="3346"/>
                </a:cubicBezTo>
                <a:cubicBezTo>
                  <a:pt x="2638" y="3346"/>
                  <a:pt x="2633" y="3332"/>
                  <a:pt x="2630" y="3332"/>
                </a:cubicBezTo>
                <a:cubicBezTo>
                  <a:pt x="2627" y="3332"/>
                  <a:pt x="2608" y="3345"/>
                  <a:pt x="2608" y="3345"/>
                </a:cubicBezTo>
                <a:cubicBezTo>
                  <a:pt x="2599" y="3336"/>
                  <a:pt x="2599" y="3336"/>
                  <a:pt x="2599" y="3336"/>
                </a:cubicBezTo>
                <a:cubicBezTo>
                  <a:pt x="2588" y="3343"/>
                  <a:pt x="2588" y="3343"/>
                  <a:pt x="2588" y="3343"/>
                </a:cubicBezTo>
                <a:cubicBezTo>
                  <a:pt x="2579" y="3338"/>
                  <a:pt x="2579" y="3338"/>
                  <a:pt x="2579" y="3338"/>
                </a:cubicBezTo>
                <a:cubicBezTo>
                  <a:pt x="2589" y="3312"/>
                  <a:pt x="2589" y="3312"/>
                  <a:pt x="2589" y="3312"/>
                </a:cubicBezTo>
                <a:cubicBezTo>
                  <a:pt x="2600" y="3316"/>
                  <a:pt x="2600" y="3316"/>
                  <a:pt x="2600" y="3316"/>
                </a:cubicBezTo>
                <a:cubicBezTo>
                  <a:pt x="2600" y="3316"/>
                  <a:pt x="2616" y="3302"/>
                  <a:pt x="2616" y="3291"/>
                </a:cubicBezTo>
                <a:cubicBezTo>
                  <a:pt x="2616" y="3280"/>
                  <a:pt x="2612" y="3268"/>
                  <a:pt x="2616" y="3258"/>
                </a:cubicBezTo>
                <a:cubicBezTo>
                  <a:pt x="2620" y="3248"/>
                  <a:pt x="2633" y="3225"/>
                  <a:pt x="2633" y="3220"/>
                </a:cubicBezTo>
                <a:cubicBezTo>
                  <a:pt x="2633" y="3215"/>
                  <a:pt x="2615" y="3209"/>
                  <a:pt x="2615" y="3209"/>
                </a:cubicBezTo>
                <a:cubicBezTo>
                  <a:pt x="2626" y="3199"/>
                  <a:pt x="2626" y="3199"/>
                  <a:pt x="2626" y="3199"/>
                </a:cubicBezTo>
                <a:cubicBezTo>
                  <a:pt x="2640" y="3183"/>
                  <a:pt x="2640" y="3183"/>
                  <a:pt x="2640" y="3183"/>
                </a:cubicBezTo>
                <a:cubicBezTo>
                  <a:pt x="2640" y="3183"/>
                  <a:pt x="2634" y="3202"/>
                  <a:pt x="2638" y="3205"/>
                </a:cubicBezTo>
                <a:cubicBezTo>
                  <a:pt x="2642" y="3208"/>
                  <a:pt x="2649" y="3208"/>
                  <a:pt x="2649" y="3208"/>
                </a:cubicBezTo>
                <a:cubicBezTo>
                  <a:pt x="2664" y="3163"/>
                  <a:pt x="2664" y="3163"/>
                  <a:pt x="2664" y="3163"/>
                </a:cubicBezTo>
                <a:cubicBezTo>
                  <a:pt x="2658" y="3155"/>
                  <a:pt x="2658" y="3155"/>
                  <a:pt x="2658" y="3155"/>
                </a:cubicBezTo>
                <a:cubicBezTo>
                  <a:pt x="2671" y="3151"/>
                  <a:pt x="2671" y="3151"/>
                  <a:pt x="2671" y="3151"/>
                </a:cubicBezTo>
                <a:cubicBezTo>
                  <a:pt x="2672" y="3143"/>
                  <a:pt x="2672" y="3143"/>
                  <a:pt x="2672" y="3143"/>
                </a:cubicBezTo>
                <a:cubicBezTo>
                  <a:pt x="2660" y="3139"/>
                  <a:pt x="2660" y="3139"/>
                  <a:pt x="2660" y="3139"/>
                </a:cubicBezTo>
                <a:cubicBezTo>
                  <a:pt x="2672" y="3126"/>
                  <a:pt x="2672" y="3126"/>
                  <a:pt x="2672" y="3126"/>
                </a:cubicBezTo>
                <a:cubicBezTo>
                  <a:pt x="2676" y="3110"/>
                  <a:pt x="2676" y="3110"/>
                  <a:pt x="2676" y="3110"/>
                </a:cubicBezTo>
                <a:cubicBezTo>
                  <a:pt x="2676" y="3110"/>
                  <a:pt x="2706" y="3079"/>
                  <a:pt x="2710" y="3070"/>
                </a:cubicBezTo>
                <a:cubicBezTo>
                  <a:pt x="2714" y="3061"/>
                  <a:pt x="2723" y="3038"/>
                  <a:pt x="2712" y="3035"/>
                </a:cubicBezTo>
                <a:cubicBezTo>
                  <a:pt x="2701" y="3032"/>
                  <a:pt x="2679" y="3039"/>
                  <a:pt x="2679" y="3039"/>
                </a:cubicBezTo>
                <a:cubicBezTo>
                  <a:pt x="2679" y="3039"/>
                  <a:pt x="2655" y="3032"/>
                  <a:pt x="2648" y="3032"/>
                </a:cubicBezTo>
                <a:cubicBezTo>
                  <a:pt x="2641" y="3032"/>
                  <a:pt x="2613" y="3040"/>
                  <a:pt x="2599" y="3044"/>
                </a:cubicBezTo>
                <a:cubicBezTo>
                  <a:pt x="2585" y="3048"/>
                  <a:pt x="2560" y="3044"/>
                  <a:pt x="2554" y="3050"/>
                </a:cubicBezTo>
                <a:cubicBezTo>
                  <a:pt x="2548" y="3056"/>
                  <a:pt x="2537" y="3077"/>
                  <a:pt x="2536" y="3093"/>
                </a:cubicBezTo>
                <a:cubicBezTo>
                  <a:pt x="2535" y="3109"/>
                  <a:pt x="2535" y="3124"/>
                  <a:pt x="2535" y="3124"/>
                </a:cubicBezTo>
                <a:cubicBezTo>
                  <a:pt x="2525" y="3128"/>
                  <a:pt x="2525" y="3128"/>
                  <a:pt x="2525" y="3128"/>
                </a:cubicBezTo>
                <a:cubicBezTo>
                  <a:pt x="2525" y="3128"/>
                  <a:pt x="2525" y="3148"/>
                  <a:pt x="2519" y="3154"/>
                </a:cubicBezTo>
                <a:cubicBezTo>
                  <a:pt x="2513" y="3160"/>
                  <a:pt x="2492" y="3166"/>
                  <a:pt x="2487" y="3175"/>
                </a:cubicBezTo>
                <a:cubicBezTo>
                  <a:pt x="2482" y="3184"/>
                  <a:pt x="2485" y="3203"/>
                  <a:pt x="2472" y="3204"/>
                </a:cubicBezTo>
                <a:cubicBezTo>
                  <a:pt x="2459" y="3205"/>
                  <a:pt x="2466" y="3187"/>
                  <a:pt x="2450" y="3187"/>
                </a:cubicBezTo>
                <a:cubicBezTo>
                  <a:pt x="2434" y="3187"/>
                  <a:pt x="2408" y="3199"/>
                  <a:pt x="2388" y="3199"/>
                </a:cubicBezTo>
                <a:cubicBezTo>
                  <a:pt x="2368" y="3199"/>
                  <a:pt x="2340" y="3222"/>
                  <a:pt x="2331" y="3218"/>
                </a:cubicBezTo>
                <a:cubicBezTo>
                  <a:pt x="2322" y="3214"/>
                  <a:pt x="2323" y="3193"/>
                  <a:pt x="2312" y="3191"/>
                </a:cubicBezTo>
                <a:cubicBezTo>
                  <a:pt x="2301" y="3189"/>
                  <a:pt x="2273" y="3186"/>
                  <a:pt x="2273" y="3186"/>
                </a:cubicBezTo>
                <a:cubicBezTo>
                  <a:pt x="2273" y="3186"/>
                  <a:pt x="2271" y="3169"/>
                  <a:pt x="2266" y="3162"/>
                </a:cubicBezTo>
                <a:cubicBezTo>
                  <a:pt x="2261" y="3155"/>
                  <a:pt x="2253" y="3146"/>
                  <a:pt x="2253" y="3146"/>
                </a:cubicBezTo>
                <a:cubicBezTo>
                  <a:pt x="2253" y="3123"/>
                  <a:pt x="2253" y="3123"/>
                  <a:pt x="2253" y="3123"/>
                </a:cubicBezTo>
                <a:cubicBezTo>
                  <a:pt x="2227" y="3082"/>
                  <a:pt x="2227" y="3082"/>
                  <a:pt x="2227" y="3082"/>
                </a:cubicBezTo>
                <a:cubicBezTo>
                  <a:pt x="2226" y="3054"/>
                  <a:pt x="2226" y="3054"/>
                  <a:pt x="2226" y="3054"/>
                </a:cubicBezTo>
                <a:cubicBezTo>
                  <a:pt x="2215" y="3034"/>
                  <a:pt x="2215" y="3034"/>
                  <a:pt x="2215" y="3034"/>
                </a:cubicBezTo>
                <a:cubicBezTo>
                  <a:pt x="2212" y="2977"/>
                  <a:pt x="2212" y="2977"/>
                  <a:pt x="2212" y="2977"/>
                </a:cubicBezTo>
                <a:cubicBezTo>
                  <a:pt x="2212" y="2977"/>
                  <a:pt x="2228" y="2956"/>
                  <a:pt x="2228" y="2945"/>
                </a:cubicBezTo>
                <a:cubicBezTo>
                  <a:pt x="2228" y="2934"/>
                  <a:pt x="2230" y="2904"/>
                  <a:pt x="2230" y="2904"/>
                </a:cubicBezTo>
                <a:cubicBezTo>
                  <a:pt x="2228" y="2877"/>
                  <a:pt x="2228" y="2877"/>
                  <a:pt x="2228" y="2877"/>
                </a:cubicBezTo>
                <a:cubicBezTo>
                  <a:pt x="2244" y="2872"/>
                  <a:pt x="2244" y="2872"/>
                  <a:pt x="2244" y="2872"/>
                </a:cubicBezTo>
                <a:cubicBezTo>
                  <a:pt x="2244" y="2872"/>
                  <a:pt x="2243" y="2832"/>
                  <a:pt x="2251" y="2830"/>
                </a:cubicBezTo>
                <a:cubicBezTo>
                  <a:pt x="2259" y="2828"/>
                  <a:pt x="2267" y="2839"/>
                  <a:pt x="2269" y="2830"/>
                </a:cubicBezTo>
                <a:cubicBezTo>
                  <a:pt x="2271" y="2821"/>
                  <a:pt x="2282" y="2802"/>
                  <a:pt x="2282" y="2802"/>
                </a:cubicBezTo>
                <a:cubicBezTo>
                  <a:pt x="2272" y="2752"/>
                  <a:pt x="2272" y="2752"/>
                  <a:pt x="2272" y="2752"/>
                </a:cubicBezTo>
                <a:cubicBezTo>
                  <a:pt x="2284" y="2741"/>
                  <a:pt x="2284" y="2741"/>
                  <a:pt x="2284" y="2741"/>
                </a:cubicBezTo>
                <a:cubicBezTo>
                  <a:pt x="2271" y="2732"/>
                  <a:pt x="2271" y="2732"/>
                  <a:pt x="2271" y="2732"/>
                </a:cubicBezTo>
                <a:cubicBezTo>
                  <a:pt x="2271" y="2719"/>
                  <a:pt x="2271" y="2719"/>
                  <a:pt x="2271" y="2719"/>
                </a:cubicBezTo>
                <a:cubicBezTo>
                  <a:pt x="2271" y="2719"/>
                  <a:pt x="2289" y="2731"/>
                  <a:pt x="2292" y="2719"/>
                </a:cubicBezTo>
                <a:cubicBezTo>
                  <a:pt x="2295" y="2707"/>
                  <a:pt x="2292" y="2698"/>
                  <a:pt x="2292" y="2698"/>
                </a:cubicBezTo>
                <a:cubicBezTo>
                  <a:pt x="2308" y="2696"/>
                  <a:pt x="2308" y="2696"/>
                  <a:pt x="2308" y="2696"/>
                </a:cubicBezTo>
                <a:cubicBezTo>
                  <a:pt x="2313" y="2678"/>
                  <a:pt x="2313" y="2678"/>
                  <a:pt x="2313" y="2678"/>
                </a:cubicBezTo>
                <a:cubicBezTo>
                  <a:pt x="2323" y="2683"/>
                  <a:pt x="2323" y="2683"/>
                  <a:pt x="2323" y="2683"/>
                </a:cubicBezTo>
                <a:cubicBezTo>
                  <a:pt x="2336" y="2676"/>
                  <a:pt x="2336" y="2676"/>
                  <a:pt x="2336" y="2676"/>
                </a:cubicBezTo>
                <a:cubicBezTo>
                  <a:pt x="2331" y="2660"/>
                  <a:pt x="2331" y="2660"/>
                  <a:pt x="2331" y="2660"/>
                </a:cubicBezTo>
                <a:cubicBezTo>
                  <a:pt x="2341" y="2667"/>
                  <a:pt x="2341" y="2667"/>
                  <a:pt x="2341" y="2667"/>
                </a:cubicBezTo>
                <a:cubicBezTo>
                  <a:pt x="2341" y="2667"/>
                  <a:pt x="2345" y="2645"/>
                  <a:pt x="2351" y="2649"/>
                </a:cubicBezTo>
                <a:cubicBezTo>
                  <a:pt x="2357" y="2653"/>
                  <a:pt x="2358" y="2664"/>
                  <a:pt x="2364" y="2661"/>
                </a:cubicBezTo>
                <a:cubicBezTo>
                  <a:pt x="2370" y="2658"/>
                  <a:pt x="2398" y="2650"/>
                  <a:pt x="2406" y="2642"/>
                </a:cubicBezTo>
                <a:cubicBezTo>
                  <a:pt x="2414" y="2634"/>
                  <a:pt x="2428" y="2615"/>
                  <a:pt x="2428" y="2615"/>
                </a:cubicBezTo>
                <a:cubicBezTo>
                  <a:pt x="2428" y="2615"/>
                  <a:pt x="2420" y="2592"/>
                  <a:pt x="2430" y="2591"/>
                </a:cubicBezTo>
                <a:cubicBezTo>
                  <a:pt x="2440" y="2590"/>
                  <a:pt x="2451" y="2614"/>
                  <a:pt x="2463" y="2607"/>
                </a:cubicBezTo>
                <a:cubicBezTo>
                  <a:pt x="2475" y="2600"/>
                  <a:pt x="2479" y="2572"/>
                  <a:pt x="2485" y="2579"/>
                </a:cubicBezTo>
                <a:cubicBezTo>
                  <a:pt x="2491" y="2586"/>
                  <a:pt x="2494" y="2592"/>
                  <a:pt x="2499" y="2592"/>
                </a:cubicBezTo>
                <a:cubicBezTo>
                  <a:pt x="2504" y="2592"/>
                  <a:pt x="2515" y="2576"/>
                  <a:pt x="2515" y="2576"/>
                </a:cubicBezTo>
                <a:cubicBezTo>
                  <a:pt x="2515" y="2576"/>
                  <a:pt x="2534" y="2607"/>
                  <a:pt x="2548" y="2605"/>
                </a:cubicBezTo>
                <a:cubicBezTo>
                  <a:pt x="2562" y="2603"/>
                  <a:pt x="2564" y="2572"/>
                  <a:pt x="2580" y="2588"/>
                </a:cubicBezTo>
                <a:cubicBezTo>
                  <a:pt x="2596" y="2604"/>
                  <a:pt x="2588" y="2622"/>
                  <a:pt x="2598" y="2622"/>
                </a:cubicBezTo>
                <a:cubicBezTo>
                  <a:pt x="2608" y="2622"/>
                  <a:pt x="2624" y="2629"/>
                  <a:pt x="2624" y="2629"/>
                </a:cubicBezTo>
                <a:cubicBezTo>
                  <a:pt x="2624" y="2629"/>
                  <a:pt x="2623" y="2613"/>
                  <a:pt x="2630" y="2618"/>
                </a:cubicBezTo>
                <a:cubicBezTo>
                  <a:pt x="2637" y="2623"/>
                  <a:pt x="2645" y="2642"/>
                  <a:pt x="2650" y="2630"/>
                </a:cubicBezTo>
                <a:cubicBezTo>
                  <a:pt x="2655" y="2618"/>
                  <a:pt x="2648" y="2603"/>
                  <a:pt x="2648" y="2603"/>
                </a:cubicBezTo>
                <a:cubicBezTo>
                  <a:pt x="2662" y="2608"/>
                  <a:pt x="2662" y="2608"/>
                  <a:pt x="2662" y="2608"/>
                </a:cubicBezTo>
                <a:cubicBezTo>
                  <a:pt x="2667" y="2619"/>
                  <a:pt x="2667" y="2619"/>
                  <a:pt x="2667" y="2619"/>
                </a:cubicBezTo>
                <a:cubicBezTo>
                  <a:pt x="2677" y="2622"/>
                  <a:pt x="2677" y="2622"/>
                  <a:pt x="2677" y="2622"/>
                </a:cubicBezTo>
                <a:cubicBezTo>
                  <a:pt x="2677" y="2631"/>
                  <a:pt x="2677" y="2631"/>
                  <a:pt x="2677" y="2631"/>
                </a:cubicBezTo>
                <a:cubicBezTo>
                  <a:pt x="2677" y="2631"/>
                  <a:pt x="2701" y="2638"/>
                  <a:pt x="2696" y="2626"/>
                </a:cubicBezTo>
                <a:cubicBezTo>
                  <a:pt x="2691" y="2614"/>
                  <a:pt x="2677" y="2609"/>
                  <a:pt x="2677" y="2609"/>
                </a:cubicBezTo>
                <a:cubicBezTo>
                  <a:pt x="2671" y="2599"/>
                  <a:pt x="2671" y="2599"/>
                  <a:pt x="2671" y="2599"/>
                </a:cubicBezTo>
                <a:cubicBezTo>
                  <a:pt x="2671" y="2599"/>
                  <a:pt x="2691" y="2596"/>
                  <a:pt x="2689" y="2588"/>
                </a:cubicBezTo>
                <a:cubicBezTo>
                  <a:pt x="2687" y="2580"/>
                  <a:pt x="2685" y="2578"/>
                  <a:pt x="2676" y="2579"/>
                </a:cubicBezTo>
                <a:cubicBezTo>
                  <a:pt x="2667" y="2580"/>
                  <a:pt x="2640" y="2583"/>
                  <a:pt x="2649" y="2569"/>
                </a:cubicBezTo>
                <a:cubicBezTo>
                  <a:pt x="2658" y="2555"/>
                  <a:pt x="2667" y="2566"/>
                  <a:pt x="2678" y="2569"/>
                </a:cubicBezTo>
                <a:cubicBezTo>
                  <a:pt x="2689" y="2572"/>
                  <a:pt x="2697" y="2570"/>
                  <a:pt x="2707" y="2563"/>
                </a:cubicBezTo>
                <a:cubicBezTo>
                  <a:pt x="2717" y="2556"/>
                  <a:pt x="2728" y="2556"/>
                  <a:pt x="2728" y="2556"/>
                </a:cubicBezTo>
                <a:cubicBezTo>
                  <a:pt x="2729" y="2560"/>
                  <a:pt x="2729" y="2560"/>
                  <a:pt x="2729" y="2560"/>
                </a:cubicBezTo>
                <a:cubicBezTo>
                  <a:pt x="2729" y="2560"/>
                  <a:pt x="2759" y="2560"/>
                  <a:pt x="2759" y="2553"/>
                </a:cubicBezTo>
                <a:cubicBezTo>
                  <a:pt x="2759" y="2546"/>
                  <a:pt x="2765" y="2531"/>
                  <a:pt x="2768" y="2536"/>
                </a:cubicBezTo>
                <a:cubicBezTo>
                  <a:pt x="2771" y="2541"/>
                  <a:pt x="2771" y="2563"/>
                  <a:pt x="2771" y="2563"/>
                </a:cubicBezTo>
                <a:cubicBezTo>
                  <a:pt x="2771" y="2563"/>
                  <a:pt x="2804" y="2551"/>
                  <a:pt x="2813" y="2552"/>
                </a:cubicBezTo>
                <a:cubicBezTo>
                  <a:pt x="2822" y="2553"/>
                  <a:pt x="2829" y="2563"/>
                  <a:pt x="2829" y="2563"/>
                </a:cubicBezTo>
                <a:cubicBezTo>
                  <a:pt x="2829" y="2563"/>
                  <a:pt x="2826" y="2547"/>
                  <a:pt x="2836" y="2551"/>
                </a:cubicBezTo>
                <a:cubicBezTo>
                  <a:pt x="2846" y="2555"/>
                  <a:pt x="2846" y="2569"/>
                  <a:pt x="2846" y="2569"/>
                </a:cubicBezTo>
                <a:cubicBezTo>
                  <a:pt x="2866" y="2564"/>
                  <a:pt x="2866" y="2564"/>
                  <a:pt x="2866" y="2564"/>
                </a:cubicBezTo>
                <a:cubicBezTo>
                  <a:pt x="2862" y="2572"/>
                  <a:pt x="2862" y="2572"/>
                  <a:pt x="2862" y="2572"/>
                </a:cubicBezTo>
                <a:cubicBezTo>
                  <a:pt x="2862" y="2572"/>
                  <a:pt x="2863" y="2604"/>
                  <a:pt x="2881" y="2600"/>
                </a:cubicBezTo>
                <a:cubicBezTo>
                  <a:pt x="2899" y="2596"/>
                  <a:pt x="2912" y="2570"/>
                  <a:pt x="2930" y="2574"/>
                </a:cubicBezTo>
                <a:cubicBezTo>
                  <a:pt x="2948" y="2578"/>
                  <a:pt x="2949" y="2612"/>
                  <a:pt x="2958" y="2618"/>
                </a:cubicBezTo>
                <a:cubicBezTo>
                  <a:pt x="2967" y="2624"/>
                  <a:pt x="2985" y="2624"/>
                  <a:pt x="2985" y="2624"/>
                </a:cubicBezTo>
                <a:cubicBezTo>
                  <a:pt x="2982" y="2650"/>
                  <a:pt x="2982" y="2650"/>
                  <a:pt x="2982" y="2650"/>
                </a:cubicBezTo>
                <a:cubicBezTo>
                  <a:pt x="2982" y="2650"/>
                  <a:pt x="2963" y="2678"/>
                  <a:pt x="2965" y="2686"/>
                </a:cubicBezTo>
                <a:cubicBezTo>
                  <a:pt x="2967" y="2694"/>
                  <a:pt x="2977" y="2695"/>
                  <a:pt x="2977" y="2695"/>
                </a:cubicBezTo>
                <a:cubicBezTo>
                  <a:pt x="2982" y="2705"/>
                  <a:pt x="2982" y="2705"/>
                  <a:pt x="2982" y="2705"/>
                </a:cubicBezTo>
                <a:cubicBezTo>
                  <a:pt x="2963" y="2718"/>
                  <a:pt x="2963" y="2718"/>
                  <a:pt x="2963" y="2718"/>
                </a:cubicBezTo>
                <a:cubicBezTo>
                  <a:pt x="2976" y="2751"/>
                  <a:pt x="2976" y="2751"/>
                  <a:pt x="2976" y="2751"/>
                </a:cubicBezTo>
                <a:cubicBezTo>
                  <a:pt x="2976" y="2751"/>
                  <a:pt x="2991" y="2732"/>
                  <a:pt x="2992" y="2738"/>
                </a:cubicBezTo>
                <a:cubicBezTo>
                  <a:pt x="2993" y="2744"/>
                  <a:pt x="2981" y="2769"/>
                  <a:pt x="2981" y="2769"/>
                </a:cubicBezTo>
                <a:cubicBezTo>
                  <a:pt x="2991" y="2766"/>
                  <a:pt x="2991" y="2766"/>
                  <a:pt x="2991" y="2766"/>
                </a:cubicBezTo>
                <a:cubicBezTo>
                  <a:pt x="2994" y="2798"/>
                  <a:pt x="2994" y="2798"/>
                  <a:pt x="2994" y="2798"/>
                </a:cubicBezTo>
                <a:cubicBezTo>
                  <a:pt x="2994" y="2798"/>
                  <a:pt x="3011" y="2798"/>
                  <a:pt x="3011" y="2804"/>
                </a:cubicBezTo>
                <a:cubicBezTo>
                  <a:pt x="3011" y="2810"/>
                  <a:pt x="3008" y="2826"/>
                  <a:pt x="3008" y="2826"/>
                </a:cubicBezTo>
                <a:cubicBezTo>
                  <a:pt x="3023" y="2843"/>
                  <a:pt x="3023" y="2843"/>
                  <a:pt x="3023" y="2843"/>
                </a:cubicBezTo>
                <a:cubicBezTo>
                  <a:pt x="3023" y="2843"/>
                  <a:pt x="3047" y="2837"/>
                  <a:pt x="3049" y="2830"/>
                </a:cubicBezTo>
                <a:cubicBezTo>
                  <a:pt x="3051" y="2823"/>
                  <a:pt x="3053" y="2810"/>
                  <a:pt x="3053" y="2810"/>
                </a:cubicBezTo>
                <a:cubicBezTo>
                  <a:pt x="3065" y="2810"/>
                  <a:pt x="3065" y="2810"/>
                  <a:pt x="3065" y="2810"/>
                </a:cubicBezTo>
                <a:cubicBezTo>
                  <a:pt x="3065" y="2810"/>
                  <a:pt x="3064" y="2789"/>
                  <a:pt x="3071" y="2779"/>
                </a:cubicBezTo>
                <a:cubicBezTo>
                  <a:pt x="3078" y="2769"/>
                  <a:pt x="3082" y="2752"/>
                  <a:pt x="3079" y="2742"/>
                </a:cubicBezTo>
                <a:cubicBezTo>
                  <a:pt x="3076" y="2732"/>
                  <a:pt x="3066" y="2699"/>
                  <a:pt x="3066" y="2690"/>
                </a:cubicBezTo>
                <a:cubicBezTo>
                  <a:pt x="3066" y="2681"/>
                  <a:pt x="3072" y="2667"/>
                  <a:pt x="3072" y="2651"/>
                </a:cubicBezTo>
                <a:cubicBezTo>
                  <a:pt x="3072" y="2635"/>
                  <a:pt x="3052" y="2609"/>
                  <a:pt x="3056" y="2595"/>
                </a:cubicBezTo>
                <a:cubicBezTo>
                  <a:pt x="3060" y="2581"/>
                  <a:pt x="3052" y="2541"/>
                  <a:pt x="3064" y="2526"/>
                </a:cubicBezTo>
                <a:cubicBezTo>
                  <a:pt x="3076" y="2511"/>
                  <a:pt x="3084" y="2487"/>
                  <a:pt x="3084" y="2487"/>
                </a:cubicBezTo>
                <a:cubicBezTo>
                  <a:pt x="3094" y="2481"/>
                  <a:pt x="3094" y="2481"/>
                  <a:pt x="3094" y="2481"/>
                </a:cubicBezTo>
                <a:cubicBezTo>
                  <a:pt x="3107" y="2468"/>
                  <a:pt x="3107" y="2468"/>
                  <a:pt x="3107" y="2468"/>
                </a:cubicBezTo>
                <a:cubicBezTo>
                  <a:pt x="3113" y="2452"/>
                  <a:pt x="3113" y="2452"/>
                  <a:pt x="3113" y="2452"/>
                </a:cubicBezTo>
                <a:cubicBezTo>
                  <a:pt x="3122" y="2458"/>
                  <a:pt x="3122" y="2458"/>
                  <a:pt x="3122" y="2458"/>
                </a:cubicBezTo>
                <a:cubicBezTo>
                  <a:pt x="3125" y="2444"/>
                  <a:pt x="3125" y="2444"/>
                  <a:pt x="3125" y="2444"/>
                </a:cubicBezTo>
                <a:cubicBezTo>
                  <a:pt x="3125" y="2444"/>
                  <a:pt x="3155" y="2448"/>
                  <a:pt x="3160" y="2442"/>
                </a:cubicBezTo>
                <a:cubicBezTo>
                  <a:pt x="3165" y="2436"/>
                  <a:pt x="3161" y="2425"/>
                  <a:pt x="3161" y="2425"/>
                </a:cubicBezTo>
                <a:cubicBezTo>
                  <a:pt x="3174" y="2426"/>
                  <a:pt x="3174" y="2426"/>
                  <a:pt x="3174" y="2426"/>
                </a:cubicBezTo>
                <a:cubicBezTo>
                  <a:pt x="3178" y="2420"/>
                  <a:pt x="3178" y="2420"/>
                  <a:pt x="3178" y="2420"/>
                </a:cubicBezTo>
                <a:cubicBezTo>
                  <a:pt x="3189" y="2419"/>
                  <a:pt x="3189" y="2419"/>
                  <a:pt x="3189" y="2419"/>
                </a:cubicBezTo>
                <a:cubicBezTo>
                  <a:pt x="3206" y="2398"/>
                  <a:pt x="3206" y="2398"/>
                  <a:pt x="3206" y="2398"/>
                </a:cubicBezTo>
                <a:cubicBezTo>
                  <a:pt x="3206" y="2398"/>
                  <a:pt x="3210" y="2378"/>
                  <a:pt x="3229" y="2373"/>
                </a:cubicBezTo>
                <a:cubicBezTo>
                  <a:pt x="3248" y="2368"/>
                  <a:pt x="3259" y="2379"/>
                  <a:pt x="3268" y="2370"/>
                </a:cubicBezTo>
                <a:cubicBezTo>
                  <a:pt x="3277" y="2361"/>
                  <a:pt x="3283" y="2344"/>
                  <a:pt x="3283" y="2344"/>
                </a:cubicBezTo>
                <a:cubicBezTo>
                  <a:pt x="3293" y="2346"/>
                  <a:pt x="3293" y="2346"/>
                  <a:pt x="3293" y="2346"/>
                </a:cubicBezTo>
                <a:cubicBezTo>
                  <a:pt x="3298" y="2331"/>
                  <a:pt x="3298" y="2331"/>
                  <a:pt x="3298" y="2331"/>
                </a:cubicBezTo>
                <a:cubicBezTo>
                  <a:pt x="3352" y="2328"/>
                  <a:pt x="3352" y="2328"/>
                  <a:pt x="3352" y="2328"/>
                </a:cubicBezTo>
                <a:cubicBezTo>
                  <a:pt x="3355" y="2312"/>
                  <a:pt x="3355" y="2312"/>
                  <a:pt x="3355" y="2312"/>
                </a:cubicBezTo>
                <a:cubicBezTo>
                  <a:pt x="3330" y="2314"/>
                  <a:pt x="3330" y="2314"/>
                  <a:pt x="3330" y="2314"/>
                </a:cubicBezTo>
                <a:cubicBezTo>
                  <a:pt x="3330" y="2314"/>
                  <a:pt x="3344" y="2309"/>
                  <a:pt x="3343" y="2302"/>
                </a:cubicBezTo>
                <a:cubicBezTo>
                  <a:pt x="3342" y="2295"/>
                  <a:pt x="3332" y="2288"/>
                  <a:pt x="3332" y="2288"/>
                </a:cubicBezTo>
                <a:cubicBezTo>
                  <a:pt x="3355" y="2284"/>
                  <a:pt x="3355" y="2284"/>
                  <a:pt x="3355" y="2284"/>
                </a:cubicBezTo>
                <a:cubicBezTo>
                  <a:pt x="3371" y="2290"/>
                  <a:pt x="3371" y="2290"/>
                  <a:pt x="3371" y="2290"/>
                </a:cubicBezTo>
                <a:cubicBezTo>
                  <a:pt x="3394" y="2266"/>
                  <a:pt x="3394" y="2266"/>
                  <a:pt x="3394" y="2266"/>
                </a:cubicBezTo>
                <a:cubicBezTo>
                  <a:pt x="3357" y="2265"/>
                  <a:pt x="3357" y="2265"/>
                  <a:pt x="3357" y="2265"/>
                </a:cubicBezTo>
                <a:cubicBezTo>
                  <a:pt x="3355" y="2248"/>
                  <a:pt x="3355" y="2248"/>
                  <a:pt x="3355" y="2248"/>
                </a:cubicBezTo>
                <a:cubicBezTo>
                  <a:pt x="3364" y="2257"/>
                  <a:pt x="3364" y="2257"/>
                  <a:pt x="3364" y="2257"/>
                </a:cubicBezTo>
                <a:cubicBezTo>
                  <a:pt x="3394" y="2246"/>
                  <a:pt x="3394" y="2246"/>
                  <a:pt x="3394" y="2246"/>
                </a:cubicBezTo>
                <a:cubicBezTo>
                  <a:pt x="3397" y="2207"/>
                  <a:pt x="3397" y="2207"/>
                  <a:pt x="3397" y="2207"/>
                </a:cubicBezTo>
                <a:cubicBezTo>
                  <a:pt x="3378" y="2215"/>
                  <a:pt x="3378" y="2215"/>
                  <a:pt x="3378" y="2215"/>
                </a:cubicBezTo>
                <a:cubicBezTo>
                  <a:pt x="3374" y="2197"/>
                  <a:pt x="3374" y="2197"/>
                  <a:pt x="3374" y="2197"/>
                </a:cubicBezTo>
                <a:cubicBezTo>
                  <a:pt x="3358" y="2186"/>
                  <a:pt x="3358" y="2186"/>
                  <a:pt x="3358" y="2186"/>
                </a:cubicBezTo>
                <a:cubicBezTo>
                  <a:pt x="3387" y="2201"/>
                  <a:pt x="3387" y="2201"/>
                  <a:pt x="3387" y="2201"/>
                </a:cubicBezTo>
                <a:cubicBezTo>
                  <a:pt x="3394" y="2195"/>
                  <a:pt x="3394" y="2195"/>
                  <a:pt x="3394" y="2195"/>
                </a:cubicBezTo>
                <a:cubicBezTo>
                  <a:pt x="3381" y="2185"/>
                  <a:pt x="3381" y="2185"/>
                  <a:pt x="3381" y="2185"/>
                </a:cubicBezTo>
                <a:cubicBezTo>
                  <a:pt x="3399" y="2185"/>
                  <a:pt x="3399" y="2185"/>
                  <a:pt x="3399" y="2185"/>
                </a:cubicBezTo>
                <a:cubicBezTo>
                  <a:pt x="3399" y="2185"/>
                  <a:pt x="3377" y="2156"/>
                  <a:pt x="3377" y="2149"/>
                </a:cubicBezTo>
                <a:cubicBezTo>
                  <a:pt x="3377" y="2142"/>
                  <a:pt x="3382" y="2139"/>
                  <a:pt x="3382" y="2139"/>
                </a:cubicBezTo>
                <a:cubicBezTo>
                  <a:pt x="3382" y="2139"/>
                  <a:pt x="3365" y="2128"/>
                  <a:pt x="3367" y="2125"/>
                </a:cubicBezTo>
                <a:cubicBezTo>
                  <a:pt x="3369" y="2122"/>
                  <a:pt x="3388" y="2110"/>
                  <a:pt x="3388" y="2110"/>
                </a:cubicBezTo>
                <a:cubicBezTo>
                  <a:pt x="3383" y="2128"/>
                  <a:pt x="3383" y="2128"/>
                  <a:pt x="3383" y="2128"/>
                </a:cubicBezTo>
                <a:cubicBezTo>
                  <a:pt x="3404" y="2145"/>
                  <a:pt x="3404" y="2145"/>
                  <a:pt x="3404" y="2145"/>
                </a:cubicBezTo>
                <a:cubicBezTo>
                  <a:pt x="3404" y="2145"/>
                  <a:pt x="3412" y="2121"/>
                  <a:pt x="3412" y="2108"/>
                </a:cubicBezTo>
                <a:cubicBezTo>
                  <a:pt x="3412" y="2095"/>
                  <a:pt x="3450" y="2064"/>
                  <a:pt x="3449" y="2072"/>
                </a:cubicBezTo>
                <a:cubicBezTo>
                  <a:pt x="3448" y="2080"/>
                  <a:pt x="3425" y="2113"/>
                  <a:pt x="3425" y="2113"/>
                </a:cubicBezTo>
                <a:cubicBezTo>
                  <a:pt x="3419" y="2135"/>
                  <a:pt x="3419" y="2135"/>
                  <a:pt x="3419" y="2135"/>
                </a:cubicBezTo>
                <a:cubicBezTo>
                  <a:pt x="3432" y="2136"/>
                  <a:pt x="3432" y="2136"/>
                  <a:pt x="3432" y="2136"/>
                </a:cubicBezTo>
                <a:cubicBezTo>
                  <a:pt x="3432" y="2136"/>
                  <a:pt x="3429" y="2158"/>
                  <a:pt x="3424" y="2162"/>
                </a:cubicBezTo>
                <a:cubicBezTo>
                  <a:pt x="3419" y="2166"/>
                  <a:pt x="3401" y="2200"/>
                  <a:pt x="3408" y="2200"/>
                </a:cubicBezTo>
                <a:cubicBezTo>
                  <a:pt x="3415" y="2200"/>
                  <a:pt x="3425" y="2176"/>
                  <a:pt x="3431" y="2171"/>
                </a:cubicBezTo>
                <a:cubicBezTo>
                  <a:pt x="3437" y="2166"/>
                  <a:pt x="3467" y="2150"/>
                  <a:pt x="3469" y="2137"/>
                </a:cubicBezTo>
                <a:cubicBezTo>
                  <a:pt x="3471" y="2124"/>
                  <a:pt x="3467" y="2103"/>
                  <a:pt x="3467" y="2092"/>
                </a:cubicBezTo>
                <a:cubicBezTo>
                  <a:pt x="3467" y="2081"/>
                  <a:pt x="3471" y="2055"/>
                  <a:pt x="3478" y="2052"/>
                </a:cubicBezTo>
                <a:cubicBezTo>
                  <a:pt x="3485" y="2049"/>
                  <a:pt x="3480" y="2054"/>
                  <a:pt x="3477" y="2067"/>
                </a:cubicBezTo>
                <a:cubicBezTo>
                  <a:pt x="3474" y="2080"/>
                  <a:pt x="3486" y="2084"/>
                  <a:pt x="3486" y="2084"/>
                </a:cubicBezTo>
                <a:cubicBezTo>
                  <a:pt x="3486" y="2084"/>
                  <a:pt x="3480" y="2109"/>
                  <a:pt x="3483" y="2109"/>
                </a:cubicBezTo>
                <a:cubicBezTo>
                  <a:pt x="3486" y="2109"/>
                  <a:pt x="3517" y="2070"/>
                  <a:pt x="3527" y="2060"/>
                </a:cubicBezTo>
                <a:cubicBezTo>
                  <a:pt x="3537" y="2050"/>
                  <a:pt x="3559" y="2034"/>
                  <a:pt x="3556" y="2030"/>
                </a:cubicBezTo>
                <a:cubicBezTo>
                  <a:pt x="3553" y="2026"/>
                  <a:pt x="3544" y="2029"/>
                  <a:pt x="3544" y="2019"/>
                </a:cubicBezTo>
                <a:cubicBezTo>
                  <a:pt x="3544" y="2009"/>
                  <a:pt x="3562" y="2014"/>
                  <a:pt x="3582" y="2014"/>
                </a:cubicBezTo>
                <a:cubicBezTo>
                  <a:pt x="3602" y="2014"/>
                  <a:pt x="3648" y="1992"/>
                  <a:pt x="3648" y="1992"/>
                </a:cubicBezTo>
                <a:cubicBezTo>
                  <a:pt x="3635" y="1986"/>
                  <a:pt x="3635" y="1986"/>
                  <a:pt x="3635" y="1986"/>
                </a:cubicBezTo>
                <a:cubicBezTo>
                  <a:pt x="3635" y="1986"/>
                  <a:pt x="3611" y="1997"/>
                  <a:pt x="3599" y="1998"/>
                </a:cubicBezTo>
                <a:cubicBezTo>
                  <a:pt x="3587" y="1999"/>
                  <a:pt x="3567" y="2007"/>
                  <a:pt x="3570" y="1994"/>
                </a:cubicBezTo>
                <a:cubicBezTo>
                  <a:pt x="3573" y="1981"/>
                  <a:pt x="3608" y="1978"/>
                  <a:pt x="3608" y="1978"/>
                </a:cubicBezTo>
                <a:cubicBezTo>
                  <a:pt x="3668" y="1977"/>
                  <a:pt x="3668" y="1977"/>
                  <a:pt x="3668" y="1977"/>
                </a:cubicBezTo>
                <a:cubicBezTo>
                  <a:pt x="3697" y="1950"/>
                  <a:pt x="3697" y="1950"/>
                  <a:pt x="3697" y="1950"/>
                </a:cubicBezTo>
                <a:cubicBezTo>
                  <a:pt x="3703" y="1960"/>
                  <a:pt x="3703" y="1960"/>
                  <a:pt x="3703" y="1960"/>
                </a:cubicBezTo>
                <a:cubicBezTo>
                  <a:pt x="3721" y="1951"/>
                  <a:pt x="3721" y="1951"/>
                  <a:pt x="3721" y="1951"/>
                </a:cubicBezTo>
                <a:cubicBezTo>
                  <a:pt x="3719" y="1974"/>
                  <a:pt x="3719" y="1974"/>
                  <a:pt x="3719" y="1974"/>
                </a:cubicBezTo>
                <a:cubicBezTo>
                  <a:pt x="3739" y="1961"/>
                  <a:pt x="3739" y="1961"/>
                  <a:pt x="3739" y="1961"/>
                </a:cubicBezTo>
                <a:cubicBezTo>
                  <a:pt x="3755" y="1957"/>
                  <a:pt x="3755" y="1957"/>
                  <a:pt x="3755" y="1957"/>
                </a:cubicBezTo>
                <a:cubicBezTo>
                  <a:pt x="3760" y="1935"/>
                  <a:pt x="3760" y="1935"/>
                  <a:pt x="3760" y="1935"/>
                </a:cubicBezTo>
                <a:cubicBezTo>
                  <a:pt x="3751" y="1927"/>
                  <a:pt x="3751" y="1927"/>
                  <a:pt x="3751" y="1927"/>
                </a:cubicBezTo>
                <a:cubicBezTo>
                  <a:pt x="3749" y="1946"/>
                  <a:pt x="3749" y="1946"/>
                  <a:pt x="3749" y="1946"/>
                </a:cubicBezTo>
                <a:cubicBezTo>
                  <a:pt x="3733" y="1949"/>
                  <a:pt x="3733" y="1949"/>
                  <a:pt x="3733" y="1949"/>
                </a:cubicBezTo>
                <a:cubicBezTo>
                  <a:pt x="3733" y="1930"/>
                  <a:pt x="3733" y="1930"/>
                  <a:pt x="3733" y="1930"/>
                </a:cubicBezTo>
                <a:cubicBezTo>
                  <a:pt x="3720" y="1916"/>
                  <a:pt x="3720" y="1916"/>
                  <a:pt x="3720" y="1916"/>
                </a:cubicBezTo>
                <a:cubicBezTo>
                  <a:pt x="3736" y="1908"/>
                  <a:pt x="3736" y="1908"/>
                  <a:pt x="3736" y="1908"/>
                </a:cubicBezTo>
                <a:cubicBezTo>
                  <a:pt x="3740" y="1885"/>
                  <a:pt x="3740" y="1885"/>
                  <a:pt x="3740" y="1885"/>
                </a:cubicBezTo>
                <a:cubicBezTo>
                  <a:pt x="3740" y="1885"/>
                  <a:pt x="3755" y="1868"/>
                  <a:pt x="3765" y="1863"/>
                </a:cubicBezTo>
                <a:cubicBezTo>
                  <a:pt x="3775" y="1858"/>
                  <a:pt x="3780" y="1840"/>
                  <a:pt x="3780" y="1840"/>
                </a:cubicBezTo>
                <a:cubicBezTo>
                  <a:pt x="3799" y="1845"/>
                  <a:pt x="3799" y="1845"/>
                  <a:pt x="3799" y="1845"/>
                </a:cubicBezTo>
                <a:cubicBezTo>
                  <a:pt x="3809" y="1830"/>
                  <a:pt x="3809" y="1830"/>
                  <a:pt x="3809" y="1830"/>
                </a:cubicBezTo>
                <a:cubicBezTo>
                  <a:pt x="3809" y="1830"/>
                  <a:pt x="3812" y="1841"/>
                  <a:pt x="3821" y="1835"/>
                </a:cubicBezTo>
                <a:cubicBezTo>
                  <a:pt x="3830" y="1829"/>
                  <a:pt x="3857" y="1805"/>
                  <a:pt x="3857" y="1805"/>
                </a:cubicBezTo>
                <a:cubicBezTo>
                  <a:pt x="3858" y="1823"/>
                  <a:pt x="3858" y="1823"/>
                  <a:pt x="3858" y="1823"/>
                </a:cubicBezTo>
                <a:cubicBezTo>
                  <a:pt x="3858" y="1823"/>
                  <a:pt x="3889" y="1804"/>
                  <a:pt x="3898" y="1799"/>
                </a:cubicBezTo>
                <a:cubicBezTo>
                  <a:pt x="3907" y="1794"/>
                  <a:pt x="3939" y="1793"/>
                  <a:pt x="3939" y="1793"/>
                </a:cubicBezTo>
                <a:cubicBezTo>
                  <a:pt x="3939" y="1771"/>
                  <a:pt x="3939" y="1771"/>
                  <a:pt x="3939" y="1771"/>
                </a:cubicBezTo>
                <a:cubicBezTo>
                  <a:pt x="3939" y="1771"/>
                  <a:pt x="3940" y="1771"/>
                  <a:pt x="3940" y="1772"/>
                </a:cubicBezTo>
                <a:cubicBezTo>
                  <a:pt x="3944" y="1774"/>
                  <a:pt x="3954" y="1778"/>
                  <a:pt x="3966" y="1773"/>
                </a:cubicBezTo>
                <a:cubicBezTo>
                  <a:pt x="3981" y="1767"/>
                  <a:pt x="3993" y="1751"/>
                  <a:pt x="3993" y="1751"/>
                </a:cubicBezTo>
                <a:cubicBezTo>
                  <a:pt x="3999" y="1765"/>
                  <a:pt x="3999" y="1765"/>
                  <a:pt x="3999" y="1765"/>
                </a:cubicBezTo>
                <a:cubicBezTo>
                  <a:pt x="3999" y="1765"/>
                  <a:pt x="4031" y="1751"/>
                  <a:pt x="4036" y="1747"/>
                </a:cubicBezTo>
                <a:cubicBezTo>
                  <a:pt x="4041" y="1743"/>
                  <a:pt x="4062" y="1737"/>
                  <a:pt x="4062" y="1737"/>
                </a:cubicBezTo>
                <a:cubicBezTo>
                  <a:pt x="4072" y="1738"/>
                  <a:pt x="4072" y="1738"/>
                  <a:pt x="4072" y="1738"/>
                </a:cubicBezTo>
                <a:cubicBezTo>
                  <a:pt x="4043" y="1761"/>
                  <a:pt x="4043" y="1761"/>
                  <a:pt x="4043" y="1761"/>
                </a:cubicBezTo>
                <a:cubicBezTo>
                  <a:pt x="4104" y="1755"/>
                  <a:pt x="4104" y="1755"/>
                  <a:pt x="4104" y="1755"/>
                </a:cubicBezTo>
                <a:cubicBezTo>
                  <a:pt x="4104" y="1755"/>
                  <a:pt x="4075" y="1758"/>
                  <a:pt x="4074" y="1764"/>
                </a:cubicBezTo>
                <a:cubicBezTo>
                  <a:pt x="4073" y="1770"/>
                  <a:pt x="4069" y="1777"/>
                  <a:pt x="4069" y="1777"/>
                </a:cubicBezTo>
                <a:cubicBezTo>
                  <a:pt x="4069" y="1777"/>
                  <a:pt x="4050" y="1766"/>
                  <a:pt x="4043" y="1769"/>
                </a:cubicBezTo>
                <a:cubicBezTo>
                  <a:pt x="4036" y="1772"/>
                  <a:pt x="3968" y="1806"/>
                  <a:pt x="3965" y="1814"/>
                </a:cubicBezTo>
                <a:cubicBezTo>
                  <a:pt x="3962" y="1822"/>
                  <a:pt x="3956" y="1846"/>
                  <a:pt x="3961" y="1847"/>
                </a:cubicBezTo>
                <a:cubicBezTo>
                  <a:pt x="3966" y="1848"/>
                  <a:pt x="3973" y="1842"/>
                  <a:pt x="3973" y="1842"/>
                </a:cubicBezTo>
                <a:cubicBezTo>
                  <a:pt x="3973" y="1842"/>
                  <a:pt x="3971" y="1858"/>
                  <a:pt x="3980" y="1856"/>
                </a:cubicBezTo>
                <a:cubicBezTo>
                  <a:pt x="3989" y="1854"/>
                  <a:pt x="3995" y="1841"/>
                  <a:pt x="3995" y="1841"/>
                </a:cubicBezTo>
                <a:cubicBezTo>
                  <a:pt x="3995" y="1841"/>
                  <a:pt x="4021" y="1838"/>
                  <a:pt x="4035" y="1826"/>
                </a:cubicBezTo>
                <a:cubicBezTo>
                  <a:pt x="4049" y="1814"/>
                  <a:pt x="4064" y="1793"/>
                  <a:pt x="4064" y="1793"/>
                </a:cubicBezTo>
                <a:cubicBezTo>
                  <a:pt x="4064" y="1793"/>
                  <a:pt x="4064" y="1809"/>
                  <a:pt x="4078" y="1806"/>
                </a:cubicBezTo>
                <a:cubicBezTo>
                  <a:pt x="4092" y="1803"/>
                  <a:pt x="4126" y="1788"/>
                  <a:pt x="4137" y="1785"/>
                </a:cubicBezTo>
                <a:cubicBezTo>
                  <a:pt x="4148" y="1782"/>
                  <a:pt x="4200" y="1769"/>
                  <a:pt x="4200" y="1769"/>
                </a:cubicBezTo>
                <a:cubicBezTo>
                  <a:pt x="4191" y="1759"/>
                  <a:pt x="4191" y="1759"/>
                  <a:pt x="4191" y="1759"/>
                </a:cubicBezTo>
                <a:cubicBezTo>
                  <a:pt x="4195" y="1746"/>
                  <a:pt x="4195" y="1746"/>
                  <a:pt x="4195" y="1746"/>
                </a:cubicBezTo>
                <a:cubicBezTo>
                  <a:pt x="4174" y="1750"/>
                  <a:pt x="4174" y="1750"/>
                  <a:pt x="4174" y="1750"/>
                </a:cubicBezTo>
                <a:cubicBezTo>
                  <a:pt x="4173" y="1734"/>
                  <a:pt x="4173" y="1734"/>
                  <a:pt x="4173" y="1734"/>
                </a:cubicBezTo>
                <a:cubicBezTo>
                  <a:pt x="4173" y="1734"/>
                  <a:pt x="4149" y="1748"/>
                  <a:pt x="4143" y="1747"/>
                </a:cubicBezTo>
                <a:cubicBezTo>
                  <a:pt x="4137" y="1746"/>
                  <a:pt x="4139" y="1737"/>
                  <a:pt x="4139" y="1737"/>
                </a:cubicBezTo>
                <a:cubicBezTo>
                  <a:pt x="4139" y="1737"/>
                  <a:pt x="4107" y="1740"/>
                  <a:pt x="4101" y="1735"/>
                </a:cubicBezTo>
                <a:cubicBezTo>
                  <a:pt x="4095" y="1730"/>
                  <a:pt x="4087" y="1720"/>
                  <a:pt x="4096" y="1720"/>
                </a:cubicBezTo>
                <a:cubicBezTo>
                  <a:pt x="4105" y="1720"/>
                  <a:pt x="4092" y="1707"/>
                  <a:pt x="4081" y="1710"/>
                </a:cubicBezTo>
                <a:cubicBezTo>
                  <a:pt x="4070" y="1713"/>
                  <a:pt x="4066" y="1694"/>
                  <a:pt x="4066" y="1689"/>
                </a:cubicBezTo>
                <a:cubicBezTo>
                  <a:pt x="4066" y="1684"/>
                  <a:pt x="4078" y="1671"/>
                  <a:pt x="4078" y="1671"/>
                </a:cubicBezTo>
                <a:cubicBezTo>
                  <a:pt x="4062" y="1670"/>
                  <a:pt x="4062" y="1670"/>
                  <a:pt x="4062" y="1670"/>
                </a:cubicBezTo>
                <a:cubicBezTo>
                  <a:pt x="4062" y="1670"/>
                  <a:pt x="4081" y="1655"/>
                  <a:pt x="4088" y="1647"/>
                </a:cubicBezTo>
                <a:cubicBezTo>
                  <a:pt x="4095" y="1639"/>
                  <a:pt x="4114" y="1620"/>
                  <a:pt x="4114" y="1620"/>
                </a:cubicBezTo>
                <a:cubicBezTo>
                  <a:pt x="4104" y="1617"/>
                  <a:pt x="4104" y="1617"/>
                  <a:pt x="4104" y="1617"/>
                </a:cubicBezTo>
                <a:cubicBezTo>
                  <a:pt x="4090" y="1635"/>
                  <a:pt x="4090" y="1635"/>
                  <a:pt x="4090" y="1635"/>
                </a:cubicBezTo>
                <a:cubicBezTo>
                  <a:pt x="4075" y="1627"/>
                  <a:pt x="4075" y="1627"/>
                  <a:pt x="4075" y="1627"/>
                </a:cubicBezTo>
                <a:cubicBezTo>
                  <a:pt x="4056" y="1641"/>
                  <a:pt x="4056" y="1641"/>
                  <a:pt x="4056" y="1641"/>
                </a:cubicBezTo>
                <a:cubicBezTo>
                  <a:pt x="4053" y="1628"/>
                  <a:pt x="4053" y="1628"/>
                  <a:pt x="4053" y="1628"/>
                </a:cubicBezTo>
                <a:cubicBezTo>
                  <a:pt x="4034" y="1621"/>
                  <a:pt x="4034" y="1621"/>
                  <a:pt x="4034" y="1621"/>
                </a:cubicBezTo>
                <a:cubicBezTo>
                  <a:pt x="4019" y="1623"/>
                  <a:pt x="4019" y="1623"/>
                  <a:pt x="4019" y="1623"/>
                </a:cubicBezTo>
                <a:cubicBezTo>
                  <a:pt x="4056" y="1610"/>
                  <a:pt x="4056" y="1610"/>
                  <a:pt x="4056" y="1610"/>
                </a:cubicBezTo>
                <a:cubicBezTo>
                  <a:pt x="4056" y="1610"/>
                  <a:pt x="4063" y="1620"/>
                  <a:pt x="4073" y="1619"/>
                </a:cubicBezTo>
                <a:cubicBezTo>
                  <a:pt x="4083" y="1618"/>
                  <a:pt x="4106" y="1600"/>
                  <a:pt x="4106" y="1600"/>
                </a:cubicBezTo>
                <a:cubicBezTo>
                  <a:pt x="4106" y="1600"/>
                  <a:pt x="4132" y="1605"/>
                  <a:pt x="4133" y="1598"/>
                </a:cubicBezTo>
                <a:cubicBezTo>
                  <a:pt x="4134" y="1591"/>
                  <a:pt x="4126" y="1580"/>
                  <a:pt x="4126" y="1580"/>
                </a:cubicBezTo>
                <a:cubicBezTo>
                  <a:pt x="4142" y="1579"/>
                  <a:pt x="4142" y="1579"/>
                  <a:pt x="4142" y="1579"/>
                </a:cubicBezTo>
                <a:cubicBezTo>
                  <a:pt x="4142" y="1579"/>
                  <a:pt x="4133" y="1556"/>
                  <a:pt x="4091" y="1556"/>
                </a:cubicBezTo>
                <a:cubicBezTo>
                  <a:pt x="4049" y="1556"/>
                  <a:pt x="3999" y="1577"/>
                  <a:pt x="3976" y="1582"/>
                </a:cubicBezTo>
                <a:cubicBezTo>
                  <a:pt x="3953" y="1587"/>
                  <a:pt x="3916" y="1610"/>
                  <a:pt x="3909" y="1616"/>
                </a:cubicBezTo>
                <a:cubicBezTo>
                  <a:pt x="3902" y="1622"/>
                  <a:pt x="3860" y="1655"/>
                  <a:pt x="3850" y="1663"/>
                </a:cubicBezTo>
                <a:cubicBezTo>
                  <a:pt x="3840" y="1671"/>
                  <a:pt x="3804" y="1676"/>
                  <a:pt x="3804" y="1676"/>
                </a:cubicBezTo>
                <a:cubicBezTo>
                  <a:pt x="3804" y="1676"/>
                  <a:pt x="3854" y="1648"/>
                  <a:pt x="3863" y="1639"/>
                </a:cubicBezTo>
                <a:cubicBezTo>
                  <a:pt x="3872" y="1630"/>
                  <a:pt x="3885" y="1616"/>
                  <a:pt x="3885" y="1616"/>
                </a:cubicBezTo>
                <a:cubicBezTo>
                  <a:pt x="3870" y="1607"/>
                  <a:pt x="3870" y="1607"/>
                  <a:pt x="3870" y="1607"/>
                </a:cubicBezTo>
                <a:cubicBezTo>
                  <a:pt x="3870" y="1607"/>
                  <a:pt x="3891" y="1615"/>
                  <a:pt x="3896" y="1610"/>
                </a:cubicBezTo>
                <a:cubicBezTo>
                  <a:pt x="3901" y="1605"/>
                  <a:pt x="3951" y="1572"/>
                  <a:pt x="3963" y="1563"/>
                </a:cubicBezTo>
                <a:cubicBezTo>
                  <a:pt x="3975" y="1554"/>
                  <a:pt x="4013" y="1548"/>
                  <a:pt x="4017" y="1550"/>
                </a:cubicBezTo>
                <a:cubicBezTo>
                  <a:pt x="4021" y="1552"/>
                  <a:pt x="4043" y="1514"/>
                  <a:pt x="4073" y="1509"/>
                </a:cubicBezTo>
                <a:cubicBezTo>
                  <a:pt x="4103" y="1504"/>
                  <a:pt x="4179" y="1500"/>
                  <a:pt x="4195" y="1500"/>
                </a:cubicBezTo>
                <a:cubicBezTo>
                  <a:pt x="4211" y="1500"/>
                  <a:pt x="4270" y="1517"/>
                  <a:pt x="4280" y="1515"/>
                </a:cubicBezTo>
                <a:cubicBezTo>
                  <a:pt x="4290" y="1513"/>
                  <a:pt x="4311" y="1502"/>
                  <a:pt x="4321" y="1501"/>
                </a:cubicBezTo>
                <a:cubicBezTo>
                  <a:pt x="4331" y="1500"/>
                  <a:pt x="4362" y="1495"/>
                  <a:pt x="4374" y="1486"/>
                </a:cubicBezTo>
                <a:cubicBezTo>
                  <a:pt x="4386" y="1477"/>
                  <a:pt x="4412" y="1452"/>
                  <a:pt x="4422" y="1450"/>
                </a:cubicBezTo>
                <a:cubicBezTo>
                  <a:pt x="4432" y="1448"/>
                  <a:pt x="4449" y="1449"/>
                  <a:pt x="4449" y="1449"/>
                </a:cubicBezTo>
                <a:cubicBezTo>
                  <a:pt x="4449" y="1449"/>
                  <a:pt x="4462" y="1437"/>
                  <a:pt x="4472" y="1437"/>
                </a:cubicBezTo>
                <a:cubicBezTo>
                  <a:pt x="4482" y="1437"/>
                  <a:pt x="4483" y="1442"/>
                  <a:pt x="4500" y="1434"/>
                </a:cubicBezTo>
                <a:cubicBezTo>
                  <a:pt x="4500" y="1434"/>
                  <a:pt x="4565" y="1417"/>
                  <a:pt x="4559" y="1407"/>
                </a:cubicBezTo>
                <a:cubicBezTo>
                  <a:pt x="4553" y="1397"/>
                  <a:pt x="4534" y="1384"/>
                  <a:pt x="4534" y="1384"/>
                </a:cubicBezTo>
                <a:cubicBezTo>
                  <a:pt x="4534" y="1384"/>
                  <a:pt x="4558" y="1386"/>
                  <a:pt x="4558" y="1377"/>
                </a:cubicBezTo>
                <a:cubicBezTo>
                  <a:pt x="4558" y="1368"/>
                  <a:pt x="4554" y="1356"/>
                  <a:pt x="4554" y="1356"/>
                </a:cubicBezTo>
                <a:cubicBezTo>
                  <a:pt x="4554" y="1356"/>
                  <a:pt x="4582" y="1360"/>
                  <a:pt x="4576" y="1344"/>
                </a:cubicBezTo>
                <a:cubicBezTo>
                  <a:pt x="4570" y="1328"/>
                  <a:pt x="4547" y="1317"/>
                  <a:pt x="4540" y="1325"/>
                </a:cubicBezTo>
                <a:cubicBezTo>
                  <a:pt x="4533" y="1333"/>
                  <a:pt x="4534" y="1348"/>
                  <a:pt x="4519" y="1337"/>
                </a:cubicBezTo>
                <a:cubicBezTo>
                  <a:pt x="4504" y="1326"/>
                  <a:pt x="4528" y="1319"/>
                  <a:pt x="4528" y="1319"/>
                </a:cubicBezTo>
                <a:cubicBezTo>
                  <a:pt x="4525" y="1302"/>
                  <a:pt x="4525" y="1302"/>
                  <a:pt x="4525" y="1302"/>
                </a:cubicBezTo>
                <a:cubicBezTo>
                  <a:pt x="4505" y="1301"/>
                  <a:pt x="4505" y="1301"/>
                  <a:pt x="4505" y="1301"/>
                </a:cubicBezTo>
                <a:cubicBezTo>
                  <a:pt x="4505" y="1301"/>
                  <a:pt x="4459" y="1321"/>
                  <a:pt x="4456" y="1325"/>
                </a:cubicBezTo>
                <a:cubicBezTo>
                  <a:pt x="4453" y="1329"/>
                  <a:pt x="4417" y="1333"/>
                  <a:pt x="4417" y="1333"/>
                </a:cubicBezTo>
                <a:cubicBezTo>
                  <a:pt x="4396" y="1347"/>
                  <a:pt x="4396" y="1347"/>
                  <a:pt x="4396" y="1347"/>
                </a:cubicBezTo>
                <a:cubicBezTo>
                  <a:pt x="4404" y="1332"/>
                  <a:pt x="4404" y="1332"/>
                  <a:pt x="4404" y="1332"/>
                </a:cubicBezTo>
                <a:cubicBezTo>
                  <a:pt x="4389" y="1321"/>
                  <a:pt x="4389" y="1321"/>
                  <a:pt x="4389" y="1321"/>
                </a:cubicBezTo>
                <a:cubicBezTo>
                  <a:pt x="4412" y="1326"/>
                  <a:pt x="4412" y="1326"/>
                  <a:pt x="4412" y="1326"/>
                </a:cubicBezTo>
                <a:cubicBezTo>
                  <a:pt x="4422" y="1318"/>
                  <a:pt x="4422" y="1318"/>
                  <a:pt x="4422" y="1318"/>
                </a:cubicBezTo>
                <a:cubicBezTo>
                  <a:pt x="4440" y="1317"/>
                  <a:pt x="4440" y="1317"/>
                  <a:pt x="4440" y="1317"/>
                </a:cubicBezTo>
                <a:cubicBezTo>
                  <a:pt x="4442" y="1304"/>
                  <a:pt x="4442" y="1304"/>
                  <a:pt x="4442" y="1304"/>
                </a:cubicBezTo>
                <a:cubicBezTo>
                  <a:pt x="4442" y="1304"/>
                  <a:pt x="4463" y="1307"/>
                  <a:pt x="4475" y="1302"/>
                </a:cubicBezTo>
                <a:cubicBezTo>
                  <a:pt x="4487" y="1297"/>
                  <a:pt x="4504" y="1288"/>
                  <a:pt x="4504" y="1288"/>
                </a:cubicBezTo>
                <a:cubicBezTo>
                  <a:pt x="4504" y="1288"/>
                  <a:pt x="4552" y="1293"/>
                  <a:pt x="4551" y="1288"/>
                </a:cubicBezTo>
                <a:cubicBezTo>
                  <a:pt x="4550" y="1283"/>
                  <a:pt x="4532" y="1275"/>
                  <a:pt x="4532" y="1275"/>
                </a:cubicBezTo>
                <a:cubicBezTo>
                  <a:pt x="4531" y="1259"/>
                  <a:pt x="4531" y="1259"/>
                  <a:pt x="4531" y="1259"/>
                </a:cubicBezTo>
                <a:cubicBezTo>
                  <a:pt x="4531" y="1259"/>
                  <a:pt x="4503" y="1268"/>
                  <a:pt x="4497" y="1267"/>
                </a:cubicBezTo>
                <a:cubicBezTo>
                  <a:pt x="4491" y="1266"/>
                  <a:pt x="4489" y="1254"/>
                  <a:pt x="4489" y="1254"/>
                </a:cubicBezTo>
                <a:cubicBezTo>
                  <a:pt x="4449" y="1266"/>
                  <a:pt x="4449" y="1266"/>
                  <a:pt x="4449" y="1266"/>
                </a:cubicBezTo>
                <a:cubicBezTo>
                  <a:pt x="4451" y="1246"/>
                  <a:pt x="4451" y="1246"/>
                  <a:pt x="4451" y="1246"/>
                </a:cubicBezTo>
                <a:cubicBezTo>
                  <a:pt x="4422" y="1256"/>
                  <a:pt x="4422" y="1256"/>
                  <a:pt x="4422" y="1256"/>
                </a:cubicBezTo>
                <a:cubicBezTo>
                  <a:pt x="4422" y="1256"/>
                  <a:pt x="4453" y="1221"/>
                  <a:pt x="4445" y="1217"/>
                </a:cubicBezTo>
                <a:cubicBezTo>
                  <a:pt x="4437" y="1213"/>
                  <a:pt x="4412" y="1213"/>
                  <a:pt x="4412" y="1213"/>
                </a:cubicBezTo>
                <a:cubicBezTo>
                  <a:pt x="4415" y="1197"/>
                  <a:pt x="4415" y="1197"/>
                  <a:pt x="4415" y="1197"/>
                </a:cubicBezTo>
                <a:cubicBezTo>
                  <a:pt x="4393" y="1197"/>
                  <a:pt x="4393" y="1197"/>
                  <a:pt x="4393" y="1197"/>
                </a:cubicBezTo>
                <a:cubicBezTo>
                  <a:pt x="4402" y="1183"/>
                  <a:pt x="4402" y="1183"/>
                  <a:pt x="4402" y="1183"/>
                </a:cubicBezTo>
                <a:cubicBezTo>
                  <a:pt x="4384" y="1167"/>
                  <a:pt x="4384" y="1167"/>
                  <a:pt x="4384" y="1167"/>
                </a:cubicBezTo>
                <a:cubicBezTo>
                  <a:pt x="4384" y="1167"/>
                  <a:pt x="4414" y="1174"/>
                  <a:pt x="4422" y="1168"/>
                </a:cubicBezTo>
                <a:cubicBezTo>
                  <a:pt x="4430" y="1162"/>
                  <a:pt x="4441" y="1157"/>
                  <a:pt x="4441" y="1157"/>
                </a:cubicBezTo>
                <a:cubicBezTo>
                  <a:pt x="4411" y="1139"/>
                  <a:pt x="4411" y="1139"/>
                  <a:pt x="4411" y="1139"/>
                </a:cubicBezTo>
                <a:cubicBezTo>
                  <a:pt x="4444" y="1120"/>
                  <a:pt x="4444" y="1120"/>
                  <a:pt x="4444" y="1120"/>
                </a:cubicBezTo>
                <a:cubicBezTo>
                  <a:pt x="4411" y="1105"/>
                  <a:pt x="4411" y="1105"/>
                  <a:pt x="4411" y="1105"/>
                </a:cubicBezTo>
                <a:cubicBezTo>
                  <a:pt x="4381" y="1106"/>
                  <a:pt x="4381" y="1106"/>
                  <a:pt x="4381" y="1106"/>
                </a:cubicBezTo>
                <a:cubicBezTo>
                  <a:pt x="4417" y="1093"/>
                  <a:pt x="4417" y="1093"/>
                  <a:pt x="4417" y="1093"/>
                </a:cubicBezTo>
                <a:cubicBezTo>
                  <a:pt x="4392" y="1087"/>
                  <a:pt x="4392" y="1087"/>
                  <a:pt x="4392" y="1087"/>
                </a:cubicBezTo>
                <a:cubicBezTo>
                  <a:pt x="4422" y="1073"/>
                  <a:pt x="4422" y="1073"/>
                  <a:pt x="4422" y="1073"/>
                </a:cubicBezTo>
                <a:cubicBezTo>
                  <a:pt x="4417" y="1057"/>
                  <a:pt x="4417" y="1057"/>
                  <a:pt x="4417" y="1057"/>
                </a:cubicBezTo>
                <a:cubicBezTo>
                  <a:pt x="4395" y="1055"/>
                  <a:pt x="4395" y="1055"/>
                  <a:pt x="4395" y="1055"/>
                </a:cubicBezTo>
                <a:cubicBezTo>
                  <a:pt x="4395" y="1055"/>
                  <a:pt x="4413" y="1045"/>
                  <a:pt x="4405" y="1026"/>
                </a:cubicBezTo>
                <a:cubicBezTo>
                  <a:pt x="4397" y="1007"/>
                  <a:pt x="4389" y="1010"/>
                  <a:pt x="4389" y="1010"/>
                </a:cubicBezTo>
                <a:cubicBezTo>
                  <a:pt x="4398" y="996"/>
                  <a:pt x="4398" y="996"/>
                  <a:pt x="4398" y="996"/>
                </a:cubicBezTo>
                <a:cubicBezTo>
                  <a:pt x="4398" y="996"/>
                  <a:pt x="4374" y="1007"/>
                  <a:pt x="4369" y="1014"/>
                </a:cubicBezTo>
                <a:cubicBezTo>
                  <a:pt x="4364" y="1021"/>
                  <a:pt x="4368" y="1027"/>
                  <a:pt x="4368" y="1027"/>
                </a:cubicBezTo>
                <a:cubicBezTo>
                  <a:pt x="4349" y="1021"/>
                  <a:pt x="4349" y="1021"/>
                  <a:pt x="4349" y="1021"/>
                </a:cubicBezTo>
                <a:cubicBezTo>
                  <a:pt x="4353" y="1043"/>
                  <a:pt x="4353" y="1043"/>
                  <a:pt x="4353" y="1043"/>
                </a:cubicBezTo>
                <a:cubicBezTo>
                  <a:pt x="4335" y="1042"/>
                  <a:pt x="4335" y="1042"/>
                  <a:pt x="4335" y="1042"/>
                </a:cubicBezTo>
                <a:cubicBezTo>
                  <a:pt x="4327" y="1056"/>
                  <a:pt x="4327" y="1056"/>
                  <a:pt x="4327" y="1056"/>
                </a:cubicBezTo>
                <a:cubicBezTo>
                  <a:pt x="4332" y="1062"/>
                  <a:pt x="4332" y="1062"/>
                  <a:pt x="4332" y="1062"/>
                </a:cubicBezTo>
                <a:cubicBezTo>
                  <a:pt x="4316" y="1063"/>
                  <a:pt x="4316" y="1063"/>
                  <a:pt x="4316" y="1063"/>
                </a:cubicBezTo>
                <a:cubicBezTo>
                  <a:pt x="4301" y="1093"/>
                  <a:pt x="4301" y="1093"/>
                  <a:pt x="4301" y="1093"/>
                </a:cubicBezTo>
                <a:cubicBezTo>
                  <a:pt x="4293" y="1093"/>
                  <a:pt x="4293" y="1093"/>
                  <a:pt x="4293" y="1093"/>
                </a:cubicBezTo>
                <a:cubicBezTo>
                  <a:pt x="4303" y="1068"/>
                  <a:pt x="4303" y="1068"/>
                  <a:pt x="4303" y="1068"/>
                </a:cubicBezTo>
                <a:cubicBezTo>
                  <a:pt x="4303" y="1068"/>
                  <a:pt x="4293" y="1053"/>
                  <a:pt x="4284" y="1062"/>
                </a:cubicBezTo>
                <a:cubicBezTo>
                  <a:pt x="4275" y="1071"/>
                  <a:pt x="4263" y="1084"/>
                  <a:pt x="4256" y="1085"/>
                </a:cubicBezTo>
                <a:cubicBezTo>
                  <a:pt x="4249" y="1086"/>
                  <a:pt x="4221" y="1107"/>
                  <a:pt x="4221" y="1107"/>
                </a:cubicBezTo>
                <a:cubicBezTo>
                  <a:pt x="4226" y="1092"/>
                  <a:pt x="4226" y="1092"/>
                  <a:pt x="4226" y="1092"/>
                </a:cubicBezTo>
                <a:cubicBezTo>
                  <a:pt x="4225" y="1081"/>
                  <a:pt x="4225" y="1081"/>
                  <a:pt x="4225" y="1081"/>
                </a:cubicBezTo>
                <a:cubicBezTo>
                  <a:pt x="4200" y="1102"/>
                  <a:pt x="4200" y="1102"/>
                  <a:pt x="4200" y="1102"/>
                </a:cubicBezTo>
                <a:cubicBezTo>
                  <a:pt x="4156" y="1112"/>
                  <a:pt x="4156" y="1112"/>
                  <a:pt x="4156" y="1112"/>
                </a:cubicBezTo>
                <a:cubicBezTo>
                  <a:pt x="4197" y="1098"/>
                  <a:pt x="4197" y="1098"/>
                  <a:pt x="4197" y="1098"/>
                </a:cubicBezTo>
                <a:cubicBezTo>
                  <a:pt x="4197" y="1098"/>
                  <a:pt x="4221" y="1071"/>
                  <a:pt x="4208" y="1065"/>
                </a:cubicBezTo>
                <a:cubicBezTo>
                  <a:pt x="4195" y="1059"/>
                  <a:pt x="4180" y="1065"/>
                  <a:pt x="4180" y="1065"/>
                </a:cubicBezTo>
                <a:cubicBezTo>
                  <a:pt x="4180" y="1065"/>
                  <a:pt x="4147" y="1080"/>
                  <a:pt x="4149" y="1069"/>
                </a:cubicBezTo>
                <a:cubicBezTo>
                  <a:pt x="4151" y="1058"/>
                  <a:pt x="4168" y="1055"/>
                  <a:pt x="4168" y="1055"/>
                </a:cubicBezTo>
                <a:cubicBezTo>
                  <a:pt x="4167" y="1062"/>
                  <a:pt x="4167" y="1062"/>
                  <a:pt x="4167" y="1062"/>
                </a:cubicBezTo>
                <a:cubicBezTo>
                  <a:pt x="4181" y="1057"/>
                  <a:pt x="4181" y="1057"/>
                  <a:pt x="4181" y="1057"/>
                </a:cubicBezTo>
                <a:cubicBezTo>
                  <a:pt x="4178" y="1038"/>
                  <a:pt x="4178" y="1038"/>
                  <a:pt x="4178" y="1038"/>
                </a:cubicBezTo>
                <a:cubicBezTo>
                  <a:pt x="4178" y="1038"/>
                  <a:pt x="4203" y="1024"/>
                  <a:pt x="4194" y="1017"/>
                </a:cubicBezTo>
                <a:cubicBezTo>
                  <a:pt x="4185" y="1010"/>
                  <a:pt x="4158" y="1006"/>
                  <a:pt x="4158" y="1006"/>
                </a:cubicBezTo>
                <a:cubicBezTo>
                  <a:pt x="4158" y="1006"/>
                  <a:pt x="4203" y="1008"/>
                  <a:pt x="4206" y="996"/>
                </a:cubicBezTo>
                <a:cubicBezTo>
                  <a:pt x="4209" y="984"/>
                  <a:pt x="4212" y="981"/>
                  <a:pt x="4218" y="977"/>
                </a:cubicBezTo>
                <a:cubicBezTo>
                  <a:pt x="4224" y="973"/>
                  <a:pt x="4244" y="972"/>
                  <a:pt x="4234" y="963"/>
                </a:cubicBezTo>
                <a:cubicBezTo>
                  <a:pt x="4224" y="954"/>
                  <a:pt x="4214" y="970"/>
                  <a:pt x="4214" y="970"/>
                </a:cubicBezTo>
                <a:cubicBezTo>
                  <a:pt x="4208" y="953"/>
                  <a:pt x="4208" y="953"/>
                  <a:pt x="4208" y="953"/>
                </a:cubicBezTo>
                <a:cubicBezTo>
                  <a:pt x="4208" y="953"/>
                  <a:pt x="4177" y="954"/>
                  <a:pt x="4168" y="954"/>
                </a:cubicBezTo>
                <a:cubicBezTo>
                  <a:pt x="4159" y="954"/>
                  <a:pt x="4157" y="939"/>
                  <a:pt x="4165" y="936"/>
                </a:cubicBezTo>
                <a:cubicBezTo>
                  <a:pt x="4173" y="933"/>
                  <a:pt x="4174" y="926"/>
                  <a:pt x="4167" y="924"/>
                </a:cubicBezTo>
                <a:cubicBezTo>
                  <a:pt x="4160" y="922"/>
                  <a:pt x="4154" y="929"/>
                  <a:pt x="4154" y="929"/>
                </a:cubicBezTo>
                <a:cubicBezTo>
                  <a:pt x="4159" y="913"/>
                  <a:pt x="4159" y="913"/>
                  <a:pt x="4159" y="913"/>
                </a:cubicBezTo>
                <a:cubicBezTo>
                  <a:pt x="4135" y="917"/>
                  <a:pt x="4135" y="917"/>
                  <a:pt x="4135" y="917"/>
                </a:cubicBezTo>
                <a:cubicBezTo>
                  <a:pt x="4135" y="917"/>
                  <a:pt x="4139" y="888"/>
                  <a:pt x="4122" y="888"/>
                </a:cubicBezTo>
                <a:cubicBezTo>
                  <a:pt x="4105" y="888"/>
                  <a:pt x="4077" y="905"/>
                  <a:pt x="4077" y="905"/>
                </a:cubicBezTo>
                <a:cubicBezTo>
                  <a:pt x="4077" y="905"/>
                  <a:pt x="4069" y="894"/>
                  <a:pt x="4061" y="894"/>
                </a:cubicBezTo>
                <a:cubicBezTo>
                  <a:pt x="4053" y="894"/>
                  <a:pt x="4036" y="903"/>
                  <a:pt x="4036" y="903"/>
                </a:cubicBezTo>
                <a:cubicBezTo>
                  <a:pt x="4036" y="903"/>
                  <a:pt x="3990" y="881"/>
                  <a:pt x="3974" y="884"/>
                </a:cubicBezTo>
                <a:cubicBezTo>
                  <a:pt x="3958" y="887"/>
                  <a:pt x="3952" y="899"/>
                  <a:pt x="3952" y="899"/>
                </a:cubicBezTo>
                <a:cubicBezTo>
                  <a:pt x="3952" y="899"/>
                  <a:pt x="3931" y="909"/>
                  <a:pt x="3938" y="917"/>
                </a:cubicBezTo>
                <a:cubicBezTo>
                  <a:pt x="3945" y="925"/>
                  <a:pt x="3958" y="926"/>
                  <a:pt x="3952" y="934"/>
                </a:cubicBezTo>
                <a:cubicBezTo>
                  <a:pt x="3946" y="942"/>
                  <a:pt x="3921" y="958"/>
                  <a:pt x="3921" y="958"/>
                </a:cubicBezTo>
                <a:cubicBezTo>
                  <a:pt x="3903" y="965"/>
                  <a:pt x="3903" y="965"/>
                  <a:pt x="3903" y="965"/>
                </a:cubicBezTo>
                <a:cubicBezTo>
                  <a:pt x="3920" y="974"/>
                  <a:pt x="3920" y="974"/>
                  <a:pt x="3920" y="974"/>
                </a:cubicBezTo>
                <a:cubicBezTo>
                  <a:pt x="3920" y="974"/>
                  <a:pt x="3905" y="981"/>
                  <a:pt x="3904" y="990"/>
                </a:cubicBezTo>
                <a:cubicBezTo>
                  <a:pt x="3903" y="999"/>
                  <a:pt x="3911" y="1006"/>
                  <a:pt x="3903" y="1016"/>
                </a:cubicBezTo>
                <a:cubicBezTo>
                  <a:pt x="3895" y="1026"/>
                  <a:pt x="3888" y="1018"/>
                  <a:pt x="3875" y="1026"/>
                </a:cubicBezTo>
                <a:cubicBezTo>
                  <a:pt x="3862" y="1034"/>
                  <a:pt x="3864" y="1047"/>
                  <a:pt x="3864" y="1047"/>
                </a:cubicBezTo>
                <a:cubicBezTo>
                  <a:pt x="3864" y="1047"/>
                  <a:pt x="3848" y="1050"/>
                  <a:pt x="3842" y="1056"/>
                </a:cubicBezTo>
                <a:cubicBezTo>
                  <a:pt x="3836" y="1062"/>
                  <a:pt x="3816" y="1067"/>
                  <a:pt x="3818" y="1075"/>
                </a:cubicBezTo>
                <a:cubicBezTo>
                  <a:pt x="3820" y="1083"/>
                  <a:pt x="3857" y="1097"/>
                  <a:pt x="3857" y="1106"/>
                </a:cubicBezTo>
                <a:cubicBezTo>
                  <a:pt x="3857" y="1115"/>
                  <a:pt x="3856" y="1180"/>
                  <a:pt x="3821" y="1200"/>
                </a:cubicBezTo>
                <a:cubicBezTo>
                  <a:pt x="3786" y="1220"/>
                  <a:pt x="3741" y="1255"/>
                  <a:pt x="3723" y="1256"/>
                </a:cubicBezTo>
                <a:cubicBezTo>
                  <a:pt x="3705" y="1257"/>
                  <a:pt x="3656" y="1260"/>
                  <a:pt x="3653" y="1269"/>
                </a:cubicBezTo>
                <a:cubicBezTo>
                  <a:pt x="3650" y="1278"/>
                  <a:pt x="3662" y="1306"/>
                  <a:pt x="3662" y="1311"/>
                </a:cubicBezTo>
                <a:cubicBezTo>
                  <a:pt x="3662" y="1316"/>
                  <a:pt x="3641" y="1337"/>
                  <a:pt x="3637" y="1352"/>
                </a:cubicBezTo>
                <a:cubicBezTo>
                  <a:pt x="3633" y="1367"/>
                  <a:pt x="3636" y="1400"/>
                  <a:pt x="3636" y="1400"/>
                </a:cubicBezTo>
                <a:cubicBezTo>
                  <a:pt x="3636" y="1400"/>
                  <a:pt x="3602" y="1417"/>
                  <a:pt x="3601" y="1422"/>
                </a:cubicBezTo>
                <a:cubicBezTo>
                  <a:pt x="3600" y="1427"/>
                  <a:pt x="3599" y="1444"/>
                  <a:pt x="3599" y="1444"/>
                </a:cubicBezTo>
                <a:cubicBezTo>
                  <a:pt x="3586" y="1460"/>
                  <a:pt x="3586" y="1460"/>
                  <a:pt x="3586" y="1460"/>
                </a:cubicBezTo>
                <a:cubicBezTo>
                  <a:pt x="3586" y="1460"/>
                  <a:pt x="3593" y="1436"/>
                  <a:pt x="3582" y="1435"/>
                </a:cubicBezTo>
                <a:cubicBezTo>
                  <a:pt x="3571" y="1434"/>
                  <a:pt x="3549" y="1448"/>
                  <a:pt x="3554" y="1459"/>
                </a:cubicBezTo>
                <a:cubicBezTo>
                  <a:pt x="3559" y="1470"/>
                  <a:pt x="3553" y="1479"/>
                  <a:pt x="3553" y="1479"/>
                </a:cubicBezTo>
                <a:cubicBezTo>
                  <a:pt x="3553" y="1479"/>
                  <a:pt x="3551" y="1459"/>
                  <a:pt x="3545" y="1454"/>
                </a:cubicBezTo>
                <a:cubicBezTo>
                  <a:pt x="3539" y="1449"/>
                  <a:pt x="3501" y="1460"/>
                  <a:pt x="3501" y="1460"/>
                </a:cubicBezTo>
                <a:cubicBezTo>
                  <a:pt x="3501" y="1460"/>
                  <a:pt x="3537" y="1439"/>
                  <a:pt x="3533" y="1426"/>
                </a:cubicBezTo>
                <a:cubicBezTo>
                  <a:pt x="3529" y="1413"/>
                  <a:pt x="3493" y="1402"/>
                  <a:pt x="3493" y="1402"/>
                </a:cubicBezTo>
                <a:cubicBezTo>
                  <a:pt x="3493" y="1402"/>
                  <a:pt x="3510" y="1399"/>
                  <a:pt x="3510" y="1392"/>
                </a:cubicBezTo>
                <a:cubicBezTo>
                  <a:pt x="3510" y="1385"/>
                  <a:pt x="3498" y="1359"/>
                  <a:pt x="3498" y="1359"/>
                </a:cubicBezTo>
                <a:cubicBezTo>
                  <a:pt x="3520" y="1344"/>
                  <a:pt x="3520" y="1344"/>
                  <a:pt x="3520" y="1344"/>
                </a:cubicBezTo>
                <a:cubicBezTo>
                  <a:pt x="3519" y="1329"/>
                  <a:pt x="3519" y="1329"/>
                  <a:pt x="3519" y="1329"/>
                </a:cubicBezTo>
                <a:cubicBezTo>
                  <a:pt x="3536" y="1318"/>
                  <a:pt x="3536" y="1318"/>
                  <a:pt x="3536" y="1318"/>
                </a:cubicBezTo>
                <a:cubicBezTo>
                  <a:pt x="3535" y="1293"/>
                  <a:pt x="3535" y="1293"/>
                  <a:pt x="3535" y="1293"/>
                </a:cubicBezTo>
                <a:cubicBezTo>
                  <a:pt x="3535" y="1293"/>
                  <a:pt x="3584" y="1266"/>
                  <a:pt x="3560" y="1254"/>
                </a:cubicBezTo>
                <a:cubicBezTo>
                  <a:pt x="3536" y="1242"/>
                  <a:pt x="3464" y="1246"/>
                  <a:pt x="3464" y="1246"/>
                </a:cubicBezTo>
                <a:cubicBezTo>
                  <a:pt x="3440" y="1254"/>
                  <a:pt x="3440" y="1254"/>
                  <a:pt x="3440" y="1254"/>
                </a:cubicBezTo>
                <a:cubicBezTo>
                  <a:pt x="3440" y="1254"/>
                  <a:pt x="3458" y="1233"/>
                  <a:pt x="3448" y="1228"/>
                </a:cubicBezTo>
                <a:cubicBezTo>
                  <a:pt x="3438" y="1223"/>
                  <a:pt x="3390" y="1213"/>
                  <a:pt x="3390" y="1213"/>
                </a:cubicBezTo>
                <a:cubicBezTo>
                  <a:pt x="3390" y="1213"/>
                  <a:pt x="3395" y="1191"/>
                  <a:pt x="3376" y="1177"/>
                </a:cubicBezTo>
                <a:cubicBezTo>
                  <a:pt x="3357" y="1163"/>
                  <a:pt x="3332" y="1162"/>
                  <a:pt x="3332" y="1162"/>
                </a:cubicBezTo>
                <a:cubicBezTo>
                  <a:pt x="3332" y="1162"/>
                  <a:pt x="3333" y="1150"/>
                  <a:pt x="3305" y="1149"/>
                </a:cubicBezTo>
                <a:cubicBezTo>
                  <a:pt x="3277" y="1148"/>
                  <a:pt x="3208" y="1160"/>
                  <a:pt x="3208" y="1160"/>
                </a:cubicBezTo>
                <a:cubicBezTo>
                  <a:pt x="3208" y="1160"/>
                  <a:pt x="3241" y="1150"/>
                  <a:pt x="3242" y="1138"/>
                </a:cubicBezTo>
                <a:cubicBezTo>
                  <a:pt x="3243" y="1126"/>
                  <a:pt x="3261" y="1074"/>
                  <a:pt x="3261" y="1074"/>
                </a:cubicBezTo>
                <a:cubicBezTo>
                  <a:pt x="3261" y="1074"/>
                  <a:pt x="3231" y="1068"/>
                  <a:pt x="3228" y="1070"/>
                </a:cubicBezTo>
                <a:cubicBezTo>
                  <a:pt x="3225" y="1072"/>
                  <a:pt x="3202" y="1088"/>
                  <a:pt x="3202" y="1088"/>
                </a:cubicBezTo>
                <a:cubicBezTo>
                  <a:pt x="3212" y="1069"/>
                  <a:pt x="3212" y="1069"/>
                  <a:pt x="3212" y="1069"/>
                </a:cubicBezTo>
                <a:cubicBezTo>
                  <a:pt x="3208" y="1054"/>
                  <a:pt x="3208" y="1054"/>
                  <a:pt x="3208" y="1054"/>
                </a:cubicBezTo>
                <a:cubicBezTo>
                  <a:pt x="3208" y="1054"/>
                  <a:pt x="3234" y="1032"/>
                  <a:pt x="3246" y="1011"/>
                </a:cubicBezTo>
                <a:cubicBezTo>
                  <a:pt x="3258" y="990"/>
                  <a:pt x="3326" y="953"/>
                  <a:pt x="3326" y="953"/>
                </a:cubicBezTo>
                <a:cubicBezTo>
                  <a:pt x="3320" y="942"/>
                  <a:pt x="3320" y="942"/>
                  <a:pt x="3320" y="942"/>
                </a:cubicBezTo>
                <a:cubicBezTo>
                  <a:pt x="3363" y="928"/>
                  <a:pt x="3363" y="928"/>
                  <a:pt x="3363" y="928"/>
                </a:cubicBezTo>
                <a:cubicBezTo>
                  <a:pt x="3364" y="917"/>
                  <a:pt x="3364" y="917"/>
                  <a:pt x="3364" y="917"/>
                </a:cubicBezTo>
                <a:cubicBezTo>
                  <a:pt x="3391" y="913"/>
                  <a:pt x="3391" y="913"/>
                  <a:pt x="3391" y="913"/>
                </a:cubicBezTo>
                <a:cubicBezTo>
                  <a:pt x="3393" y="900"/>
                  <a:pt x="3393" y="900"/>
                  <a:pt x="3393" y="900"/>
                </a:cubicBezTo>
                <a:cubicBezTo>
                  <a:pt x="3414" y="897"/>
                  <a:pt x="3414" y="897"/>
                  <a:pt x="3414" y="897"/>
                </a:cubicBezTo>
                <a:cubicBezTo>
                  <a:pt x="3448" y="870"/>
                  <a:pt x="3448" y="870"/>
                  <a:pt x="3448" y="870"/>
                </a:cubicBezTo>
                <a:cubicBezTo>
                  <a:pt x="3448" y="870"/>
                  <a:pt x="3522" y="873"/>
                  <a:pt x="3522" y="860"/>
                </a:cubicBezTo>
                <a:cubicBezTo>
                  <a:pt x="3522" y="847"/>
                  <a:pt x="3502" y="832"/>
                  <a:pt x="3502" y="832"/>
                </a:cubicBezTo>
                <a:cubicBezTo>
                  <a:pt x="3462" y="837"/>
                  <a:pt x="3462" y="837"/>
                  <a:pt x="3462" y="837"/>
                </a:cubicBezTo>
                <a:cubicBezTo>
                  <a:pt x="3468" y="827"/>
                  <a:pt x="3468" y="827"/>
                  <a:pt x="3468" y="827"/>
                </a:cubicBezTo>
                <a:cubicBezTo>
                  <a:pt x="3432" y="813"/>
                  <a:pt x="3432" y="813"/>
                  <a:pt x="3432" y="813"/>
                </a:cubicBezTo>
                <a:cubicBezTo>
                  <a:pt x="3448" y="808"/>
                  <a:pt x="3448" y="808"/>
                  <a:pt x="3448" y="808"/>
                </a:cubicBezTo>
                <a:cubicBezTo>
                  <a:pt x="3503" y="824"/>
                  <a:pt x="3503" y="824"/>
                  <a:pt x="3503" y="824"/>
                </a:cubicBezTo>
                <a:cubicBezTo>
                  <a:pt x="3503" y="824"/>
                  <a:pt x="3524" y="846"/>
                  <a:pt x="3543" y="838"/>
                </a:cubicBezTo>
                <a:cubicBezTo>
                  <a:pt x="3562" y="830"/>
                  <a:pt x="3578" y="797"/>
                  <a:pt x="3585" y="802"/>
                </a:cubicBezTo>
                <a:cubicBezTo>
                  <a:pt x="3592" y="807"/>
                  <a:pt x="3613" y="817"/>
                  <a:pt x="3622" y="815"/>
                </a:cubicBezTo>
                <a:cubicBezTo>
                  <a:pt x="3622" y="815"/>
                  <a:pt x="3667" y="796"/>
                  <a:pt x="3685" y="789"/>
                </a:cubicBezTo>
                <a:cubicBezTo>
                  <a:pt x="3703" y="782"/>
                  <a:pt x="3737" y="763"/>
                  <a:pt x="3725" y="760"/>
                </a:cubicBezTo>
                <a:cubicBezTo>
                  <a:pt x="3713" y="757"/>
                  <a:pt x="3657" y="757"/>
                  <a:pt x="3657" y="757"/>
                </a:cubicBezTo>
                <a:cubicBezTo>
                  <a:pt x="3653" y="741"/>
                  <a:pt x="3653" y="741"/>
                  <a:pt x="3653" y="741"/>
                </a:cubicBezTo>
                <a:cubicBezTo>
                  <a:pt x="3597" y="721"/>
                  <a:pt x="3597" y="721"/>
                  <a:pt x="3597" y="721"/>
                </a:cubicBezTo>
                <a:cubicBezTo>
                  <a:pt x="3597" y="721"/>
                  <a:pt x="3653" y="713"/>
                  <a:pt x="3668" y="719"/>
                </a:cubicBezTo>
                <a:cubicBezTo>
                  <a:pt x="3683" y="725"/>
                  <a:pt x="3697" y="751"/>
                  <a:pt x="3712" y="751"/>
                </a:cubicBezTo>
                <a:cubicBezTo>
                  <a:pt x="3727" y="751"/>
                  <a:pt x="3806" y="713"/>
                  <a:pt x="3806" y="713"/>
                </a:cubicBezTo>
                <a:cubicBezTo>
                  <a:pt x="3787" y="705"/>
                  <a:pt x="3787" y="705"/>
                  <a:pt x="3787" y="705"/>
                </a:cubicBezTo>
                <a:cubicBezTo>
                  <a:pt x="3787" y="705"/>
                  <a:pt x="3801" y="693"/>
                  <a:pt x="3819" y="693"/>
                </a:cubicBezTo>
                <a:cubicBezTo>
                  <a:pt x="3837" y="693"/>
                  <a:pt x="3842" y="707"/>
                  <a:pt x="3842" y="707"/>
                </a:cubicBezTo>
                <a:cubicBezTo>
                  <a:pt x="3862" y="714"/>
                  <a:pt x="3862" y="714"/>
                  <a:pt x="3862" y="714"/>
                </a:cubicBezTo>
                <a:cubicBezTo>
                  <a:pt x="3863" y="701"/>
                  <a:pt x="3863" y="701"/>
                  <a:pt x="3863" y="701"/>
                </a:cubicBezTo>
                <a:cubicBezTo>
                  <a:pt x="3863" y="701"/>
                  <a:pt x="3877" y="718"/>
                  <a:pt x="3882" y="709"/>
                </a:cubicBezTo>
                <a:cubicBezTo>
                  <a:pt x="3887" y="700"/>
                  <a:pt x="3870" y="682"/>
                  <a:pt x="3870" y="682"/>
                </a:cubicBezTo>
                <a:cubicBezTo>
                  <a:pt x="3856" y="676"/>
                  <a:pt x="3856" y="676"/>
                  <a:pt x="3856" y="676"/>
                </a:cubicBezTo>
                <a:cubicBezTo>
                  <a:pt x="3883" y="671"/>
                  <a:pt x="3883" y="671"/>
                  <a:pt x="3883" y="671"/>
                </a:cubicBezTo>
                <a:cubicBezTo>
                  <a:pt x="3883" y="671"/>
                  <a:pt x="3897" y="710"/>
                  <a:pt x="3906" y="708"/>
                </a:cubicBezTo>
                <a:cubicBezTo>
                  <a:pt x="3915" y="706"/>
                  <a:pt x="4028" y="673"/>
                  <a:pt x="4014" y="654"/>
                </a:cubicBezTo>
                <a:cubicBezTo>
                  <a:pt x="4000" y="635"/>
                  <a:pt x="3989" y="620"/>
                  <a:pt x="4000" y="613"/>
                </a:cubicBezTo>
                <a:cubicBezTo>
                  <a:pt x="4011" y="606"/>
                  <a:pt x="4061" y="604"/>
                  <a:pt x="4062" y="598"/>
                </a:cubicBezTo>
                <a:cubicBezTo>
                  <a:pt x="4063" y="592"/>
                  <a:pt x="4052" y="566"/>
                  <a:pt x="4052" y="566"/>
                </a:cubicBezTo>
                <a:cubicBezTo>
                  <a:pt x="4040" y="551"/>
                  <a:pt x="4040" y="551"/>
                  <a:pt x="4040" y="551"/>
                </a:cubicBezTo>
                <a:cubicBezTo>
                  <a:pt x="4040" y="551"/>
                  <a:pt x="3978" y="533"/>
                  <a:pt x="3952" y="551"/>
                </a:cubicBezTo>
                <a:cubicBezTo>
                  <a:pt x="3926" y="569"/>
                  <a:pt x="3948" y="581"/>
                  <a:pt x="3948" y="581"/>
                </a:cubicBezTo>
                <a:cubicBezTo>
                  <a:pt x="3924" y="596"/>
                  <a:pt x="3924" y="596"/>
                  <a:pt x="3924" y="596"/>
                </a:cubicBezTo>
                <a:cubicBezTo>
                  <a:pt x="3910" y="596"/>
                  <a:pt x="3910" y="596"/>
                  <a:pt x="3910" y="596"/>
                </a:cubicBezTo>
                <a:cubicBezTo>
                  <a:pt x="3865" y="627"/>
                  <a:pt x="3865" y="627"/>
                  <a:pt x="3865" y="627"/>
                </a:cubicBezTo>
                <a:cubicBezTo>
                  <a:pt x="3848" y="634"/>
                  <a:pt x="3848" y="634"/>
                  <a:pt x="3848" y="634"/>
                </a:cubicBezTo>
                <a:cubicBezTo>
                  <a:pt x="3848" y="634"/>
                  <a:pt x="3836" y="652"/>
                  <a:pt x="3832" y="655"/>
                </a:cubicBezTo>
                <a:cubicBezTo>
                  <a:pt x="3828" y="658"/>
                  <a:pt x="3809" y="659"/>
                  <a:pt x="3809" y="659"/>
                </a:cubicBezTo>
                <a:cubicBezTo>
                  <a:pt x="3786" y="671"/>
                  <a:pt x="3786" y="671"/>
                  <a:pt x="3786" y="671"/>
                </a:cubicBezTo>
                <a:cubicBezTo>
                  <a:pt x="3786" y="671"/>
                  <a:pt x="3775" y="637"/>
                  <a:pt x="3781" y="626"/>
                </a:cubicBezTo>
                <a:cubicBezTo>
                  <a:pt x="3787" y="615"/>
                  <a:pt x="3818" y="620"/>
                  <a:pt x="3823" y="604"/>
                </a:cubicBezTo>
                <a:cubicBezTo>
                  <a:pt x="3828" y="588"/>
                  <a:pt x="3812" y="571"/>
                  <a:pt x="3809" y="571"/>
                </a:cubicBezTo>
                <a:cubicBezTo>
                  <a:pt x="3806" y="571"/>
                  <a:pt x="3753" y="595"/>
                  <a:pt x="3753" y="595"/>
                </a:cubicBezTo>
                <a:cubicBezTo>
                  <a:pt x="3734" y="616"/>
                  <a:pt x="3734" y="616"/>
                  <a:pt x="3734" y="616"/>
                </a:cubicBezTo>
                <a:cubicBezTo>
                  <a:pt x="3728" y="607"/>
                  <a:pt x="3728" y="607"/>
                  <a:pt x="3728" y="607"/>
                </a:cubicBezTo>
                <a:cubicBezTo>
                  <a:pt x="3746" y="589"/>
                  <a:pt x="3746" y="589"/>
                  <a:pt x="3746" y="589"/>
                </a:cubicBezTo>
                <a:cubicBezTo>
                  <a:pt x="3744" y="576"/>
                  <a:pt x="3744" y="576"/>
                  <a:pt x="3744" y="576"/>
                </a:cubicBezTo>
                <a:cubicBezTo>
                  <a:pt x="3774" y="565"/>
                  <a:pt x="3774" y="565"/>
                  <a:pt x="3774" y="565"/>
                </a:cubicBezTo>
                <a:cubicBezTo>
                  <a:pt x="3747" y="560"/>
                  <a:pt x="3747" y="560"/>
                  <a:pt x="3747" y="560"/>
                </a:cubicBezTo>
                <a:cubicBezTo>
                  <a:pt x="3752" y="550"/>
                  <a:pt x="3752" y="550"/>
                  <a:pt x="3752" y="550"/>
                </a:cubicBezTo>
                <a:cubicBezTo>
                  <a:pt x="3720" y="560"/>
                  <a:pt x="3720" y="560"/>
                  <a:pt x="3720" y="560"/>
                </a:cubicBezTo>
                <a:cubicBezTo>
                  <a:pt x="3706" y="552"/>
                  <a:pt x="3706" y="552"/>
                  <a:pt x="3706" y="552"/>
                </a:cubicBezTo>
                <a:cubicBezTo>
                  <a:pt x="3731" y="543"/>
                  <a:pt x="3731" y="543"/>
                  <a:pt x="3731" y="543"/>
                </a:cubicBezTo>
                <a:cubicBezTo>
                  <a:pt x="3732" y="533"/>
                  <a:pt x="3732" y="533"/>
                  <a:pt x="3732" y="533"/>
                </a:cubicBezTo>
                <a:cubicBezTo>
                  <a:pt x="3732" y="533"/>
                  <a:pt x="3768" y="541"/>
                  <a:pt x="3766" y="528"/>
                </a:cubicBezTo>
                <a:cubicBezTo>
                  <a:pt x="3764" y="515"/>
                  <a:pt x="3736" y="518"/>
                  <a:pt x="3748" y="501"/>
                </a:cubicBezTo>
                <a:cubicBezTo>
                  <a:pt x="3760" y="484"/>
                  <a:pt x="3771" y="459"/>
                  <a:pt x="3755" y="458"/>
                </a:cubicBezTo>
                <a:cubicBezTo>
                  <a:pt x="3730" y="448"/>
                  <a:pt x="3730" y="448"/>
                  <a:pt x="3730" y="448"/>
                </a:cubicBezTo>
                <a:cubicBezTo>
                  <a:pt x="3711" y="456"/>
                  <a:pt x="3711" y="456"/>
                  <a:pt x="3711" y="456"/>
                </a:cubicBezTo>
                <a:cubicBezTo>
                  <a:pt x="3711" y="456"/>
                  <a:pt x="3684" y="458"/>
                  <a:pt x="3683" y="462"/>
                </a:cubicBezTo>
                <a:cubicBezTo>
                  <a:pt x="3682" y="466"/>
                  <a:pt x="3690" y="475"/>
                  <a:pt x="3684" y="476"/>
                </a:cubicBezTo>
                <a:cubicBezTo>
                  <a:pt x="3678" y="477"/>
                  <a:pt x="3642" y="470"/>
                  <a:pt x="3634" y="479"/>
                </a:cubicBezTo>
                <a:cubicBezTo>
                  <a:pt x="3626" y="488"/>
                  <a:pt x="3609" y="497"/>
                  <a:pt x="3618" y="501"/>
                </a:cubicBezTo>
                <a:cubicBezTo>
                  <a:pt x="3627" y="505"/>
                  <a:pt x="3638" y="507"/>
                  <a:pt x="3638" y="507"/>
                </a:cubicBezTo>
                <a:cubicBezTo>
                  <a:pt x="3638" y="507"/>
                  <a:pt x="3589" y="520"/>
                  <a:pt x="3591" y="533"/>
                </a:cubicBezTo>
                <a:cubicBezTo>
                  <a:pt x="3593" y="546"/>
                  <a:pt x="3620" y="556"/>
                  <a:pt x="3620" y="556"/>
                </a:cubicBezTo>
                <a:cubicBezTo>
                  <a:pt x="3636" y="549"/>
                  <a:pt x="3636" y="549"/>
                  <a:pt x="3636" y="549"/>
                </a:cubicBezTo>
                <a:cubicBezTo>
                  <a:pt x="3636" y="549"/>
                  <a:pt x="3635" y="570"/>
                  <a:pt x="3641" y="567"/>
                </a:cubicBezTo>
                <a:cubicBezTo>
                  <a:pt x="3647" y="564"/>
                  <a:pt x="3676" y="559"/>
                  <a:pt x="3665" y="567"/>
                </a:cubicBezTo>
                <a:cubicBezTo>
                  <a:pt x="3654" y="575"/>
                  <a:pt x="3645" y="574"/>
                  <a:pt x="3645" y="574"/>
                </a:cubicBezTo>
                <a:cubicBezTo>
                  <a:pt x="3632" y="569"/>
                  <a:pt x="3632" y="569"/>
                  <a:pt x="3632" y="569"/>
                </a:cubicBezTo>
                <a:cubicBezTo>
                  <a:pt x="3630" y="578"/>
                  <a:pt x="3630" y="578"/>
                  <a:pt x="3630" y="578"/>
                </a:cubicBezTo>
                <a:cubicBezTo>
                  <a:pt x="3630" y="578"/>
                  <a:pt x="3594" y="584"/>
                  <a:pt x="3606" y="588"/>
                </a:cubicBezTo>
                <a:cubicBezTo>
                  <a:pt x="3618" y="592"/>
                  <a:pt x="3645" y="572"/>
                  <a:pt x="3639" y="585"/>
                </a:cubicBezTo>
                <a:cubicBezTo>
                  <a:pt x="3633" y="598"/>
                  <a:pt x="3614" y="607"/>
                  <a:pt x="3601" y="611"/>
                </a:cubicBezTo>
                <a:cubicBezTo>
                  <a:pt x="3588" y="615"/>
                  <a:pt x="3568" y="630"/>
                  <a:pt x="3568" y="630"/>
                </a:cubicBezTo>
                <a:cubicBezTo>
                  <a:pt x="3568" y="630"/>
                  <a:pt x="3546" y="618"/>
                  <a:pt x="3542" y="625"/>
                </a:cubicBezTo>
                <a:cubicBezTo>
                  <a:pt x="3538" y="632"/>
                  <a:pt x="3517" y="638"/>
                  <a:pt x="3518" y="648"/>
                </a:cubicBezTo>
                <a:cubicBezTo>
                  <a:pt x="3519" y="658"/>
                  <a:pt x="3512" y="667"/>
                  <a:pt x="3512" y="667"/>
                </a:cubicBezTo>
                <a:cubicBezTo>
                  <a:pt x="3508" y="658"/>
                  <a:pt x="3508" y="658"/>
                  <a:pt x="3508" y="658"/>
                </a:cubicBezTo>
                <a:cubicBezTo>
                  <a:pt x="3508" y="658"/>
                  <a:pt x="3483" y="657"/>
                  <a:pt x="3485" y="651"/>
                </a:cubicBezTo>
                <a:cubicBezTo>
                  <a:pt x="3487" y="645"/>
                  <a:pt x="3529" y="617"/>
                  <a:pt x="3529" y="617"/>
                </a:cubicBezTo>
                <a:cubicBezTo>
                  <a:pt x="3504" y="617"/>
                  <a:pt x="3504" y="617"/>
                  <a:pt x="3504" y="617"/>
                </a:cubicBezTo>
                <a:cubicBezTo>
                  <a:pt x="3504" y="617"/>
                  <a:pt x="3497" y="603"/>
                  <a:pt x="3490" y="603"/>
                </a:cubicBezTo>
                <a:cubicBezTo>
                  <a:pt x="3483" y="603"/>
                  <a:pt x="3467" y="609"/>
                  <a:pt x="3467" y="609"/>
                </a:cubicBezTo>
                <a:cubicBezTo>
                  <a:pt x="3467" y="609"/>
                  <a:pt x="3446" y="602"/>
                  <a:pt x="3443" y="610"/>
                </a:cubicBezTo>
                <a:cubicBezTo>
                  <a:pt x="3440" y="618"/>
                  <a:pt x="3438" y="625"/>
                  <a:pt x="3442" y="626"/>
                </a:cubicBezTo>
                <a:cubicBezTo>
                  <a:pt x="3446" y="627"/>
                  <a:pt x="3475" y="640"/>
                  <a:pt x="3465" y="643"/>
                </a:cubicBezTo>
                <a:cubicBezTo>
                  <a:pt x="3455" y="646"/>
                  <a:pt x="3437" y="631"/>
                  <a:pt x="3437" y="631"/>
                </a:cubicBezTo>
                <a:cubicBezTo>
                  <a:pt x="3423" y="622"/>
                  <a:pt x="3423" y="622"/>
                  <a:pt x="3423" y="622"/>
                </a:cubicBezTo>
                <a:cubicBezTo>
                  <a:pt x="3422" y="642"/>
                  <a:pt x="3422" y="642"/>
                  <a:pt x="3422" y="642"/>
                </a:cubicBezTo>
                <a:cubicBezTo>
                  <a:pt x="3422" y="642"/>
                  <a:pt x="3407" y="651"/>
                  <a:pt x="3398" y="649"/>
                </a:cubicBezTo>
                <a:cubicBezTo>
                  <a:pt x="3389" y="647"/>
                  <a:pt x="3356" y="638"/>
                  <a:pt x="3345" y="638"/>
                </a:cubicBezTo>
                <a:cubicBezTo>
                  <a:pt x="3334" y="638"/>
                  <a:pt x="3312" y="642"/>
                  <a:pt x="3301" y="641"/>
                </a:cubicBezTo>
                <a:cubicBezTo>
                  <a:pt x="3290" y="640"/>
                  <a:pt x="3273" y="623"/>
                  <a:pt x="3273" y="623"/>
                </a:cubicBezTo>
                <a:cubicBezTo>
                  <a:pt x="3234" y="626"/>
                  <a:pt x="3234" y="626"/>
                  <a:pt x="3234" y="626"/>
                </a:cubicBezTo>
                <a:cubicBezTo>
                  <a:pt x="3234" y="626"/>
                  <a:pt x="3219" y="612"/>
                  <a:pt x="3211" y="610"/>
                </a:cubicBezTo>
                <a:cubicBezTo>
                  <a:pt x="3203" y="608"/>
                  <a:pt x="3186" y="608"/>
                  <a:pt x="3174" y="614"/>
                </a:cubicBezTo>
                <a:cubicBezTo>
                  <a:pt x="3162" y="620"/>
                  <a:pt x="3167" y="622"/>
                  <a:pt x="3154" y="622"/>
                </a:cubicBezTo>
                <a:cubicBezTo>
                  <a:pt x="3141" y="622"/>
                  <a:pt x="3113" y="615"/>
                  <a:pt x="3106" y="624"/>
                </a:cubicBezTo>
                <a:cubicBezTo>
                  <a:pt x="3099" y="633"/>
                  <a:pt x="3087" y="659"/>
                  <a:pt x="3087" y="659"/>
                </a:cubicBezTo>
                <a:cubicBezTo>
                  <a:pt x="3079" y="679"/>
                  <a:pt x="3079" y="679"/>
                  <a:pt x="3079" y="679"/>
                </a:cubicBezTo>
                <a:cubicBezTo>
                  <a:pt x="3058" y="681"/>
                  <a:pt x="3058" y="681"/>
                  <a:pt x="3058" y="681"/>
                </a:cubicBezTo>
                <a:cubicBezTo>
                  <a:pt x="3053" y="700"/>
                  <a:pt x="3053" y="700"/>
                  <a:pt x="3053" y="700"/>
                </a:cubicBezTo>
                <a:cubicBezTo>
                  <a:pt x="3038" y="667"/>
                  <a:pt x="3038" y="667"/>
                  <a:pt x="3038" y="667"/>
                </a:cubicBezTo>
                <a:cubicBezTo>
                  <a:pt x="3038" y="667"/>
                  <a:pt x="3080" y="678"/>
                  <a:pt x="3069" y="659"/>
                </a:cubicBezTo>
                <a:cubicBezTo>
                  <a:pt x="3058" y="640"/>
                  <a:pt x="3026" y="638"/>
                  <a:pt x="3026" y="638"/>
                </a:cubicBezTo>
                <a:cubicBezTo>
                  <a:pt x="3028" y="629"/>
                  <a:pt x="3028" y="629"/>
                  <a:pt x="3028" y="629"/>
                </a:cubicBezTo>
                <a:cubicBezTo>
                  <a:pt x="3028" y="629"/>
                  <a:pt x="2959" y="642"/>
                  <a:pt x="2922" y="642"/>
                </a:cubicBezTo>
                <a:cubicBezTo>
                  <a:pt x="2885" y="642"/>
                  <a:pt x="2819" y="638"/>
                  <a:pt x="2832" y="632"/>
                </a:cubicBezTo>
                <a:cubicBezTo>
                  <a:pt x="2845" y="626"/>
                  <a:pt x="2929" y="629"/>
                  <a:pt x="2909" y="607"/>
                </a:cubicBezTo>
                <a:cubicBezTo>
                  <a:pt x="2889" y="585"/>
                  <a:pt x="2870" y="583"/>
                  <a:pt x="2846" y="585"/>
                </a:cubicBezTo>
                <a:cubicBezTo>
                  <a:pt x="2822" y="587"/>
                  <a:pt x="2783" y="573"/>
                  <a:pt x="2777" y="570"/>
                </a:cubicBezTo>
                <a:cubicBezTo>
                  <a:pt x="2771" y="567"/>
                  <a:pt x="2753" y="567"/>
                  <a:pt x="2753" y="567"/>
                </a:cubicBezTo>
                <a:cubicBezTo>
                  <a:pt x="2753" y="567"/>
                  <a:pt x="2705" y="540"/>
                  <a:pt x="2687" y="541"/>
                </a:cubicBezTo>
                <a:cubicBezTo>
                  <a:pt x="2669" y="542"/>
                  <a:pt x="2637" y="567"/>
                  <a:pt x="2637" y="567"/>
                </a:cubicBezTo>
                <a:cubicBezTo>
                  <a:pt x="2601" y="567"/>
                  <a:pt x="2601" y="567"/>
                  <a:pt x="2601" y="567"/>
                </a:cubicBezTo>
                <a:cubicBezTo>
                  <a:pt x="2621" y="555"/>
                  <a:pt x="2621" y="555"/>
                  <a:pt x="2621" y="555"/>
                </a:cubicBezTo>
                <a:cubicBezTo>
                  <a:pt x="2621" y="547"/>
                  <a:pt x="2621" y="547"/>
                  <a:pt x="2621" y="547"/>
                </a:cubicBezTo>
                <a:cubicBezTo>
                  <a:pt x="2638" y="527"/>
                  <a:pt x="2638" y="527"/>
                  <a:pt x="2638" y="527"/>
                </a:cubicBezTo>
                <a:cubicBezTo>
                  <a:pt x="2638" y="527"/>
                  <a:pt x="2599" y="545"/>
                  <a:pt x="2592" y="552"/>
                </a:cubicBezTo>
                <a:cubicBezTo>
                  <a:pt x="2585" y="559"/>
                  <a:pt x="2569" y="581"/>
                  <a:pt x="2554" y="566"/>
                </a:cubicBezTo>
                <a:cubicBezTo>
                  <a:pt x="2539" y="551"/>
                  <a:pt x="2560" y="535"/>
                  <a:pt x="2557" y="524"/>
                </a:cubicBezTo>
                <a:cubicBezTo>
                  <a:pt x="2554" y="513"/>
                  <a:pt x="2531" y="502"/>
                  <a:pt x="2528" y="511"/>
                </a:cubicBezTo>
                <a:cubicBezTo>
                  <a:pt x="2525" y="520"/>
                  <a:pt x="2538" y="526"/>
                  <a:pt x="2538" y="526"/>
                </a:cubicBezTo>
                <a:cubicBezTo>
                  <a:pt x="2538" y="526"/>
                  <a:pt x="2518" y="524"/>
                  <a:pt x="2507" y="528"/>
                </a:cubicBezTo>
                <a:cubicBezTo>
                  <a:pt x="2496" y="532"/>
                  <a:pt x="2480" y="543"/>
                  <a:pt x="2475" y="547"/>
                </a:cubicBezTo>
                <a:cubicBezTo>
                  <a:pt x="2470" y="551"/>
                  <a:pt x="2452" y="546"/>
                  <a:pt x="2452" y="546"/>
                </a:cubicBezTo>
                <a:cubicBezTo>
                  <a:pt x="2452" y="546"/>
                  <a:pt x="2405" y="556"/>
                  <a:pt x="2401" y="557"/>
                </a:cubicBezTo>
                <a:cubicBezTo>
                  <a:pt x="2397" y="558"/>
                  <a:pt x="2372" y="573"/>
                  <a:pt x="2372" y="573"/>
                </a:cubicBezTo>
                <a:cubicBezTo>
                  <a:pt x="2358" y="560"/>
                  <a:pt x="2358" y="560"/>
                  <a:pt x="2358" y="560"/>
                </a:cubicBezTo>
                <a:cubicBezTo>
                  <a:pt x="2358" y="560"/>
                  <a:pt x="2325" y="577"/>
                  <a:pt x="2315" y="578"/>
                </a:cubicBezTo>
                <a:cubicBezTo>
                  <a:pt x="2305" y="579"/>
                  <a:pt x="2287" y="591"/>
                  <a:pt x="2287" y="591"/>
                </a:cubicBezTo>
                <a:cubicBezTo>
                  <a:pt x="2265" y="593"/>
                  <a:pt x="2265" y="593"/>
                  <a:pt x="2265" y="593"/>
                </a:cubicBezTo>
                <a:cubicBezTo>
                  <a:pt x="2265" y="593"/>
                  <a:pt x="2282" y="575"/>
                  <a:pt x="2297" y="572"/>
                </a:cubicBezTo>
                <a:cubicBezTo>
                  <a:pt x="2312" y="569"/>
                  <a:pt x="2346" y="556"/>
                  <a:pt x="2346" y="556"/>
                </a:cubicBezTo>
                <a:cubicBezTo>
                  <a:pt x="2346" y="556"/>
                  <a:pt x="2377" y="559"/>
                  <a:pt x="2388" y="554"/>
                </a:cubicBezTo>
                <a:cubicBezTo>
                  <a:pt x="2399" y="549"/>
                  <a:pt x="2460" y="535"/>
                  <a:pt x="2460" y="535"/>
                </a:cubicBezTo>
                <a:cubicBezTo>
                  <a:pt x="2460" y="535"/>
                  <a:pt x="2472" y="532"/>
                  <a:pt x="2465" y="527"/>
                </a:cubicBezTo>
                <a:cubicBezTo>
                  <a:pt x="2458" y="522"/>
                  <a:pt x="2437" y="529"/>
                  <a:pt x="2437" y="529"/>
                </a:cubicBezTo>
                <a:cubicBezTo>
                  <a:pt x="2437" y="529"/>
                  <a:pt x="2419" y="528"/>
                  <a:pt x="2412" y="530"/>
                </a:cubicBezTo>
                <a:cubicBezTo>
                  <a:pt x="2405" y="532"/>
                  <a:pt x="2398" y="540"/>
                  <a:pt x="2393" y="541"/>
                </a:cubicBezTo>
                <a:cubicBezTo>
                  <a:pt x="2388" y="542"/>
                  <a:pt x="2369" y="542"/>
                  <a:pt x="2369" y="542"/>
                </a:cubicBezTo>
                <a:cubicBezTo>
                  <a:pt x="2354" y="545"/>
                  <a:pt x="2354" y="545"/>
                  <a:pt x="2354" y="545"/>
                </a:cubicBezTo>
                <a:cubicBezTo>
                  <a:pt x="2354" y="545"/>
                  <a:pt x="2337" y="545"/>
                  <a:pt x="2325" y="548"/>
                </a:cubicBezTo>
                <a:cubicBezTo>
                  <a:pt x="2313" y="551"/>
                  <a:pt x="2302" y="563"/>
                  <a:pt x="2302" y="563"/>
                </a:cubicBezTo>
                <a:cubicBezTo>
                  <a:pt x="2288" y="565"/>
                  <a:pt x="2288" y="565"/>
                  <a:pt x="2288" y="565"/>
                </a:cubicBezTo>
                <a:cubicBezTo>
                  <a:pt x="2253" y="578"/>
                  <a:pt x="2253" y="578"/>
                  <a:pt x="2253" y="578"/>
                </a:cubicBezTo>
                <a:cubicBezTo>
                  <a:pt x="2253" y="578"/>
                  <a:pt x="2238" y="581"/>
                  <a:pt x="2235" y="584"/>
                </a:cubicBezTo>
                <a:cubicBezTo>
                  <a:pt x="2232" y="587"/>
                  <a:pt x="2230" y="603"/>
                  <a:pt x="2223" y="599"/>
                </a:cubicBezTo>
                <a:cubicBezTo>
                  <a:pt x="2216" y="595"/>
                  <a:pt x="2215" y="580"/>
                  <a:pt x="2226" y="578"/>
                </a:cubicBezTo>
                <a:cubicBezTo>
                  <a:pt x="2237" y="576"/>
                  <a:pt x="2266" y="566"/>
                  <a:pt x="2275" y="560"/>
                </a:cubicBezTo>
                <a:cubicBezTo>
                  <a:pt x="2284" y="554"/>
                  <a:pt x="2242" y="548"/>
                  <a:pt x="2235" y="557"/>
                </a:cubicBezTo>
                <a:cubicBezTo>
                  <a:pt x="2228" y="566"/>
                  <a:pt x="2201" y="571"/>
                  <a:pt x="2194" y="571"/>
                </a:cubicBezTo>
                <a:cubicBezTo>
                  <a:pt x="2187" y="571"/>
                  <a:pt x="2187" y="598"/>
                  <a:pt x="2187" y="598"/>
                </a:cubicBezTo>
                <a:cubicBezTo>
                  <a:pt x="2171" y="589"/>
                  <a:pt x="2171" y="589"/>
                  <a:pt x="2171" y="589"/>
                </a:cubicBezTo>
                <a:cubicBezTo>
                  <a:pt x="2129" y="583"/>
                  <a:pt x="2129" y="583"/>
                  <a:pt x="2129" y="583"/>
                </a:cubicBezTo>
                <a:cubicBezTo>
                  <a:pt x="2129" y="583"/>
                  <a:pt x="2103" y="571"/>
                  <a:pt x="2105" y="566"/>
                </a:cubicBezTo>
                <a:cubicBezTo>
                  <a:pt x="2107" y="561"/>
                  <a:pt x="2111" y="552"/>
                  <a:pt x="2111" y="552"/>
                </a:cubicBezTo>
                <a:cubicBezTo>
                  <a:pt x="2037" y="553"/>
                  <a:pt x="2037" y="553"/>
                  <a:pt x="2037" y="553"/>
                </a:cubicBezTo>
                <a:cubicBezTo>
                  <a:pt x="2037" y="553"/>
                  <a:pt x="2034" y="530"/>
                  <a:pt x="2008" y="532"/>
                </a:cubicBezTo>
                <a:cubicBezTo>
                  <a:pt x="1982" y="534"/>
                  <a:pt x="1951" y="543"/>
                  <a:pt x="1947" y="543"/>
                </a:cubicBezTo>
                <a:cubicBezTo>
                  <a:pt x="1943" y="543"/>
                  <a:pt x="1916" y="529"/>
                  <a:pt x="1912" y="527"/>
                </a:cubicBezTo>
                <a:cubicBezTo>
                  <a:pt x="1908" y="525"/>
                  <a:pt x="1858" y="526"/>
                  <a:pt x="1858" y="526"/>
                </a:cubicBezTo>
                <a:cubicBezTo>
                  <a:pt x="1858" y="526"/>
                  <a:pt x="1842" y="518"/>
                  <a:pt x="1824" y="516"/>
                </a:cubicBezTo>
                <a:cubicBezTo>
                  <a:pt x="1806" y="514"/>
                  <a:pt x="1735" y="517"/>
                  <a:pt x="1732" y="517"/>
                </a:cubicBezTo>
                <a:cubicBezTo>
                  <a:pt x="1729" y="517"/>
                  <a:pt x="1735" y="503"/>
                  <a:pt x="1735" y="503"/>
                </a:cubicBezTo>
                <a:cubicBezTo>
                  <a:pt x="1735" y="503"/>
                  <a:pt x="1699" y="498"/>
                  <a:pt x="1694" y="497"/>
                </a:cubicBezTo>
                <a:cubicBezTo>
                  <a:pt x="1689" y="496"/>
                  <a:pt x="1656" y="503"/>
                  <a:pt x="1656" y="503"/>
                </a:cubicBezTo>
                <a:cubicBezTo>
                  <a:pt x="1676" y="481"/>
                  <a:pt x="1676" y="481"/>
                  <a:pt x="1676" y="481"/>
                </a:cubicBezTo>
                <a:cubicBezTo>
                  <a:pt x="1621" y="503"/>
                  <a:pt x="1621" y="503"/>
                  <a:pt x="1621" y="503"/>
                </a:cubicBezTo>
                <a:cubicBezTo>
                  <a:pt x="1642" y="481"/>
                  <a:pt x="1642" y="481"/>
                  <a:pt x="1642" y="481"/>
                </a:cubicBezTo>
                <a:cubicBezTo>
                  <a:pt x="1622" y="479"/>
                  <a:pt x="1622" y="479"/>
                  <a:pt x="1622" y="479"/>
                </a:cubicBezTo>
                <a:cubicBezTo>
                  <a:pt x="1622" y="479"/>
                  <a:pt x="1591" y="501"/>
                  <a:pt x="1561" y="501"/>
                </a:cubicBezTo>
                <a:cubicBezTo>
                  <a:pt x="1531" y="501"/>
                  <a:pt x="1485" y="495"/>
                  <a:pt x="1477" y="503"/>
                </a:cubicBezTo>
                <a:cubicBezTo>
                  <a:pt x="1469" y="511"/>
                  <a:pt x="1439" y="518"/>
                  <a:pt x="1439" y="518"/>
                </a:cubicBezTo>
                <a:cubicBezTo>
                  <a:pt x="1439" y="518"/>
                  <a:pt x="1390" y="518"/>
                  <a:pt x="1364" y="521"/>
                </a:cubicBezTo>
                <a:cubicBezTo>
                  <a:pt x="1338" y="524"/>
                  <a:pt x="1277" y="570"/>
                  <a:pt x="1235" y="576"/>
                </a:cubicBezTo>
                <a:cubicBezTo>
                  <a:pt x="1193" y="582"/>
                  <a:pt x="1141" y="586"/>
                  <a:pt x="1141" y="586"/>
                </a:cubicBezTo>
                <a:cubicBezTo>
                  <a:pt x="1141" y="586"/>
                  <a:pt x="1078" y="607"/>
                  <a:pt x="1081" y="612"/>
                </a:cubicBezTo>
                <a:cubicBezTo>
                  <a:pt x="1084" y="617"/>
                  <a:pt x="1105" y="628"/>
                  <a:pt x="1105" y="628"/>
                </a:cubicBezTo>
                <a:cubicBezTo>
                  <a:pt x="1105" y="628"/>
                  <a:pt x="1118" y="651"/>
                  <a:pt x="1112" y="654"/>
                </a:cubicBezTo>
                <a:cubicBezTo>
                  <a:pt x="1106" y="657"/>
                  <a:pt x="1097" y="666"/>
                  <a:pt x="1097" y="666"/>
                </a:cubicBezTo>
                <a:cubicBezTo>
                  <a:pt x="1157" y="667"/>
                  <a:pt x="1157" y="667"/>
                  <a:pt x="1157" y="667"/>
                </a:cubicBezTo>
                <a:cubicBezTo>
                  <a:pt x="1138" y="690"/>
                  <a:pt x="1138" y="690"/>
                  <a:pt x="1138" y="690"/>
                </a:cubicBezTo>
                <a:cubicBezTo>
                  <a:pt x="1182" y="692"/>
                  <a:pt x="1182" y="692"/>
                  <a:pt x="1182" y="692"/>
                </a:cubicBezTo>
                <a:cubicBezTo>
                  <a:pt x="1175" y="704"/>
                  <a:pt x="1175" y="704"/>
                  <a:pt x="1175" y="704"/>
                </a:cubicBezTo>
                <a:cubicBezTo>
                  <a:pt x="1139" y="703"/>
                  <a:pt x="1139" y="703"/>
                  <a:pt x="1139" y="703"/>
                </a:cubicBezTo>
                <a:cubicBezTo>
                  <a:pt x="1132" y="711"/>
                  <a:pt x="1132" y="711"/>
                  <a:pt x="1132" y="711"/>
                </a:cubicBezTo>
                <a:cubicBezTo>
                  <a:pt x="1110" y="711"/>
                  <a:pt x="1110" y="711"/>
                  <a:pt x="1110" y="711"/>
                </a:cubicBezTo>
                <a:cubicBezTo>
                  <a:pt x="1110" y="711"/>
                  <a:pt x="1076" y="717"/>
                  <a:pt x="1051" y="717"/>
                </a:cubicBezTo>
                <a:cubicBezTo>
                  <a:pt x="1026" y="717"/>
                  <a:pt x="1031" y="707"/>
                  <a:pt x="1045" y="702"/>
                </a:cubicBezTo>
                <a:cubicBezTo>
                  <a:pt x="1059" y="697"/>
                  <a:pt x="1017" y="694"/>
                  <a:pt x="1017" y="694"/>
                </a:cubicBezTo>
                <a:cubicBezTo>
                  <a:pt x="1017" y="694"/>
                  <a:pt x="969" y="692"/>
                  <a:pt x="967" y="700"/>
                </a:cubicBezTo>
                <a:cubicBezTo>
                  <a:pt x="965" y="708"/>
                  <a:pt x="969" y="713"/>
                  <a:pt x="969" y="713"/>
                </a:cubicBezTo>
                <a:cubicBezTo>
                  <a:pt x="969" y="713"/>
                  <a:pt x="934" y="715"/>
                  <a:pt x="911" y="718"/>
                </a:cubicBezTo>
                <a:cubicBezTo>
                  <a:pt x="888" y="721"/>
                  <a:pt x="820" y="734"/>
                  <a:pt x="837" y="740"/>
                </a:cubicBezTo>
                <a:cubicBezTo>
                  <a:pt x="854" y="746"/>
                  <a:pt x="877" y="749"/>
                  <a:pt x="877" y="749"/>
                </a:cubicBezTo>
                <a:cubicBezTo>
                  <a:pt x="848" y="759"/>
                  <a:pt x="848" y="759"/>
                  <a:pt x="848" y="759"/>
                </a:cubicBezTo>
                <a:cubicBezTo>
                  <a:pt x="840" y="786"/>
                  <a:pt x="840" y="786"/>
                  <a:pt x="840" y="786"/>
                </a:cubicBezTo>
                <a:cubicBezTo>
                  <a:pt x="840" y="786"/>
                  <a:pt x="864" y="790"/>
                  <a:pt x="880" y="790"/>
                </a:cubicBezTo>
                <a:cubicBezTo>
                  <a:pt x="896" y="790"/>
                  <a:pt x="910" y="787"/>
                  <a:pt x="910" y="787"/>
                </a:cubicBezTo>
                <a:cubicBezTo>
                  <a:pt x="939" y="795"/>
                  <a:pt x="939" y="795"/>
                  <a:pt x="939" y="795"/>
                </a:cubicBezTo>
                <a:cubicBezTo>
                  <a:pt x="948" y="783"/>
                  <a:pt x="948" y="783"/>
                  <a:pt x="948" y="783"/>
                </a:cubicBezTo>
                <a:cubicBezTo>
                  <a:pt x="957" y="794"/>
                  <a:pt x="957" y="794"/>
                  <a:pt x="957" y="794"/>
                </a:cubicBezTo>
                <a:cubicBezTo>
                  <a:pt x="957" y="794"/>
                  <a:pt x="989" y="776"/>
                  <a:pt x="994" y="776"/>
                </a:cubicBezTo>
                <a:cubicBezTo>
                  <a:pt x="999" y="776"/>
                  <a:pt x="1007" y="782"/>
                  <a:pt x="1017" y="778"/>
                </a:cubicBezTo>
                <a:cubicBezTo>
                  <a:pt x="1027" y="774"/>
                  <a:pt x="1045" y="760"/>
                  <a:pt x="1046" y="769"/>
                </a:cubicBezTo>
                <a:cubicBezTo>
                  <a:pt x="1047" y="778"/>
                  <a:pt x="1037" y="790"/>
                  <a:pt x="1037" y="790"/>
                </a:cubicBezTo>
                <a:cubicBezTo>
                  <a:pt x="999" y="791"/>
                  <a:pt x="999" y="791"/>
                  <a:pt x="999" y="791"/>
                </a:cubicBezTo>
                <a:cubicBezTo>
                  <a:pt x="1004" y="812"/>
                  <a:pt x="1004" y="812"/>
                  <a:pt x="1004" y="812"/>
                </a:cubicBezTo>
                <a:cubicBezTo>
                  <a:pt x="1004" y="812"/>
                  <a:pt x="976" y="839"/>
                  <a:pt x="958" y="840"/>
                </a:cubicBezTo>
                <a:cubicBezTo>
                  <a:pt x="940" y="841"/>
                  <a:pt x="920" y="841"/>
                  <a:pt x="920" y="841"/>
                </a:cubicBezTo>
                <a:cubicBezTo>
                  <a:pt x="910" y="829"/>
                  <a:pt x="910" y="829"/>
                  <a:pt x="910" y="829"/>
                </a:cubicBezTo>
                <a:cubicBezTo>
                  <a:pt x="898" y="836"/>
                  <a:pt x="898" y="836"/>
                  <a:pt x="898" y="836"/>
                </a:cubicBezTo>
                <a:cubicBezTo>
                  <a:pt x="898" y="844"/>
                  <a:pt x="898" y="844"/>
                  <a:pt x="898" y="844"/>
                </a:cubicBezTo>
                <a:cubicBezTo>
                  <a:pt x="898" y="844"/>
                  <a:pt x="857" y="868"/>
                  <a:pt x="844" y="860"/>
                </a:cubicBezTo>
                <a:cubicBezTo>
                  <a:pt x="831" y="852"/>
                  <a:pt x="824" y="850"/>
                  <a:pt x="824" y="850"/>
                </a:cubicBezTo>
                <a:cubicBezTo>
                  <a:pt x="762" y="885"/>
                  <a:pt x="762" y="885"/>
                  <a:pt x="762" y="885"/>
                </a:cubicBezTo>
                <a:cubicBezTo>
                  <a:pt x="748" y="897"/>
                  <a:pt x="748" y="897"/>
                  <a:pt x="748" y="897"/>
                </a:cubicBezTo>
                <a:cubicBezTo>
                  <a:pt x="745" y="883"/>
                  <a:pt x="745" y="883"/>
                  <a:pt x="745" y="883"/>
                </a:cubicBezTo>
                <a:cubicBezTo>
                  <a:pt x="745" y="883"/>
                  <a:pt x="720" y="894"/>
                  <a:pt x="706" y="899"/>
                </a:cubicBezTo>
                <a:cubicBezTo>
                  <a:pt x="692" y="904"/>
                  <a:pt x="682" y="919"/>
                  <a:pt x="682" y="919"/>
                </a:cubicBezTo>
                <a:cubicBezTo>
                  <a:pt x="662" y="913"/>
                  <a:pt x="662" y="913"/>
                  <a:pt x="662" y="913"/>
                </a:cubicBezTo>
                <a:cubicBezTo>
                  <a:pt x="662" y="926"/>
                  <a:pt x="662" y="926"/>
                  <a:pt x="662" y="926"/>
                </a:cubicBezTo>
                <a:cubicBezTo>
                  <a:pt x="662" y="926"/>
                  <a:pt x="649" y="920"/>
                  <a:pt x="646" y="926"/>
                </a:cubicBezTo>
                <a:cubicBezTo>
                  <a:pt x="643" y="932"/>
                  <a:pt x="643" y="941"/>
                  <a:pt x="643" y="941"/>
                </a:cubicBezTo>
                <a:cubicBezTo>
                  <a:pt x="636" y="950"/>
                  <a:pt x="636" y="950"/>
                  <a:pt x="636" y="950"/>
                </a:cubicBezTo>
                <a:cubicBezTo>
                  <a:pt x="676" y="936"/>
                  <a:pt x="676" y="936"/>
                  <a:pt x="676" y="936"/>
                </a:cubicBezTo>
                <a:cubicBezTo>
                  <a:pt x="661" y="948"/>
                  <a:pt x="661" y="948"/>
                  <a:pt x="661" y="948"/>
                </a:cubicBezTo>
                <a:cubicBezTo>
                  <a:pt x="661" y="954"/>
                  <a:pt x="661" y="954"/>
                  <a:pt x="661" y="954"/>
                </a:cubicBezTo>
                <a:cubicBezTo>
                  <a:pt x="648" y="962"/>
                  <a:pt x="648" y="962"/>
                  <a:pt x="648" y="962"/>
                </a:cubicBezTo>
                <a:cubicBezTo>
                  <a:pt x="648" y="962"/>
                  <a:pt x="698" y="961"/>
                  <a:pt x="689" y="970"/>
                </a:cubicBezTo>
                <a:cubicBezTo>
                  <a:pt x="680" y="979"/>
                  <a:pt x="658" y="977"/>
                  <a:pt x="658" y="977"/>
                </a:cubicBezTo>
                <a:cubicBezTo>
                  <a:pt x="641" y="981"/>
                  <a:pt x="641" y="981"/>
                  <a:pt x="641" y="981"/>
                </a:cubicBezTo>
                <a:cubicBezTo>
                  <a:pt x="649" y="973"/>
                  <a:pt x="649" y="973"/>
                  <a:pt x="649" y="973"/>
                </a:cubicBezTo>
                <a:cubicBezTo>
                  <a:pt x="640" y="968"/>
                  <a:pt x="640" y="968"/>
                  <a:pt x="640" y="968"/>
                </a:cubicBezTo>
                <a:cubicBezTo>
                  <a:pt x="640" y="968"/>
                  <a:pt x="611" y="979"/>
                  <a:pt x="612" y="982"/>
                </a:cubicBezTo>
                <a:cubicBezTo>
                  <a:pt x="613" y="985"/>
                  <a:pt x="619" y="989"/>
                  <a:pt x="619" y="989"/>
                </a:cubicBezTo>
                <a:cubicBezTo>
                  <a:pt x="619" y="989"/>
                  <a:pt x="608" y="1016"/>
                  <a:pt x="612" y="1017"/>
                </a:cubicBezTo>
                <a:cubicBezTo>
                  <a:pt x="616" y="1018"/>
                  <a:pt x="659" y="1015"/>
                  <a:pt x="659" y="1015"/>
                </a:cubicBezTo>
                <a:cubicBezTo>
                  <a:pt x="691" y="997"/>
                  <a:pt x="691" y="997"/>
                  <a:pt x="691" y="997"/>
                </a:cubicBezTo>
                <a:cubicBezTo>
                  <a:pt x="738" y="978"/>
                  <a:pt x="738" y="978"/>
                  <a:pt x="738" y="978"/>
                </a:cubicBezTo>
                <a:cubicBezTo>
                  <a:pt x="738" y="978"/>
                  <a:pt x="694" y="999"/>
                  <a:pt x="689" y="1007"/>
                </a:cubicBezTo>
                <a:cubicBezTo>
                  <a:pt x="684" y="1015"/>
                  <a:pt x="685" y="1031"/>
                  <a:pt x="678" y="1033"/>
                </a:cubicBezTo>
                <a:cubicBezTo>
                  <a:pt x="671" y="1035"/>
                  <a:pt x="659" y="1028"/>
                  <a:pt x="653" y="1037"/>
                </a:cubicBezTo>
                <a:cubicBezTo>
                  <a:pt x="647" y="1046"/>
                  <a:pt x="643" y="1056"/>
                  <a:pt x="638" y="1061"/>
                </a:cubicBezTo>
                <a:cubicBezTo>
                  <a:pt x="633" y="1066"/>
                  <a:pt x="618" y="1075"/>
                  <a:pt x="618" y="1075"/>
                </a:cubicBezTo>
                <a:cubicBezTo>
                  <a:pt x="654" y="1071"/>
                  <a:pt x="654" y="1071"/>
                  <a:pt x="654" y="1071"/>
                </a:cubicBezTo>
                <a:cubicBezTo>
                  <a:pt x="647" y="1083"/>
                  <a:pt x="647" y="1083"/>
                  <a:pt x="647" y="1083"/>
                </a:cubicBezTo>
                <a:cubicBezTo>
                  <a:pt x="647" y="1083"/>
                  <a:pt x="677" y="1052"/>
                  <a:pt x="694" y="1055"/>
                </a:cubicBezTo>
                <a:cubicBezTo>
                  <a:pt x="711" y="1058"/>
                  <a:pt x="702" y="1063"/>
                  <a:pt x="702" y="1063"/>
                </a:cubicBezTo>
                <a:cubicBezTo>
                  <a:pt x="718" y="1061"/>
                  <a:pt x="718" y="1061"/>
                  <a:pt x="718" y="1061"/>
                </a:cubicBezTo>
                <a:cubicBezTo>
                  <a:pt x="718" y="1061"/>
                  <a:pt x="705" y="1086"/>
                  <a:pt x="719" y="1086"/>
                </a:cubicBezTo>
                <a:cubicBezTo>
                  <a:pt x="733" y="1086"/>
                  <a:pt x="750" y="1064"/>
                  <a:pt x="750" y="1064"/>
                </a:cubicBezTo>
                <a:cubicBezTo>
                  <a:pt x="778" y="1051"/>
                  <a:pt x="778" y="1051"/>
                  <a:pt x="778" y="1051"/>
                </a:cubicBezTo>
                <a:cubicBezTo>
                  <a:pt x="785" y="1059"/>
                  <a:pt x="785" y="1059"/>
                  <a:pt x="785" y="1059"/>
                </a:cubicBezTo>
                <a:cubicBezTo>
                  <a:pt x="765" y="1061"/>
                  <a:pt x="765" y="1061"/>
                  <a:pt x="765" y="1061"/>
                </a:cubicBezTo>
                <a:cubicBezTo>
                  <a:pt x="765" y="1061"/>
                  <a:pt x="751" y="1075"/>
                  <a:pt x="762" y="1075"/>
                </a:cubicBezTo>
                <a:cubicBezTo>
                  <a:pt x="773" y="1075"/>
                  <a:pt x="819" y="1062"/>
                  <a:pt x="819" y="1062"/>
                </a:cubicBezTo>
                <a:cubicBezTo>
                  <a:pt x="847" y="1050"/>
                  <a:pt x="847" y="1050"/>
                  <a:pt x="847" y="1050"/>
                </a:cubicBezTo>
                <a:cubicBezTo>
                  <a:pt x="815" y="1067"/>
                  <a:pt x="815" y="1067"/>
                  <a:pt x="815" y="1067"/>
                </a:cubicBezTo>
                <a:cubicBezTo>
                  <a:pt x="815" y="1077"/>
                  <a:pt x="815" y="1077"/>
                  <a:pt x="815" y="1077"/>
                </a:cubicBezTo>
                <a:cubicBezTo>
                  <a:pt x="815" y="1077"/>
                  <a:pt x="797" y="1078"/>
                  <a:pt x="786" y="1082"/>
                </a:cubicBezTo>
                <a:cubicBezTo>
                  <a:pt x="775" y="1086"/>
                  <a:pt x="767" y="1099"/>
                  <a:pt x="767" y="1099"/>
                </a:cubicBezTo>
                <a:cubicBezTo>
                  <a:pt x="747" y="1101"/>
                  <a:pt x="747" y="1101"/>
                  <a:pt x="747" y="1101"/>
                </a:cubicBezTo>
                <a:cubicBezTo>
                  <a:pt x="723" y="1121"/>
                  <a:pt x="723" y="1121"/>
                  <a:pt x="723" y="1121"/>
                </a:cubicBezTo>
                <a:cubicBezTo>
                  <a:pt x="724" y="1130"/>
                  <a:pt x="724" y="1130"/>
                  <a:pt x="724" y="1130"/>
                </a:cubicBezTo>
                <a:cubicBezTo>
                  <a:pt x="697" y="1133"/>
                  <a:pt x="697" y="1133"/>
                  <a:pt x="697" y="1133"/>
                </a:cubicBezTo>
                <a:cubicBezTo>
                  <a:pt x="697" y="1133"/>
                  <a:pt x="652" y="1142"/>
                  <a:pt x="647" y="1149"/>
                </a:cubicBezTo>
                <a:cubicBezTo>
                  <a:pt x="642" y="1156"/>
                  <a:pt x="645" y="1170"/>
                  <a:pt x="636" y="1170"/>
                </a:cubicBezTo>
                <a:cubicBezTo>
                  <a:pt x="627" y="1170"/>
                  <a:pt x="600" y="1170"/>
                  <a:pt x="584" y="1172"/>
                </a:cubicBezTo>
                <a:cubicBezTo>
                  <a:pt x="568" y="1174"/>
                  <a:pt x="515" y="1213"/>
                  <a:pt x="515" y="1213"/>
                </a:cubicBezTo>
                <a:cubicBezTo>
                  <a:pt x="500" y="1216"/>
                  <a:pt x="500" y="1216"/>
                  <a:pt x="500" y="1216"/>
                </a:cubicBezTo>
                <a:cubicBezTo>
                  <a:pt x="491" y="1226"/>
                  <a:pt x="491" y="1226"/>
                  <a:pt x="491" y="1226"/>
                </a:cubicBezTo>
                <a:cubicBezTo>
                  <a:pt x="490" y="1215"/>
                  <a:pt x="490" y="1215"/>
                  <a:pt x="490" y="1215"/>
                </a:cubicBezTo>
                <a:cubicBezTo>
                  <a:pt x="490" y="1215"/>
                  <a:pt x="458" y="1211"/>
                  <a:pt x="447" y="1217"/>
                </a:cubicBezTo>
                <a:cubicBezTo>
                  <a:pt x="436" y="1223"/>
                  <a:pt x="412" y="1233"/>
                  <a:pt x="412" y="1233"/>
                </a:cubicBezTo>
                <a:cubicBezTo>
                  <a:pt x="403" y="1231"/>
                  <a:pt x="403" y="1231"/>
                  <a:pt x="403" y="1231"/>
                </a:cubicBezTo>
                <a:cubicBezTo>
                  <a:pt x="404" y="1239"/>
                  <a:pt x="404" y="1239"/>
                  <a:pt x="404" y="1239"/>
                </a:cubicBezTo>
                <a:cubicBezTo>
                  <a:pt x="385" y="1242"/>
                  <a:pt x="385" y="1242"/>
                  <a:pt x="385" y="1242"/>
                </a:cubicBezTo>
                <a:cubicBezTo>
                  <a:pt x="378" y="1248"/>
                  <a:pt x="378" y="1248"/>
                  <a:pt x="378" y="1248"/>
                </a:cubicBezTo>
                <a:cubicBezTo>
                  <a:pt x="362" y="1246"/>
                  <a:pt x="362" y="1246"/>
                  <a:pt x="362" y="1246"/>
                </a:cubicBezTo>
                <a:cubicBezTo>
                  <a:pt x="345" y="1261"/>
                  <a:pt x="345" y="1261"/>
                  <a:pt x="345" y="1261"/>
                </a:cubicBezTo>
                <a:cubicBezTo>
                  <a:pt x="350" y="1267"/>
                  <a:pt x="350" y="1267"/>
                  <a:pt x="350" y="1267"/>
                </a:cubicBezTo>
                <a:cubicBezTo>
                  <a:pt x="360" y="1255"/>
                  <a:pt x="360" y="1255"/>
                  <a:pt x="360" y="1255"/>
                </a:cubicBezTo>
                <a:cubicBezTo>
                  <a:pt x="373" y="1262"/>
                  <a:pt x="373" y="1262"/>
                  <a:pt x="373" y="1262"/>
                </a:cubicBezTo>
                <a:cubicBezTo>
                  <a:pt x="387" y="1250"/>
                  <a:pt x="387" y="1250"/>
                  <a:pt x="387" y="1250"/>
                </a:cubicBezTo>
                <a:cubicBezTo>
                  <a:pt x="388" y="1258"/>
                  <a:pt x="388" y="1258"/>
                  <a:pt x="388" y="1258"/>
                </a:cubicBezTo>
                <a:cubicBezTo>
                  <a:pt x="388" y="1258"/>
                  <a:pt x="409" y="1257"/>
                  <a:pt x="417" y="1250"/>
                </a:cubicBezTo>
                <a:cubicBezTo>
                  <a:pt x="425" y="1243"/>
                  <a:pt x="441" y="1229"/>
                  <a:pt x="450" y="1227"/>
                </a:cubicBezTo>
                <a:cubicBezTo>
                  <a:pt x="459" y="1225"/>
                  <a:pt x="451" y="1241"/>
                  <a:pt x="464" y="1241"/>
                </a:cubicBezTo>
                <a:cubicBezTo>
                  <a:pt x="477" y="1241"/>
                  <a:pt x="514" y="1225"/>
                  <a:pt x="514" y="1225"/>
                </a:cubicBezTo>
                <a:cubicBezTo>
                  <a:pt x="536" y="1231"/>
                  <a:pt x="536" y="1231"/>
                  <a:pt x="536" y="1231"/>
                </a:cubicBezTo>
                <a:cubicBezTo>
                  <a:pt x="548" y="1219"/>
                  <a:pt x="548" y="1219"/>
                  <a:pt x="548" y="1219"/>
                </a:cubicBezTo>
                <a:cubicBezTo>
                  <a:pt x="548" y="1219"/>
                  <a:pt x="585" y="1217"/>
                  <a:pt x="596" y="1208"/>
                </a:cubicBezTo>
                <a:cubicBezTo>
                  <a:pt x="607" y="1199"/>
                  <a:pt x="619" y="1185"/>
                  <a:pt x="628" y="1184"/>
                </a:cubicBezTo>
                <a:cubicBezTo>
                  <a:pt x="637" y="1183"/>
                  <a:pt x="649" y="1183"/>
                  <a:pt x="649" y="1183"/>
                </a:cubicBezTo>
                <a:cubicBezTo>
                  <a:pt x="653" y="1176"/>
                  <a:pt x="653" y="1176"/>
                  <a:pt x="653" y="1176"/>
                </a:cubicBezTo>
                <a:cubicBezTo>
                  <a:pt x="677" y="1176"/>
                  <a:pt x="677" y="1176"/>
                  <a:pt x="677" y="1176"/>
                </a:cubicBezTo>
                <a:cubicBezTo>
                  <a:pt x="684" y="1170"/>
                  <a:pt x="684" y="1170"/>
                  <a:pt x="684" y="1170"/>
                </a:cubicBezTo>
                <a:cubicBezTo>
                  <a:pt x="684" y="1170"/>
                  <a:pt x="717" y="1163"/>
                  <a:pt x="732" y="1156"/>
                </a:cubicBezTo>
                <a:cubicBezTo>
                  <a:pt x="747" y="1149"/>
                  <a:pt x="762" y="1135"/>
                  <a:pt x="762" y="1135"/>
                </a:cubicBezTo>
                <a:cubicBezTo>
                  <a:pt x="803" y="1129"/>
                  <a:pt x="803" y="1129"/>
                  <a:pt x="803" y="1129"/>
                </a:cubicBezTo>
                <a:cubicBezTo>
                  <a:pt x="841" y="1107"/>
                  <a:pt x="841" y="1107"/>
                  <a:pt x="841" y="1107"/>
                </a:cubicBezTo>
                <a:cubicBezTo>
                  <a:pt x="841" y="1107"/>
                  <a:pt x="885" y="1106"/>
                  <a:pt x="892" y="1099"/>
                </a:cubicBezTo>
                <a:cubicBezTo>
                  <a:pt x="899" y="1092"/>
                  <a:pt x="912" y="1080"/>
                  <a:pt x="912" y="1080"/>
                </a:cubicBezTo>
                <a:cubicBezTo>
                  <a:pt x="912" y="1080"/>
                  <a:pt x="954" y="1073"/>
                  <a:pt x="958" y="1065"/>
                </a:cubicBezTo>
                <a:cubicBezTo>
                  <a:pt x="962" y="1057"/>
                  <a:pt x="947" y="1057"/>
                  <a:pt x="947" y="1057"/>
                </a:cubicBezTo>
                <a:cubicBezTo>
                  <a:pt x="947" y="1057"/>
                  <a:pt x="970" y="1041"/>
                  <a:pt x="979" y="1036"/>
                </a:cubicBezTo>
                <a:cubicBezTo>
                  <a:pt x="988" y="1031"/>
                  <a:pt x="1015" y="1024"/>
                  <a:pt x="1015" y="1024"/>
                </a:cubicBezTo>
                <a:cubicBezTo>
                  <a:pt x="1066" y="1005"/>
                  <a:pt x="1066" y="1005"/>
                  <a:pt x="1066" y="1005"/>
                </a:cubicBezTo>
                <a:cubicBezTo>
                  <a:pt x="1060" y="992"/>
                  <a:pt x="1060" y="992"/>
                  <a:pt x="1060" y="992"/>
                </a:cubicBezTo>
                <a:cubicBezTo>
                  <a:pt x="1060" y="992"/>
                  <a:pt x="1083" y="998"/>
                  <a:pt x="1090" y="993"/>
                </a:cubicBezTo>
                <a:cubicBezTo>
                  <a:pt x="1097" y="988"/>
                  <a:pt x="1130" y="973"/>
                  <a:pt x="1130" y="973"/>
                </a:cubicBezTo>
                <a:cubicBezTo>
                  <a:pt x="1130" y="973"/>
                  <a:pt x="1188" y="949"/>
                  <a:pt x="1196" y="946"/>
                </a:cubicBezTo>
                <a:cubicBezTo>
                  <a:pt x="1204" y="943"/>
                  <a:pt x="1234" y="964"/>
                  <a:pt x="1234" y="964"/>
                </a:cubicBezTo>
                <a:cubicBezTo>
                  <a:pt x="1210" y="964"/>
                  <a:pt x="1210" y="964"/>
                  <a:pt x="1210" y="964"/>
                </a:cubicBezTo>
                <a:cubicBezTo>
                  <a:pt x="1197" y="956"/>
                  <a:pt x="1197" y="956"/>
                  <a:pt x="1197" y="956"/>
                </a:cubicBezTo>
                <a:cubicBezTo>
                  <a:pt x="1174" y="972"/>
                  <a:pt x="1174" y="972"/>
                  <a:pt x="1174" y="972"/>
                </a:cubicBezTo>
                <a:cubicBezTo>
                  <a:pt x="1151" y="972"/>
                  <a:pt x="1151" y="972"/>
                  <a:pt x="1151" y="972"/>
                </a:cubicBezTo>
                <a:cubicBezTo>
                  <a:pt x="1151" y="972"/>
                  <a:pt x="1128" y="994"/>
                  <a:pt x="1119" y="997"/>
                </a:cubicBezTo>
                <a:cubicBezTo>
                  <a:pt x="1110" y="1000"/>
                  <a:pt x="1071" y="1006"/>
                  <a:pt x="1075" y="1015"/>
                </a:cubicBezTo>
                <a:cubicBezTo>
                  <a:pt x="1079" y="1024"/>
                  <a:pt x="1099" y="1023"/>
                  <a:pt x="1099" y="1023"/>
                </a:cubicBezTo>
                <a:cubicBezTo>
                  <a:pt x="1099" y="1023"/>
                  <a:pt x="1079" y="1031"/>
                  <a:pt x="1075" y="1031"/>
                </a:cubicBezTo>
                <a:cubicBezTo>
                  <a:pt x="1071" y="1031"/>
                  <a:pt x="1042" y="1030"/>
                  <a:pt x="1042" y="1036"/>
                </a:cubicBezTo>
                <a:cubicBezTo>
                  <a:pt x="1042" y="1042"/>
                  <a:pt x="1045" y="1055"/>
                  <a:pt x="1065" y="1047"/>
                </a:cubicBezTo>
                <a:cubicBezTo>
                  <a:pt x="1085" y="1039"/>
                  <a:pt x="1129" y="1015"/>
                  <a:pt x="1147" y="1011"/>
                </a:cubicBezTo>
                <a:cubicBezTo>
                  <a:pt x="1165" y="1007"/>
                  <a:pt x="1197" y="1016"/>
                  <a:pt x="1211" y="1009"/>
                </a:cubicBezTo>
                <a:cubicBezTo>
                  <a:pt x="1225" y="1002"/>
                  <a:pt x="1247" y="981"/>
                  <a:pt x="1247" y="981"/>
                </a:cubicBezTo>
                <a:cubicBezTo>
                  <a:pt x="1245" y="971"/>
                  <a:pt x="1245" y="971"/>
                  <a:pt x="1245" y="971"/>
                </a:cubicBezTo>
                <a:cubicBezTo>
                  <a:pt x="1245" y="971"/>
                  <a:pt x="1299" y="950"/>
                  <a:pt x="1309" y="951"/>
                </a:cubicBezTo>
                <a:cubicBezTo>
                  <a:pt x="1319" y="952"/>
                  <a:pt x="1322" y="962"/>
                  <a:pt x="1322" y="962"/>
                </a:cubicBezTo>
                <a:cubicBezTo>
                  <a:pt x="1364" y="949"/>
                  <a:pt x="1364" y="949"/>
                  <a:pt x="1364" y="949"/>
                </a:cubicBezTo>
                <a:cubicBezTo>
                  <a:pt x="1336" y="971"/>
                  <a:pt x="1336" y="971"/>
                  <a:pt x="1336" y="971"/>
                </a:cubicBezTo>
                <a:cubicBezTo>
                  <a:pt x="1350" y="977"/>
                  <a:pt x="1350" y="977"/>
                  <a:pt x="1350" y="977"/>
                </a:cubicBezTo>
                <a:cubicBezTo>
                  <a:pt x="1350" y="977"/>
                  <a:pt x="1346" y="989"/>
                  <a:pt x="1350" y="989"/>
                </a:cubicBezTo>
                <a:cubicBezTo>
                  <a:pt x="1354" y="989"/>
                  <a:pt x="1395" y="964"/>
                  <a:pt x="1395" y="964"/>
                </a:cubicBezTo>
                <a:cubicBezTo>
                  <a:pt x="1395" y="964"/>
                  <a:pt x="1356" y="994"/>
                  <a:pt x="1367" y="999"/>
                </a:cubicBezTo>
                <a:cubicBezTo>
                  <a:pt x="1378" y="1004"/>
                  <a:pt x="1406" y="1005"/>
                  <a:pt x="1406" y="1005"/>
                </a:cubicBezTo>
                <a:cubicBezTo>
                  <a:pt x="1472" y="1011"/>
                  <a:pt x="1472" y="1011"/>
                  <a:pt x="1472" y="1011"/>
                </a:cubicBezTo>
                <a:cubicBezTo>
                  <a:pt x="1493" y="998"/>
                  <a:pt x="1493" y="998"/>
                  <a:pt x="1493" y="998"/>
                </a:cubicBezTo>
                <a:cubicBezTo>
                  <a:pt x="1493" y="998"/>
                  <a:pt x="1480" y="1020"/>
                  <a:pt x="1491" y="1021"/>
                </a:cubicBezTo>
                <a:cubicBezTo>
                  <a:pt x="1502" y="1022"/>
                  <a:pt x="1534" y="1020"/>
                  <a:pt x="1534" y="1020"/>
                </a:cubicBezTo>
                <a:cubicBezTo>
                  <a:pt x="1556" y="1014"/>
                  <a:pt x="1556" y="1014"/>
                  <a:pt x="1556" y="1014"/>
                </a:cubicBezTo>
                <a:cubicBezTo>
                  <a:pt x="1556" y="1014"/>
                  <a:pt x="1517" y="1028"/>
                  <a:pt x="1520" y="1036"/>
                </a:cubicBezTo>
                <a:cubicBezTo>
                  <a:pt x="1523" y="1044"/>
                  <a:pt x="1541" y="1052"/>
                  <a:pt x="1541" y="1052"/>
                </a:cubicBezTo>
                <a:cubicBezTo>
                  <a:pt x="1541" y="1052"/>
                  <a:pt x="1539" y="1088"/>
                  <a:pt x="1551" y="1088"/>
                </a:cubicBezTo>
                <a:cubicBezTo>
                  <a:pt x="1563" y="1088"/>
                  <a:pt x="1594" y="1085"/>
                  <a:pt x="1594" y="1085"/>
                </a:cubicBezTo>
                <a:cubicBezTo>
                  <a:pt x="1587" y="1064"/>
                  <a:pt x="1587" y="1064"/>
                  <a:pt x="1587" y="1064"/>
                </a:cubicBezTo>
                <a:cubicBezTo>
                  <a:pt x="1601" y="1059"/>
                  <a:pt x="1601" y="1059"/>
                  <a:pt x="1601" y="1059"/>
                </a:cubicBezTo>
                <a:cubicBezTo>
                  <a:pt x="1610" y="1070"/>
                  <a:pt x="1610" y="1070"/>
                  <a:pt x="1610" y="1070"/>
                </a:cubicBezTo>
                <a:cubicBezTo>
                  <a:pt x="1630" y="1064"/>
                  <a:pt x="1630" y="1064"/>
                  <a:pt x="1630" y="1064"/>
                </a:cubicBezTo>
                <a:cubicBezTo>
                  <a:pt x="1630" y="1064"/>
                  <a:pt x="1610" y="1087"/>
                  <a:pt x="1621" y="1091"/>
                </a:cubicBezTo>
                <a:cubicBezTo>
                  <a:pt x="1632" y="1095"/>
                  <a:pt x="1650" y="1065"/>
                  <a:pt x="1650" y="1065"/>
                </a:cubicBezTo>
                <a:cubicBezTo>
                  <a:pt x="1670" y="1036"/>
                  <a:pt x="1670" y="1036"/>
                  <a:pt x="1670" y="1036"/>
                </a:cubicBezTo>
                <a:cubicBezTo>
                  <a:pt x="1652" y="1078"/>
                  <a:pt x="1652" y="1078"/>
                  <a:pt x="1652" y="1078"/>
                </a:cubicBezTo>
                <a:cubicBezTo>
                  <a:pt x="1656" y="1094"/>
                  <a:pt x="1656" y="1094"/>
                  <a:pt x="1656" y="1094"/>
                </a:cubicBezTo>
                <a:cubicBezTo>
                  <a:pt x="1679" y="1086"/>
                  <a:pt x="1679" y="1086"/>
                  <a:pt x="1679" y="1086"/>
                </a:cubicBezTo>
                <a:cubicBezTo>
                  <a:pt x="1664" y="1102"/>
                  <a:pt x="1664" y="1102"/>
                  <a:pt x="1664" y="1102"/>
                </a:cubicBezTo>
                <a:cubicBezTo>
                  <a:pt x="1681" y="1117"/>
                  <a:pt x="1681" y="1117"/>
                  <a:pt x="1681" y="1117"/>
                </a:cubicBezTo>
                <a:cubicBezTo>
                  <a:pt x="1669" y="1114"/>
                  <a:pt x="1669" y="1114"/>
                  <a:pt x="1669" y="1114"/>
                </a:cubicBezTo>
                <a:cubicBezTo>
                  <a:pt x="1667" y="1126"/>
                  <a:pt x="1667" y="1126"/>
                  <a:pt x="1667" y="1126"/>
                </a:cubicBezTo>
                <a:cubicBezTo>
                  <a:pt x="1648" y="1139"/>
                  <a:pt x="1648" y="1139"/>
                  <a:pt x="1648" y="1139"/>
                </a:cubicBezTo>
                <a:cubicBezTo>
                  <a:pt x="1636" y="1149"/>
                  <a:pt x="1636" y="1149"/>
                  <a:pt x="1636" y="1149"/>
                </a:cubicBezTo>
                <a:cubicBezTo>
                  <a:pt x="1657" y="1160"/>
                  <a:pt x="1657" y="1160"/>
                  <a:pt x="1657" y="1160"/>
                </a:cubicBezTo>
                <a:cubicBezTo>
                  <a:pt x="1654" y="1181"/>
                  <a:pt x="1654" y="1181"/>
                  <a:pt x="1654" y="1181"/>
                </a:cubicBezTo>
                <a:cubicBezTo>
                  <a:pt x="1642" y="1193"/>
                  <a:pt x="1642" y="1193"/>
                  <a:pt x="1642" y="1193"/>
                </a:cubicBezTo>
                <a:cubicBezTo>
                  <a:pt x="1654" y="1198"/>
                  <a:pt x="1654" y="1198"/>
                  <a:pt x="1654" y="1198"/>
                </a:cubicBezTo>
                <a:cubicBezTo>
                  <a:pt x="1639" y="1212"/>
                  <a:pt x="1639" y="1212"/>
                  <a:pt x="1639" y="1212"/>
                </a:cubicBezTo>
                <a:cubicBezTo>
                  <a:pt x="1660" y="1212"/>
                  <a:pt x="1660" y="1212"/>
                  <a:pt x="1660" y="1212"/>
                </a:cubicBezTo>
                <a:cubicBezTo>
                  <a:pt x="1685" y="1203"/>
                  <a:pt x="1685" y="1203"/>
                  <a:pt x="1685" y="1203"/>
                </a:cubicBezTo>
                <a:cubicBezTo>
                  <a:pt x="1663" y="1229"/>
                  <a:pt x="1663" y="1229"/>
                  <a:pt x="1663" y="1229"/>
                </a:cubicBezTo>
                <a:cubicBezTo>
                  <a:pt x="1652" y="1239"/>
                  <a:pt x="1652" y="1239"/>
                  <a:pt x="1652" y="1239"/>
                </a:cubicBezTo>
                <a:cubicBezTo>
                  <a:pt x="1667" y="1244"/>
                  <a:pt x="1667" y="1244"/>
                  <a:pt x="1667" y="1244"/>
                </a:cubicBezTo>
                <a:cubicBezTo>
                  <a:pt x="1637" y="1256"/>
                  <a:pt x="1637" y="1256"/>
                  <a:pt x="1637" y="1256"/>
                </a:cubicBezTo>
                <a:cubicBezTo>
                  <a:pt x="1623" y="1264"/>
                  <a:pt x="1623" y="1264"/>
                  <a:pt x="1623" y="1264"/>
                </a:cubicBezTo>
                <a:cubicBezTo>
                  <a:pt x="1637" y="1270"/>
                  <a:pt x="1637" y="1270"/>
                  <a:pt x="1637" y="1270"/>
                </a:cubicBezTo>
                <a:cubicBezTo>
                  <a:pt x="1637" y="1270"/>
                  <a:pt x="1636" y="1273"/>
                  <a:pt x="1634" y="1277"/>
                </a:cubicBezTo>
                <a:cubicBezTo>
                  <a:pt x="1632" y="1282"/>
                  <a:pt x="1631" y="1287"/>
                  <a:pt x="1630" y="1291"/>
                </a:cubicBezTo>
                <a:cubicBezTo>
                  <a:pt x="1629" y="1298"/>
                  <a:pt x="1624" y="1312"/>
                  <a:pt x="1624" y="1312"/>
                </a:cubicBezTo>
                <a:cubicBezTo>
                  <a:pt x="1615" y="1318"/>
                  <a:pt x="1615" y="1318"/>
                  <a:pt x="1615" y="1318"/>
                </a:cubicBezTo>
                <a:cubicBezTo>
                  <a:pt x="1615" y="1318"/>
                  <a:pt x="1624" y="1322"/>
                  <a:pt x="1625" y="1329"/>
                </a:cubicBezTo>
                <a:cubicBezTo>
                  <a:pt x="1626" y="1336"/>
                  <a:pt x="1633" y="1339"/>
                  <a:pt x="1633" y="1339"/>
                </a:cubicBezTo>
                <a:cubicBezTo>
                  <a:pt x="1633" y="1339"/>
                  <a:pt x="1683" y="1300"/>
                  <a:pt x="1683" y="1309"/>
                </a:cubicBezTo>
                <a:cubicBezTo>
                  <a:pt x="1683" y="1318"/>
                  <a:pt x="1667" y="1319"/>
                  <a:pt x="1665" y="1324"/>
                </a:cubicBezTo>
                <a:cubicBezTo>
                  <a:pt x="1663" y="1329"/>
                  <a:pt x="1667" y="1339"/>
                  <a:pt x="1667" y="1339"/>
                </a:cubicBezTo>
                <a:cubicBezTo>
                  <a:pt x="1676" y="1346"/>
                  <a:pt x="1676" y="1346"/>
                  <a:pt x="1676" y="1346"/>
                </a:cubicBezTo>
                <a:cubicBezTo>
                  <a:pt x="1647" y="1345"/>
                  <a:pt x="1647" y="1345"/>
                  <a:pt x="1647" y="1345"/>
                </a:cubicBezTo>
                <a:cubicBezTo>
                  <a:pt x="1647" y="1345"/>
                  <a:pt x="1625" y="1372"/>
                  <a:pt x="1635" y="1373"/>
                </a:cubicBezTo>
                <a:cubicBezTo>
                  <a:pt x="1645" y="1374"/>
                  <a:pt x="1651" y="1380"/>
                  <a:pt x="1651" y="1380"/>
                </a:cubicBezTo>
                <a:cubicBezTo>
                  <a:pt x="1651" y="1380"/>
                  <a:pt x="1639" y="1401"/>
                  <a:pt x="1646" y="1398"/>
                </a:cubicBezTo>
                <a:cubicBezTo>
                  <a:pt x="1653" y="1395"/>
                  <a:pt x="1694" y="1367"/>
                  <a:pt x="1694" y="1367"/>
                </a:cubicBezTo>
                <a:cubicBezTo>
                  <a:pt x="1693" y="1376"/>
                  <a:pt x="1693" y="1376"/>
                  <a:pt x="1693" y="1376"/>
                </a:cubicBezTo>
                <a:cubicBezTo>
                  <a:pt x="1674" y="1387"/>
                  <a:pt x="1674" y="1387"/>
                  <a:pt x="1674" y="1387"/>
                </a:cubicBezTo>
                <a:cubicBezTo>
                  <a:pt x="1689" y="1393"/>
                  <a:pt x="1689" y="1393"/>
                  <a:pt x="1689" y="1393"/>
                </a:cubicBezTo>
                <a:cubicBezTo>
                  <a:pt x="1689" y="1393"/>
                  <a:pt x="1684" y="1413"/>
                  <a:pt x="1676" y="1411"/>
                </a:cubicBezTo>
                <a:cubicBezTo>
                  <a:pt x="1668" y="1409"/>
                  <a:pt x="1666" y="1400"/>
                  <a:pt x="1666" y="1400"/>
                </a:cubicBezTo>
                <a:cubicBezTo>
                  <a:pt x="1666" y="1400"/>
                  <a:pt x="1633" y="1410"/>
                  <a:pt x="1627" y="1416"/>
                </a:cubicBezTo>
                <a:cubicBezTo>
                  <a:pt x="1621" y="1422"/>
                  <a:pt x="1615" y="1430"/>
                  <a:pt x="1615" y="1430"/>
                </a:cubicBezTo>
                <a:cubicBezTo>
                  <a:pt x="1615" y="1430"/>
                  <a:pt x="1633" y="1425"/>
                  <a:pt x="1638" y="1425"/>
                </a:cubicBezTo>
                <a:cubicBezTo>
                  <a:pt x="1643" y="1425"/>
                  <a:pt x="1664" y="1425"/>
                  <a:pt x="1664" y="1425"/>
                </a:cubicBezTo>
                <a:cubicBezTo>
                  <a:pt x="1664" y="1425"/>
                  <a:pt x="1628" y="1434"/>
                  <a:pt x="1622" y="1437"/>
                </a:cubicBezTo>
                <a:cubicBezTo>
                  <a:pt x="1616" y="1440"/>
                  <a:pt x="1620" y="1448"/>
                  <a:pt x="1620" y="1448"/>
                </a:cubicBezTo>
                <a:cubicBezTo>
                  <a:pt x="1620" y="1448"/>
                  <a:pt x="1587" y="1436"/>
                  <a:pt x="1596" y="1450"/>
                </a:cubicBezTo>
                <a:cubicBezTo>
                  <a:pt x="1605" y="1464"/>
                  <a:pt x="1614" y="1468"/>
                  <a:pt x="1614" y="1468"/>
                </a:cubicBezTo>
                <a:cubicBezTo>
                  <a:pt x="1646" y="1457"/>
                  <a:pt x="1646" y="1457"/>
                  <a:pt x="1646" y="1457"/>
                </a:cubicBezTo>
                <a:cubicBezTo>
                  <a:pt x="1655" y="1472"/>
                  <a:pt x="1655" y="1472"/>
                  <a:pt x="1655" y="1472"/>
                </a:cubicBezTo>
                <a:cubicBezTo>
                  <a:pt x="1680" y="1458"/>
                  <a:pt x="1680" y="1458"/>
                  <a:pt x="1680" y="1458"/>
                </a:cubicBezTo>
                <a:cubicBezTo>
                  <a:pt x="1680" y="1458"/>
                  <a:pt x="1647" y="1492"/>
                  <a:pt x="1658" y="1491"/>
                </a:cubicBezTo>
                <a:cubicBezTo>
                  <a:pt x="1669" y="1490"/>
                  <a:pt x="1699" y="1467"/>
                  <a:pt x="1699" y="1467"/>
                </a:cubicBezTo>
                <a:cubicBezTo>
                  <a:pt x="1699" y="1467"/>
                  <a:pt x="1672" y="1497"/>
                  <a:pt x="1676" y="1497"/>
                </a:cubicBezTo>
                <a:cubicBezTo>
                  <a:pt x="1680" y="1497"/>
                  <a:pt x="1698" y="1492"/>
                  <a:pt x="1698" y="1492"/>
                </a:cubicBezTo>
                <a:cubicBezTo>
                  <a:pt x="1698" y="1492"/>
                  <a:pt x="1660" y="1521"/>
                  <a:pt x="1672" y="1522"/>
                </a:cubicBezTo>
                <a:cubicBezTo>
                  <a:pt x="1684" y="1523"/>
                  <a:pt x="1711" y="1503"/>
                  <a:pt x="1711" y="1503"/>
                </a:cubicBezTo>
                <a:cubicBezTo>
                  <a:pt x="1711" y="1503"/>
                  <a:pt x="1685" y="1531"/>
                  <a:pt x="1692" y="1533"/>
                </a:cubicBezTo>
                <a:cubicBezTo>
                  <a:pt x="1699" y="1535"/>
                  <a:pt x="1715" y="1539"/>
                  <a:pt x="1715" y="1542"/>
                </a:cubicBezTo>
                <a:cubicBezTo>
                  <a:pt x="1715" y="1544"/>
                  <a:pt x="1713" y="1561"/>
                  <a:pt x="1710" y="1574"/>
                </a:cubicBezTo>
                <a:cubicBezTo>
                  <a:pt x="1710" y="1574"/>
                  <a:pt x="1710" y="1574"/>
                  <a:pt x="1710" y="1574"/>
                </a:cubicBezTo>
                <a:cubicBezTo>
                  <a:pt x="1709" y="1581"/>
                  <a:pt x="1707" y="1587"/>
                  <a:pt x="1706" y="1589"/>
                </a:cubicBezTo>
                <a:cubicBezTo>
                  <a:pt x="1702" y="1595"/>
                  <a:pt x="1701" y="1619"/>
                  <a:pt x="1701" y="1619"/>
                </a:cubicBezTo>
                <a:cubicBezTo>
                  <a:pt x="1679" y="1631"/>
                  <a:pt x="1679" y="1631"/>
                  <a:pt x="1679" y="1631"/>
                </a:cubicBezTo>
                <a:cubicBezTo>
                  <a:pt x="1677" y="1643"/>
                  <a:pt x="1677" y="1643"/>
                  <a:pt x="1677" y="1643"/>
                </a:cubicBezTo>
                <a:cubicBezTo>
                  <a:pt x="1666" y="1658"/>
                  <a:pt x="1666" y="1658"/>
                  <a:pt x="1666" y="1658"/>
                </a:cubicBezTo>
                <a:cubicBezTo>
                  <a:pt x="1634" y="1669"/>
                  <a:pt x="1634" y="1669"/>
                  <a:pt x="1634" y="1669"/>
                </a:cubicBezTo>
                <a:cubicBezTo>
                  <a:pt x="1657" y="1656"/>
                  <a:pt x="1657" y="1656"/>
                  <a:pt x="1657" y="1656"/>
                </a:cubicBezTo>
                <a:cubicBezTo>
                  <a:pt x="1642" y="1654"/>
                  <a:pt x="1642" y="1654"/>
                  <a:pt x="1642" y="1654"/>
                </a:cubicBezTo>
                <a:cubicBezTo>
                  <a:pt x="1642" y="1654"/>
                  <a:pt x="1656" y="1634"/>
                  <a:pt x="1660" y="1631"/>
                </a:cubicBezTo>
                <a:cubicBezTo>
                  <a:pt x="1664" y="1628"/>
                  <a:pt x="1684" y="1614"/>
                  <a:pt x="1674" y="1614"/>
                </a:cubicBezTo>
                <a:cubicBezTo>
                  <a:pt x="1664" y="1614"/>
                  <a:pt x="1655" y="1616"/>
                  <a:pt x="1645" y="1615"/>
                </a:cubicBezTo>
                <a:cubicBezTo>
                  <a:pt x="1635" y="1614"/>
                  <a:pt x="1626" y="1596"/>
                  <a:pt x="1617" y="1600"/>
                </a:cubicBezTo>
                <a:cubicBezTo>
                  <a:pt x="1608" y="1604"/>
                  <a:pt x="1599" y="1596"/>
                  <a:pt x="1597" y="1617"/>
                </a:cubicBezTo>
                <a:cubicBezTo>
                  <a:pt x="1595" y="1638"/>
                  <a:pt x="1597" y="1650"/>
                  <a:pt x="1594" y="1652"/>
                </a:cubicBezTo>
                <a:cubicBezTo>
                  <a:pt x="1591" y="1654"/>
                  <a:pt x="1581" y="1669"/>
                  <a:pt x="1581" y="1669"/>
                </a:cubicBezTo>
                <a:cubicBezTo>
                  <a:pt x="1599" y="1673"/>
                  <a:pt x="1599" y="1673"/>
                  <a:pt x="1599" y="1673"/>
                </a:cubicBezTo>
                <a:cubicBezTo>
                  <a:pt x="1580" y="1676"/>
                  <a:pt x="1580" y="1676"/>
                  <a:pt x="1580" y="1676"/>
                </a:cubicBezTo>
                <a:cubicBezTo>
                  <a:pt x="1583" y="1687"/>
                  <a:pt x="1583" y="1687"/>
                  <a:pt x="1583" y="1687"/>
                </a:cubicBezTo>
                <a:cubicBezTo>
                  <a:pt x="1572" y="1704"/>
                  <a:pt x="1572" y="1704"/>
                  <a:pt x="1572" y="1704"/>
                </a:cubicBezTo>
                <a:cubicBezTo>
                  <a:pt x="1572" y="1704"/>
                  <a:pt x="1593" y="1712"/>
                  <a:pt x="1592" y="1716"/>
                </a:cubicBezTo>
                <a:cubicBezTo>
                  <a:pt x="1591" y="1720"/>
                  <a:pt x="1560" y="1714"/>
                  <a:pt x="1560" y="1714"/>
                </a:cubicBezTo>
                <a:cubicBezTo>
                  <a:pt x="1560" y="1714"/>
                  <a:pt x="1521" y="1774"/>
                  <a:pt x="1511" y="1786"/>
                </a:cubicBezTo>
                <a:cubicBezTo>
                  <a:pt x="1501" y="1798"/>
                  <a:pt x="1454" y="1854"/>
                  <a:pt x="1454" y="1854"/>
                </a:cubicBezTo>
                <a:cubicBezTo>
                  <a:pt x="1456" y="1869"/>
                  <a:pt x="1456" y="1869"/>
                  <a:pt x="1456" y="1869"/>
                </a:cubicBezTo>
                <a:cubicBezTo>
                  <a:pt x="1456" y="1869"/>
                  <a:pt x="1443" y="1871"/>
                  <a:pt x="1432" y="1883"/>
                </a:cubicBezTo>
                <a:cubicBezTo>
                  <a:pt x="1421" y="1895"/>
                  <a:pt x="1421" y="1913"/>
                  <a:pt x="1421" y="1913"/>
                </a:cubicBezTo>
                <a:cubicBezTo>
                  <a:pt x="1408" y="1926"/>
                  <a:pt x="1408" y="1926"/>
                  <a:pt x="1408" y="1926"/>
                </a:cubicBezTo>
                <a:cubicBezTo>
                  <a:pt x="1405" y="1960"/>
                  <a:pt x="1405" y="1960"/>
                  <a:pt x="1405" y="1960"/>
                </a:cubicBezTo>
                <a:cubicBezTo>
                  <a:pt x="1405" y="1960"/>
                  <a:pt x="1381" y="1992"/>
                  <a:pt x="1375" y="1998"/>
                </a:cubicBezTo>
                <a:cubicBezTo>
                  <a:pt x="1369" y="2004"/>
                  <a:pt x="1348" y="2016"/>
                  <a:pt x="1350" y="2027"/>
                </a:cubicBezTo>
                <a:cubicBezTo>
                  <a:pt x="1352" y="2038"/>
                  <a:pt x="1368" y="2045"/>
                  <a:pt x="1365" y="2055"/>
                </a:cubicBezTo>
                <a:cubicBezTo>
                  <a:pt x="1362" y="2065"/>
                  <a:pt x="1342" y="2089"/>
                  <a:pt x="1342" y="2101"/>
                </a:cubicBezTo>
                <a:cubicBezTo>
                  <a:pt x="1342" y="2113"/>
                  <a:pt x="1355" y="2154"/>
                  <a:pt x="1355" y="2154"/>
                </a:cubicBezTo>
                <a:cubicBezTo>
                  <a:pt x="1371" y="2144"/>
                  <a:pt x="1371" y="2144"/>
                  <a:pt x="1371" y="2144"/>
                </a:cubicBezTo>
                <a:cubicBezTo>
                  <a:pt x="1416" y="2148"/>
                  <a:pt x="1416" y="2148"/>
                  <a:pt x="1416" y="2148"/>
                </a:cubicBezTo>
                <a:cubicBezTo>
                  <a:pt x="1416" y="2148"/>
                  <a:pt x="1378" y="2148"/>
                  <a:pt x="1375" y="2154"/>
                </a:cubicBezTo>
                <a:cubicBezTo>
                  <a:pt x="1372" y="2160"/>
                  <a:pt x="1373" y="2174"/>
                  <a:pt x="1373" y="2174"/>
                </a:cubicBezTo>
                <a:cubicBezTo>
                  <a:pt x="1373" y="2174"/>
                  <a:pt x="1362" y="2159"/>
                  <a:pt x="1358" y="2165"/>
                </a:cubicBezTo>
                <a:cubicBezTo>
                  <a:pt x="1354" y="2171"/>
                  <a:pt x="1344" y="2190"/>
                  <a:pt x="1349" y="2198"/>
                </a:cubicBezTo>
                <a:cubicBezTo>
                  <a:pt x="1354" y="2206"/>
                  <a:pt x="1367" y="2206"/>
                  <a:pt x="1367" y="2206"/>
                </a:cubicBezTo>
                <a:cubicBezTo>
                  <a:pt x="1367" y="2206"/>
                  <a:pt x="1365" y="2227"/>
                  <a:pt x="1362" y="2227"/>
                </a:cubicBezTo>
                <a:cubicBezTo>
                  <a:pt x="1359" y="2227"/>
                  <a:pt x="1349" y="2239"/>
                  <a:pt x="1349" y="2248"/>
                </a:cubicBezTo>
                <a:cubicBezTo>
                  <a:pt x="1349" y="2257"/>
                  <a:pt x="1362" y="2272"/>
                  <a:pt x="1362" y="2272"/>
                </a:cubicBezTo>
                <a:cubicBezTo>
                  <a:pt x="1362" y="2272"/>
                  <a:pt x="1382" y="2302"/>
                  <a:pt x="1381" y="2309"/>
                </a:cubicBezTo>
                <a:cubicBezTo>
                  <a:pt x="1380" y="2316"/>
                  <a:pt x="1358" y="2338"/>
                  <a:pt x="1370" y="2342"/>
                </a:cubicBezTo>
                <a:cubicBezTo>
                  <a:pt x="1382" y="2346"/>
                  <a:pt x="1407" y="2346"/>
                  <a:pt x="1407" y="2346"/>
                </a:cubicBezTo>
                <a:cubicBezTo>
                  <a:pt x="1407" y="2346"/>
                  <a:pt x="1409" y="2367"/>
                  <a:pt x="1421" y="2367"/>
                </a:cubicBezTo>
                <a:cubicBezTo>
                  <a:pt x="1433" y="2367"/>
                  <a:pt x="1450" y="2361"/>
                  <a:pt x="1450" y="2361"/>
                </a:cubicBezTo>
                <a:cubicBezTo>
                  <a:pt x="1453" y="2380"/>
                  <a:pt x="1453" y="2380"/>
                  <a:pt x="1453" y="2380"/>
                </a:cubicBezTo>
                <a:cubicBezTo>
                  <a:pt x="1453" y="2380"/>
                  <a:pt x="1485" y="2391"/>
                  <a:pt x="1485" y="2406"/>
                </a:cubicBezTo>
                <a:cubicBezTo>
                  <a:pt x="1485" y="2414"/>
                  <a:pt x="1482" y="2428"/>
                  <a:pt x="1480" y="2440"/>
                </a:cubicBezTo>
                <a:cubicBezTo>
                  <a:pt x="1478" y="2450"/>
                  <a:pt x="1476" y="2458"/>
                  <a:pt x="1476" y="2463"/>
                </a:cubicBezTo>
                <a:cubicBezTo>
                  <a:pt x="1476" y="2474"/>
                  <a:pt x="1489" y="2492"/>
                  <a:pt x="1489" y="2492"/>
                </a:cubicBezTo>
                <a:cubicBezTo>
                  <a:pt x="1478" y="2499"/>
                  <a:pt x="1478" y="2499"/>
                  <a:pt x="1478" y="2499"/>
                </a:cubicBezTo>
                <a:cubicBezTo>
                  <a:pt x="1486" y="2514"/>
                  <a:pt x="1486" y="2514"/>
                  <a:pt x="1486" y="2514"/>
                </a:cubicBezTo>
                <a:cubicBezTo>
                  <a:pt x="1479" y="2524"/>
                  <a:pt x="1479" y="2524"/>
                  <a:pt x="1479" y="2524"/>
                </a:cubicBezTo>
                <a:cubicBezTo>
                  <a:pt x="1492" y="2535"/>
                  <a:pt x="1492" y="2535"/>
                  <a:pt x="1492" y="2535"/>
                </a:cubicBezTo>
                <a:cubicBezTo>
                  <a:pt x="1481" y="2555"/>
                  <a:pt x="1481" y="2555"/>
                  <a:pt x="1481" y="2555"/>
                </a:cubicBezTo>
                <a:cubicBezTo>
                  <a:pt x="1490" y="2559"/>
                  <a:pt x="1490" y="2559"/>
                  <a:pt x="1490" y="2559"/>
                </a:cubicBezTo>
                <a:cubicBezTo>
                  <a:pt x="1490" y="2559"/>
                  <a:pt x="1487" y="2600"/>
                  <a:pt x="1496" y="2609"/>
                </a:cubicBezTo>
                <a:cubicBezTo>
                  <a:pt x="1505" y="2618"/>
                  <a:pt x="1518" y="2614"/>
                  <a:pt x="1518" y="2614"/>
                </a:cubicBezTo>
                <a:cubicBezTo>
                  <a:pt x="1518" y="2614"/>
                  <a:pt x="1542" y="2657"/>
                  <a:pt x="1542" y="2665"/>
                </a:cubicBezTo>
                <a:cubicBezTo>
                  <a:pt x="1542" y="2673"/>
                  <a:pt x="1523" y="2698"/>
                  <a:pt x="1523" y="2698"/>
                </a:cubicBezTo>
                <a:cubicBezTo>
                  <a:pt x="1534" y="2705"/>
                  <a:pt x="1534" y="2705"/>
                  <a:pt x="1534" y="2705"/>
                </a:cubicBezTo>
                <a:cubicBezTo>
                  <a:pt x="1526" y="2714"/>
                  <a:pt x="1526" y="2714"/>
                  <a:pt x="1526" y="2714"/>
                </a:cubicBezTo>
                <a:cubicBezTo>
                  <a:pt x="1517" y="2702"/>
                  <a:pt x="1517" y="2702"/>
                  <a:pt x="1517" y="2702"/>
                </a:cubicBezTo>
                <a:cubicBezTo>
                  <a:pt x="1483" y="2699"/>
                  <a:pt x="1483" y="2699"/>
                  <a:pt x="1483" y="2699"/>
                </a:cubicBezTo>
                <a:cubicBezTo>
                  <a:pt x="1499" y="2717"/>
                  <a:pt x="1499" y="2717"/>
                  <a:pt x="1499" y="2717"/>
                </a:cubicBezTo>
                <a:cubicBezTo>
                  <a:pt x="1505" y="2733"/>
                  <a:pt x="1505" y="2733"/>
                  <a:pt x="1505" y="2733"/>
                </a:cubicBezTo>
                <a:cubicBezTo>
                  <a:pt x="1519" y="2734"/>
                  <a:pt x="1519" y="2734"/>
                  <a:pt x="1519" y="2734"/>
                </a:cubicBezTo>
                <a:cubicBezTo>
                  <a:pt x="1519" y="2734"/>
                  <a:pt x="1536" y="2757"/>
                  <a:pt x="1541" y="2755"/>
                </a:cubicBezTo>
                <a:cubicBezTo>
                  <a:pt x="1546" y="2753"/>
                  <a:pt x="1561" y="2743"/>
                  <a:pt x="1561" y="2743"/>
                </a:cubicBezTo>
                <a:cubicBezTo>
                  <a:pt x="1561" y="2743"/>
                  <a:pt x="1560" y="2766"/>
                  <a:pt x="1567" y="2775"/>
                </a:cubicBezTo>
                <a:cubicBezTo>
                  <a:pt x="1574" y="2784"/>
                  <a:pt x="1589" y="2796"/>
                  <a:pt x="1589" y="2806"/>
                </a:cubicBezTo>
                <a:cubicBezTo>
                  <a:pt x="1589" y="2816"/>
                  <a:pt x="1572" y="2836"/>
                  <a:pt x="1578" y="2850"/>
                </a:cubicBezTo>
                <a:cubicBezTo>
                  <a:pt x="1584" y="2864"/>
                  <a:pt x="1604" y="2880"/>
                  <a:pt x="1618" y="2897"/>
                </a:cubicBezTo>
                <a:cubicBezTo>
                  <a:pt x="1632" y="2914"/>
                  <a:pt x="1651" y="2935"/>
                  <a:pt x="1651" y="2935"/>
                </a:cubicBezTo>
                <a:cubicBezTo>
                  <a:pt x="1651" y="2935"/>
                  <a:pt x="1638" y="2962"/>
                  <a:pt x="1654" y="2963"/>
                </a:cubicBezTo>
                <a:cubicBezTo>
                  <a:pt x="1670" y="2964"/>
                  <a:pt x="1686" y="2944"/>
                  <a:pt x="1686" y="2944"/>
                </a:cubicBezTo>
                <a:cubicBezTo>
                  <a:pt x="1682" y="2931"/>
                  <a:pt x="1682" y="2931"/>
                  <a:pt x="1682" y="2931"/>
                </a:cubicBezTo>
                <a:cubicBezTo>
                  <a:pt x="1682" y="2931"/>
                  <a:pt x="1674" y="2895"/>
                  <a:pt x="1666" y="2891"/>
                </a:cubicBezTo>
                <a:cubicBezTo>
                  <a:pt x="1658" y="2887"/>
                  <a:pt x="1648" y="2890"/>
                  <a:pt x="1648" y="2890"/>
                </a:cubicBezTo>
                <a:cubicBezTo>
                  <a:pt x="1636" y="2873"/>
                  <a:pt x="1636" y="2873"/>
                  <a:pt x="1636" y="2873"/>
                </a:cubicBezTo>
                <a:cubicBezTo>
                  <a:pt x="1636" y="2873"/>
                  <a:pt x="1640" y="2860"/>
                  <a:pt x="1638" y="2852"/>
                </a:cubicBezTo>
                <a:cubicBezTo>
                  <a:pt x="1636" y="2844"/>
                  <a:pt x="1638" y="2825"/>
                  <a:pt x="1638" y="2825"/>
                </a:cubicBezTo>
                <a:cubicBezTo>
                  <a:pt x="1626" y="2803"/>
                  <a:pt x="1626" y="2803"/>
                  <a:pt x="1626" y="2803"/>
                </a:cubicBezTo>
                <a:cubicBezTo>
                  <a:pt x="1626" y="2803"/>
                  <a:pt x="1636" y="2779"/>
                  <a:pt x="1632" y="2767"/>
                </a:cubicBezTo>
                <a:cubicBezTo>
                  <a:pt x="1628" y="2755"/>
                  <a:pt x="1607" y="2757"/>
                  <a:pt x="1607" y="2757"/>
                </a:cubicBezTo>
                <a:cubicBezTo>
                  <a:pt x="1607" y="2726"/>
                  <a:pt x="1607" y="2726"/>
                  <a:pt x="1607" y="2726"/>
                </a:cubicBezTo>
                <a:cubicBezTo>
                  <a:pt x="1590" y="2705"/>
                  <a:pt x="1590" y="2705"/>
                  <a:pt x="1590" y="2705"/>
                </a:cubicBezTo>
                <a:cubicBezTo>
                  <a:pt x="1592" y="2665"/>
                  <a:pt x="1592" y="2665"/>
                  <a:pt x="1592" y="2665"/>
                </a:cubicBezTo>
                <a:cubicBezTo>
                  <a:pt x="1592" y="2665"/>
                  <a:pt x="1578" y="2645"/>
                  <a:pt x="1573" y="2639"/>
                </a:cubicBezTo>
                <a:cubicBezTo>
                  <a:pt x="1568" y="2633"/>
                  <a:pt x="1565" y="2608"/>
                  <a:pt x="1565" y="2608"/>
                </a:cubicBezTo>
                <a:cubicBezTo>
                  <a:pt x="1565" y="2608"/>
                  <a:pt x="1539" y="2570"/>
                  <a:pt x="1542" y="2566"/>
                </a:cubicBezTo>
                <a:cubicBezTo>
                  <a:pt x="1545" y="2562"/>
                  <a:pt x="1555" y="2545"/>
                  <a:pt x="1551" y="2533"/>
                </a:cubicBezTo>
                <a:cubicBezTo>
                  <a:pt x="1547" y="2521"/>
                  <a:pt x="1561" y="2505"/>
                  <a:pt x="1561" y="2505"/>
                </a:cubicBezTo>
                <a:cubicBezTo>
                  <a:pt x="1560" y="2480"/>
                  <a:pt x="1560" y="2480"/>
                  <a:pt x="1560" y="2480"/>
                </a:cubicBezTo>
                <a:cubicBezTo>
                  <a:pt x="1560" y="2480"/>
                  <a:pt x="1580" y="2500"/>
                  <a:pt x="1589" y="2500"/>
                </a:cubicBezTo>
                <a:cubicBezTo>
                  <a:pt x="1598" y="2500"/>
                  <a:pt x="1610" y="2496"/>
                  <a:pt x="1610" y="2496"/>
                </a:cubicBezTo>
                <a:cubicBezTo>
                  <a:pt x="1610" y="2496"/>
                  <a:pt x="1607" y="2507"/>
                  <a:pt x="1614" y="2511"/>
                </a:cubicBezTo>
                <a:cubicBezTo>
                  <a:pt x="1621" y="2515"/>
                  <a:pt x="1631" y="2515"/>
                  <a:pt x="1631" y="2515"/>
                </a:cubicBezTo>
                <a:cubicBezTo>
                  <a:pt x="1631" y="2515"/>
                  <a:pt x="1628" y="2526"/>
                  <a:pt x="1628" y="2544"/>
                </a:cubicBezTo>
                <a:cubicBezTo>
                  <a:pt x="1628" y="2562"/>
                  <a:pt x="1636" y="2618"/>
                  <a:pt x="1636" y="2618"/>
                </a:cubicBezTo>
                <a:cubicBezTo>
                  <a:pt x="1636" y="2618"/>
                  <a:pt x="1657" y="2693"/>
                  <a:pt x="1665" y="2695"/>
                </a:cubicBezTo>
                <a:cubicBezTo>
                  <a:pt x="1673" y="2697"/>
                  <a:pt x="1693" y="2695"/>
                  <a:pt x="1693" y="2695"/>
                </a:cubicBezTo>
                <a:cubicBezTo>
                  <a:pt x="1693" y="2695"/>
                  <a:pt x="1675" y="2706"/>
                  <a:pt x="1684" y="2722"/>
                </a:cubicBezTo>
                <a:cubicBezTo>
                  <a:pt x="1693" y="2738"/>
                  <a:pt x="1710" y="2740"/>
                  <a:pt x="1710" y="2740"/>
                </a:cubicBezTo>
                <a:cubicBezTo>
                  <a:pt x="1712" y="2755"/>
                  <a:pt x="1712" y="2755"/>
                  <a:pt x="1712" y="2755"/>
                </a:cubicBezTo>
                <a:cubicBezTo>
                  <a:pt x="1733" y="2756"/>
                  <a:pt x="1733" y="2756"/>
                  <a:pt x="1733" y="2756"/>
                </a:cubicBezTo>
                <a:cubicBezTo>
                  <a:pt x="1736" y="2784"/>
                  <a:pt x="1736" y="2784"/>
                  <a:pt x="1736" y="2784"/>
                </a:cubicBezTo>
                <a:cubicBezTo>
                  <a:pt x="1736" y="2784"/>
                  <a:pt x="1704" y="2797"/>
                  <a:pt x="1714" y="2812"/>
                </a:cubicBezTo>
                <a:cubicBezTo>
                  <a:pt x="1724" y="2827"/>
                  <a:pt x="1731" y="2813"/>
                  <a:pt x="1731" y="2813"/>
                </a:cubicBezTo>
                <a:cubicBezTo>
                  <a:pt x="1731" y="2813"/>
                  <a:pt x="1740" y="2833"/>
                  <a:pt x="1746" y="2835"/>
                </a:cubicBezTo>
                <a:cubicBezTo>
                  <a:pt x="1752" y="2837"/>
                  <a:pt x="1770" y="2839"/>
                  <a:pt x="1770" y="2842"/>
                </a:cubicBezTo>
                <a:cubicBezTo>
                  <a:pt x="1770" y="2845"/>
                  <a:pt x="1770" y="2856"/>
                  <a:pt x="1770" y="2856"/>
                </a:cubicBezTo>
                <a:cubicBezTo>
                  <a:pt x="1770" y="2856"/>
                  <a:pt x="1755" y="2875"/>
                  <a:pt x="1766" y="2876"/>
                </a:cubicBezTo>
                <a:cubicBezTo>
                  <a:pt x="1777" y="2877"/>
                  <a:pt x="1789" y="2875"/>
                  <a:pt x="1789" y="2875"/>
                </a:cubicBezTo>
                <a:cubicBezTo>
                  <a:pt x="1789" y="2894"/>
                  <a:pt x="1789" y="2894"/>
                  <a:pt x="1789" y="2894"/>
                </a:cubicBezTo>
                <a:cubicBezTo>
                  <a:pt x="1789" y="2894"/>
                  <a:pt x="1811" y="2919"/>
                  <a:pt x="1821" y="2933"/>
                </a:cubicBezTo>
                <a:cubicBezTo>
                  <a:pt x="1831" y="2947"/>
                  <a:pt x="1849" y="2976"/>
                  <a:pt x="1849" y="2985"/>
                </a:cubicBezTo>
                <a:cubicBezTo>
                  <a:pt x="1849" y="2994"/>
                  <a:pt x="1846" y="3000"/>
                  <a:pt x="1847" y="3013"/>
                </a:cubicBezTo>
                <a:cubicBezTo>
                  <a:pt x="1848" y="3026"/>
                  <a:pt x="1862" y="3033"/>
                  <a:pt x="1860" y="3044"/>
                </a:cubicBezTo>
                <a:cubicBezTo>
                  <a:pt x="1858" y="3055"/>
                  <a:pt x="1840" y="3063"/>
                  <a:pt x="1840" y="3070"/>
                </a:cubicBezTo>
                <a:cubicBezTo>
                  <a:pt x="1840" y="3077"/>
                  <a:pt x="1851" y="3083"/>
                  <a:pt x="1851" y="3083"/>
                </a:cubicBezTo>
                <a:cubicBezTo>
                  <a:pt x="1851" y="3083"/>
                  <a:pt x="1827" y="3080"/>
                  <a:pt x="1827" y="3097"/>
                </a:cubicBezTo>
                <a:cubicBezTo>
                  <a:pt x="1827" y="3114"/>
                  <a:pt x="1826" y="3155"/>
                  <a:pt x="1849" y="3157"/>
                </a:cubicBezTo>
                <a:cubicBezTo>
                  <a:pt x="1872" y="3159"/>
                  <a:pt x="1892" y="3165"/>
                  <a:pt x="1899" y="3178"/>
                </a:cubicBezTo>
                <a:cubicBezTo>
                  <a:pt x="1906" y="3191"/>
                  <a:pt x="1913" y="3217"/>
                  <a:pt x="1929" y="3219"/>
                </a:cubicBezTo>
                <a:cubicBezTo>
                  <a:pt x="1945" y="3221"/>
                  <a:pt x="1972" y="3215"/>
                  <a:pt x="1983" y="3226"/>
                </a:cubicBezTo>
                <a:cubicBezTo>
                  <a:pt x="1994" y="3237"/>
                  <a:pt x="2001" y="3263"/>
                  <a:pt x="2032" y="3276"/>
                </a:cubicBezTo>
                <a:cubicBezTo>
                  <a:pt x="2063" y="3289"/>
                  <a:pt x="2108" y="3289"/>
                  <a:pt x="2115" y="3299"/>
                </a:cubicBezTo>
                <a:cubicBezTo>
                  <a:pt x="2122" y="3309"/>
                  <a:pt x="2125" y="3319"/>
                  <a:pt x="2135" y="3319"/>
                </a:cubicBezTo>
                <a:cubicBezTo>
                  <a:pt x="2145" y="3319"/>
                  <a:pt x="2153" y="3337"/>
                  <a:pt x="2153" y="3337"/>
                </a:cubicBezTo>
                <a:cubicBezTo>
                  <a:pt x="2153" y="3337"/>
                  <a:pt x="2196" y="3332"/>
                  <a:pt x="2198" y="3335"/>
                </a:cubicBezTo>
                <a:cubicBezTo>
                  <a:pt x="2200" y="3338"/>
                  <a:pt x="2207" y="3359"/>
                  <a:pt x="2221" y="3355"/>
                </a:cubicBezTo>
                <a:cubicBezTo>
                  <a:pt x="2235" y="3351"/>
                  <a:pt x="2305" y="3313"/>
                  <a:pt x="2316" y="3316"/>
                </a:cubicBezTo>
                <a:cubicBezTo>
                  <a:pt x="2327" y="3319"/>
                  <a:pt x="2397" y="3376"/>
                  <a:pt x="2400" y="3384"/>
                </a:cubicBezTo>
                <a:cubicBezTo>
                  <a:pt x="2402" y="3389"/>
                  <a:pt x="2403" y="3402"/>
                  <a:pt x="2409" y="3412"/>
                </a:cubicBezTo>
                <a:cubicBezTo>
                  <a:pt x="2412" y="3418"/>
                  <a:pt x="2416" y="3422"/>
                  <a:pt x="2423" y="3425"/>
                </a:cubicBezTo>
                <a:cubicBezTo>
                  <a:pt x="2442" y="3432"/>
                  <a:pt x="2445" y="3442"/>
                  <a:pt x="2456" y="3446"/>
                </a:cubicBezTo>
                <a:cubicBezTo>
                  <a:pt x="2467" y="3450"/>
                  <a:pt x="2489" y="3446"/>
                  <a:pt x="2489" y="3446"/>
                </a:cubicBezTo>
                <a:cubicBezTo>
                  <a:pt x="2489" y="3446"/>
                  <a:pt x="2495" y="3450"/>
                  <a:pt x="2501" y="3455"/>
                </a:cubicBezTo>
                <a:cubicBezTo>
                  <a:pt x="2508" y="3460"/>
                  <a:pt x="2517" y="3466"/>
                  <a:pt x="2521" y="3468"/>
                </a:cubicBezTo>
                <a:cubicBezTo>
                  <a:pt x="2529" y="3471"/>
                  <a:pt x="2549" y="3469"/>
                  <a:pt x="2549" y="3469"/>
                </a:cubicBezTo>
                <a:cubicBezTo>
                  <a:pt x="2565" y="3482"/>
                  <a:pt x="2565" y="3482"/>
                  <a:pt x="2565" y="3482"/>
                </a:cubicBezTo>
                <a:cubicBezTo>
                  <a:pt x="2587" y="3480"/>
                  <a:pt x="2587" y="3480"/>
                  <a:pt x="2587" y="3480"/>
                </a:cubicBezTo>
                <a:cubicBezTo>
                  <a:pt x="2599" y="3490"/>
                  <a:pt x="2599" y="3490"/>
                  <a:pt x="2599" y="3490"/>
                </a:cubicBezTo>
                <a:cubicBezTo>
                  <a:pt x="2611" y="3471"/>
                  <a:pt x="2611" y="3471"/>
                  <a:pt x="2611" y="3471"/>
                </a:cubicBezTo>
                <a:cubicBezTo>
                  <a:pt x="2618" y="3473"/>
                  <a:pt x="2618" y="3473"/>
                  <a:pt x="2618" y="3473"/>
                </a:cubicBezTo>
                <a:cubicBezTo>
                  <a:pt x="2617" y="3473"/>
                  <a:pt x="2617" y="3473"/>
                  <a:pt x="2617" y="3473"/>
                </a:cubicBezTo>
                <a:cubicBezTo>
                  <a:pt x="2634" y="3478"/>
                  <a:pt x="2634" y="3478"/>
                  <a:pt x="2634" y="3478"/>
                </a:cubicBezTo>
                <a:cubicBezTo>
                  <a:pt x="2641" y="3488"/>
                  <a:pt x="2638" y="3496"/>
                  <a:pt x="2638" y="3496"/>
                </a:cubicBezTo>
                <a:cubicBezTo>
                  <a:pt x="2619" y="3496"/>
                  <a:pt x="2619" y="3496"/>
                  <a:pt x="2619" y="3496"/>
                </a:cubicBezTo>
                <a:cubicBezTo>
                  <a:pt x="2651" y="3530"/>
                  <a:pt x="2651" y="3530"/>
                  <a:pt x="2651" y="3530"/>
                </a:cubicBezTo>
                <a:cubicBezTo>
                  <a:pt x="2651" y="3530"/>
                  <a:pt x="2659" y="3561"/>
                  <a:pt x="2669" y="3569"/>
                </a:cubicBezTo>
                <a:cubicBezTo>
                  <a:pt x="2678" y="3576"/>
                  <a:pt x="2696" y="3590"/>
                  <a:pt x="2699" y="3593"/>
                </a:cubicBezTo>
                <a:cubicBezTo>
                  <a:pt x="2699" y="3593"/>
                  <a:pt x="2699" y="3593"/>
                  <a:pt x="2699" y="3593"/>
                </a:cubicBezTo>
                <a:cubicBezTo>
                  <a:pt x="2690" y="3610"/>
                  <a:pt x="2690" y="3610"/>
                  <a:pt x="2690" y="3610"/>
                </a:cubicBezTo>
                <a:cubicBezTo>
                  <a:pt x="2690" y="3610"/>
                  <a:pt x="2706" y="3619"/>
                  <a:pt x="2700" y="3623"/>
                </a:cubicBezTo>
                <a:cubicBezTo>
                  <a:pt x="2694" y="3627"/>
                  <a:pt x="2680" y="3637"/>
                  <a:pt x="2689" y="3651"/>
                </a:cubicBezTo>
                <a:cubicBezTo>
                  <a:pt x="2698" y="3665"/>
                  <a:pt x="2713" y="3663"/>
                  <a:pt x="2713" y="3663"/>
                </a:cubicBezTo>
                <a:cubicBezTo>
                  <a:pt x="2713" y="3663"/>
                  <a:pt x="2730" y="3683"/>
                  <a:pt x="2733" y="3676"/>
                </a:cubicBezTo>
                <a:cubicBezTo>
                  <a:pt x="2736" y="3669"/>
                  <a:pt x="2731" y="3658"/>
                  <a:pt x="2731" y="3658"/>
                </a:cubicBezTo>
                <a:cubicBezTo>
                  <a:pt x="2731" y="3658"/>
                  <a:pt x="2704" y="3640"/>
                  <a:pt x="2713" y="3640"/>
                </a:cubicBezTo>
                <a:cubicBezTo>
                  <a:pt x="2722" y="3640"/>
                  <a:pt x="2747" y="3661"/>
                  <a:pt x="2747" y="3661"/>
                </a:cubicBezTo>
                <a:cubicBezTo>
                  <a:pt x="2747" y="3661"/>
                  <a:pt x="2744" y="3680"/>
                  <a:pt x="2748" y="3680"/>
                </a:cubicBezTo>
                <a:cubicBezTo>
                  <a:pt x="2752" y="3680"/>
                  <a:pt x="2775" y="3685"/>
                  <a:pt x="2775" y="3685"/>
                </a:cubicBezTo>
                <a:cubicBezTo>
                  <a:pt x="2788" y="3712"/>
                  <a:pt x="2788" y="3712"/>
                  <a:pt x="2788" y="3712"/>
                </a:cubicBezTo>
                <a:cubicBezTo>
                  <a:pt x="2788" y="3712"/>
                  <a:pt x="2779" y="3720"/>
                  <a:pt x="2788" y="3729"/>
                </a:cubicBezTo>
                <a:cubicBezTo>
                  <a:pt x="2797" y="3738"/>
                  <a:pt x="2811" y="3741"/>
                  <a:pt x="2811" y="3741"/>
                </a:cubicBezTo>
                <a:cubicBezTo>
                  <a:pt x="2802" y="3724"/>
                  <a:pt x="2802" y="3724"/>
                  <a:pt x="2802" y="3724"/>
                </a:cubicBezTo>
                <a:cubicBezTo>
                  <a:pt x="2826" y="3748"/>
                  <a:pt x="2826" y="3748"/>
                  <a:pt x="2826" y="3748"/>
                </a:cubicBezTo>
                <a:cubicBezTo>
                  <a:pt x="2854" y="3742"/>
                  <a:pt x="2854" y="3742"/>
                  <a:pt x="2854" y="3742"/>
                </a:cubicBezTo>
                <a:cubicBezTo>
                  <a:pt x="2859" y="3754"/>
                  <a:pt x="2859" y="3754"/>
                  <a:pt x="2859" y="3754"/>
                </a:cubicBezTo>
                <a:cubicBezTo>
                  <a:pt x="2879" y="3753"/>
                  <a:pt x="2879" y="3753"/>
                  <a:pt x="2879" y="3753"/>
                </a:cubicBezTo>
                <a:cubicBezTo>
                  <a:pt x="2879" y="3753"/>
                  <a:pt x="2874" y="3775"/>
                  <a:pt x="2882" y="3780"/>
                </a:cubicBezTo>
                <a:cubicBezTo>
                  <a:pt x="2890" y="3785"/>
                  <a:pt x="2901" y="3775"/>
                  <a:pt x="2901" y="3775"/>
                </a:cubicBezTo>
                <a:cubicBezTo>
                  <a:pt x="2901" y="3762"/>
                  <a:pt x="2901" y="3762"/>
                  <a:pt x="2901" y="3762"/>
                </a:cubicBezTo>
                <a:cubicBezTo>
                  <a:pt x="2912" y="3761"/>
                  <a:pt x="2912" y="3761"/>
                  <a:pt x="2912" y="3761"/>
                </a:cubicBezTo>
                <a:cubicBezTo>
                  <a:pt x="2912" y="3761"/>
                  <a:pt x="2916" y="3814"/>
                  <a:pt x="2930" y="3807"/>
                </a:cubicBezTo>
                <a:cubicBezTo>
                  <a:pt x="2944" y="3800"/>
                  <a:pt x="2958" y="3791"/>
                  <a:pt x="2958" y="3791"/>
                </a:cubicBezTo>
                <a:cubicBezTo>
                  <a:pt x="2958" y="3791"/>
                  <a:pt x="2920" y="3764"/>
                  <a:pt x="2931" y="3754"/>
                </a:cubicBezTo>
                <a:cubicBezTo>
                  <a:pt x="2942" y="3744"/>
                  <a:pt x="2953" y="3743"/>
                  <a:pt x="2962" y="3735"/>
                </a:cubicBezTo>
                <a:cubicBezTo>
                  <a:pt x="2971" y="3727"/>
                  <a:pt x="2982" y="3707"/>
                  <a:pt x="2992" y="3709"/>
                </a:cubicBezTo>
                <a:cubicBezTo>
                  <a:pt x="3002" y="3711"/>
                  <a:pt x="3018" y="3716"/>
                  <a:pt x="3024" y="3720"/>
                </a:cubicBezTo>
                <a:cubicBezTo>
                  <a:pt x="3030" y="3724"/>
                  <a:pt x="3039" y="3739"/>
                  <a:pt x="3039" y="3739"/>
                </a:cubicBezTo>
                <a:cubicBezTo>
                  <a:pt x="3047" y="3736"/>
                  <a:pt x="3047" y="3736"/>
                  <a:pt x="3047" y="3736"/>
                </a:cubicBezTo>
                <a:cubicBezTo>
                  <a:pt x="3069" y="3754"/>
                  <a:pt x="3069" y="3754"/>
                  <a:pt x="3069" y="3754"/>
                </a:cubicBezTo>
                <a:cubicBezTo>
                  <a:pt x="3047" y="3744"/>
                  <a:pt x="3047" y="3744"/>
                  <a:pt x="3047" y="3744"/>
                </a:cubicBezTo>
                <a:cubicBezTo>
                  <a:pt x="3047" y="3744"/>
                  <a:pt x="3044" y="3773"/>
                  <a:pt x="3044" y="3779"/>
                </a:cubicBezTo>
                <a:cubicBezTo>
                  <a:pt x="3044" y="3784"/>
                  <a:pt x="3055" y="3797"/>
                  <a:pt x="3058" y="3801"/>
                </a:cubicBezTo>
                <a:cubicBezTo>
                  <a:pt x="3066" y="3816"/>
                  <a:pt x="3066" y="3816"/>
                  <a:pt x="3066" y="3816"/>
                </a:cubicBezTo>
                <a:cubicBezTo>
                  <a:pt x="3066" y="3823"/>
                  <a:pt x="3066" y="3823"/>
                  <a:pt x="3066" y="3823"/>
                </a:cubicBezTo>
                <a:cubicBezTo>
                  <a:pt x="3066" y="3823"/>
                  <a:pt x="3073" y="3828"/>
                  <a:pt x="3079" y="3840"/>
                </a:cubicBezTo>
                <a:cubicBezTo>
                  <a:pt x="3085" y="3852"/>
                  <a:pt x="3069" y="3853"/>
                  <a:pt x="3069" y="3853"/>
                </a:cubicBezTo>
                <a:cubicBezTo>
                  <a:pt x="3079" y="3868"/>
                  <a:pt x="3079" y="3868"/>
                  <a:pt x="3079" y="3868"/>
                </a:cubicBezTo>
                <a:cubicBezTo>
                  <a:pt x="3084" y="3890"/>
                  <a:pt x="3084" y="3890"/>
                  <a:pt x="3084" y="3890"/>
                </a:cubicBezTo>
                <a:cubicBezTo>
                  <a:pt x="3069" y="3893"/>
                  <a:pt x="3069" y="3893"/>
                  <a:pt x="3069" y="3893"/>
                </a:cubicBezTo>
                <a:cubicBezTo>
                  <a:pt x="3079" y="3906"/>
                  <a:pt x="3079" y="3906"/>
                  <a:pt x="3079" y="3906"/>
                </a:cubicBezTo>
                <a:cubicBezTo>
                  <a:pt x="3079" y="3946"/>
                  <a:pt x="3079" y="3946"/>
                  <a:pt x="3079" y="3946"/>
                </a:cubicBezTo>
                <a:cubicBezTo>
                  <a:pt x="3079" y="3946"/>
                  <a:pt x="3066" y="3956"/>
                  <a:pt x="3066" y="3969"/>
                </a:cubicBezTo>
                <a:cubicBezTo>
                  <a:pt x="3066" y="3982"/>
                  <a:pt x="3083" y="3982"/>
                  <a:pt x="3084" y="3997"/>
                </a:cubicBezTo>
                <a:cubicBezTo>
                  <a:pt x="3085" y="4012"/>
                  <a:pt x="3057" y="4029"/>
                  <a:pt x="3057" y="4029"/>
                </a:cubicBezTo>
                <a:cubicBezTo>
                  <a:pt x="3066" y="4037"/>
                  <a:pt x="3066" y="4037"/>
                  <a:pt x="3066" y="4037"/>
                </a:cubicBezTo>
                <a:cubicBezTo>
                  <a:pt x="3047" y="4054"/>
                  <a:pt x="3047" y="4054"/>
                  <a:pt x="3047" y="4054"/>
                </a:cubicBezTo>
                <a:cubicBezTo>
                  <a:pt x="3047" y="4054"/>
                  <a:pt x="3026" y="4054"/>
                  <a:pt x="3018" y="4063"/>
                </a:cubicBezTo>
                <a:cubicBezTo>
                  <a:pt x="3010" y="4073"/>
                  <a:pt x="3018" y="4095"/>
                  <a:pt x="3018" y="4095"/>
                </a:cubicBezTo>
                <a:cubicBezTo>
                  <a:pt x="3018" y="4095"/>
                  <a:pt x="2993" y="4087"/>
                  <a:pt x="2992" y="4101"/>
                </a:cubicBezTo>
                <a:cubicBezTo>
                  <a:pt x="2992" y="4103"/>
                  <a:pt x="2992" y="4105"/>
                  <a:pt x="2992" y="4107"/>
                </a:cubicBezTo>
                <a:cubicBezTo>
                  <a:pt x="2993" y="4117"/>
                  <a:pt x="2999" y="4121"/>
                  <a:pt x="2995" y="4130"/>
                </a:cubicBezTo>
                <a:cubicBezTo>
                  <a:pt x="2992" y="4139"/>
                  <a:pt x="2962" y="4144"/>
                  <a:pt x="2962" y="4144"/>
                </a:cubicBezTo>
                <a:cubicBezTo>
                  <a:pt x="2960" y="4134"/>
                  <a:pt x="2960" y="4134"/>
                  <a:pt x="2960" y="4134"/>
                </a:cubicBezTo>
                <a:cubicBezTo>
                  <a:pt x="2960" y="4134"/>
                  <a:pt x="2940" y="4145"/>
                  <a:pt x="2938" y="4153"/>
                </a:cubicBezTo>
                <a:cubicBezTo>
                  <a:pt x="2935" y="4161"/>
                  <a:pt x="2945" y="4171"/>
                  <a:pt x="2943" y="4184"/>
                </a:cubicBezTo>
                <a:cubicBezTo>
                  <a:pt x="2942" y="4197"/>
                  <a:pt x="2929" y="4196"/>
                  <a:pt x="2925" y="4204"/>
                </a:cubicBezTo>
                <a:cubicBezTo>
                  <a:pt x="2920" y="4212"/>
                  <a:pt x="2933" y="4226"/>
                  <a:pt x="2933" y="4226"/>
                </a:cubicBezTo>
                <a:cubicBezTo>
                  <a:pt x="2921" y="4226"/>
                  <a:pt x="2921" y="4226"/>
                  <a:pt x="2921" y="4226"/>
                </a:cubicBezTo>
                <a:cubicBezTo>
                  <a:pt x="2920" y="4237"/>
                  <a:pt x="2920" y="4237"/>
                  <a:pt x="2920" y="4237"/>
                </a:cubicBezTo>
                <a:cubicBezTo>
                  <a:pt x="2897" y="4251"/>
                  <a:pt x="2897" y="4251"/>
                  <a:pt x="2897" y="4251"/>
                </a:cubicBezTo>
                <a:cubicBezTo>
                  <a:pt x="2913" y="4261"/>
                  <a:pt x="2913" y="4261"/>
                  <a:pt x="2913" y="4261"/>
                </a:cubicBezTo>
                <a:cubicBezTo>
                  <a:pt x="2902" y="4280"/>
                  <a:pt x="2902" y="4280"/>
                  <a:pt x="2902" y="4280"/>
                </a:cubicBezTo>
                <a:cubicBezTo>
                  <a:pt x="2902" y="4280"/>
                  <a:pt x="2913" y="4283"/>
                  <a:pt x="2912" y="4294"/>
                </a:cubicBezTo>
                <a:cubicBezTo>
                  <a:pt x="2910" y="4305"/>
                  <a:pt x="2897" y="4308"/>
                  <a:pt x="2897" y="4308"/>
                </a:cubicBezTo>
                <a:cubicBezTo>
                  <a:pt x="2906" y="4314"/>
                  <a:pt x="2906" y="4314"/>
                  <a:pt x="2906" y="4314"/>
                </a:cubicBezTo>
                <a:cubicBezTo>
                  <a:pt x="2906" y="4314"/>
                  <a:pt x="2894" y="4328"/>
                  <a:pt x="2916" y="4335"/>
                </a:cubicBezTo>
                <a:cubicBezTo>
                  <a:pt x="2939" y="4342"/>
                  <a:pt x="2942" y="4321"/>
                  <a:pt x="2942" y="4321"/>
                </a:cubicBezTo>
                <a:cubicBezTo>
                  <a:pt x="2959" y="4326"/>
                  <a:pt x="2959" y="4326"/>
                  <a:pt x="2959" y="4326"/>
                </a:cubicBezTo>
                <a:cubicBezTo>
                  <a:pt x="2967" y="4334"/>
                  <a:pt x="2958" y="4353"/>
                  <a:pt x="2955" y="4365"/>
                </a:cubicBezTo>
                <a:cubicBezTo>
                  <a:pt x="2953" y="4377"/>
                  <a:pt x="2930" y="4378"/>
                  <a:pt x="2930" y="4378"/>
                </a:cubicBezTo>
                <a:cubicBezTo>
                  <a:pt x="2930" y="4378"/>
                  <a:pt x="2904" y="4406"/>
                  <a:pt x="2896" y="4413"/>
                </a:cubicBezTo>
                <a:cubicBezTo>
                  <a:pt x="2888" y="4420"/>
                  <a:pt x="2887" y="4431"/>
                  <a:pt x="2887" y="4444"/>
                </a:cubicBezTo>
                <a:cubicBezTo>
                  <a:pt x="2887" y="4457"/>
                  <a:pt x="2899" y="4454"/>
                  <a:pt x="2899" y="4454"/>
                </a:cubicBezTo>
                <a:cubicBezTo>
                  <a:pt x="2896" y="4472"/>
                  <a:pt x="2896" y="4472"/>
                  <a:pt x="2896" y="4472"/>
                </a:cubicBezTo>
                <a:cubicBezTo>
                  <a:pt x="2896" y="4472"/>
                  <a:pt x="2913" y="4482"/>
                  <a:pt x="2914" y="4494"/>
                </a:cubicBezTo>
                <a:cubicBezTo>
                  <a:pt x="2915" y="4506"/>
                  <a:pt x="2895" y="4507"/>
                  <a:pt x="2895" y="4521"/>
                </a:cubicBezTo>
                <a:cubicBezTo>
                  <a:pt x="2895" y="4535"/>
                  <a:pt x="2929" y="4537"/>
                  <a:pt x="2938" y="4542"/>
                </a:cubicBezTo>
                <a:cubicBezTo>
                  <a:pt x="2946" y="4547"/>
                  <a:pt x="2969" y="4579"/>
                  <a:pt x="2972" y="4584"/>
                </a:cubicBezTo>
                <a:cubicBezTo>
                  <a:pt x="2974" y="4588"/>
                  <a:pt x="2986" y="4608"/>
                  <a:pt x="2986" y="4614"/>
                </a:cubicBezTo>
                <a:cubicBezTo>
                  <a:pt x="2986" y="4620"/>
                  <a:pt x="3010" y="4646"/>
                  <a:pt x="3013" y="4652"/>
                </a:cubicBezTo>
                <a:cubicBezTo>
                  <a:pt x="3017" y="4658"/>
                  <a:pt x="3051" y="4712"/>
                  <a:pt x="3051" y="4712"/>
                </a:cubicBezTo>
                <a:cubicBezTo>
                  <a:pt x="3056" y="4737"/>
                  <a:pt x="3056" y="4737"/>
                  <a:pt x="3056" y="4737"/>
                </a:cubicBezTo>
                <a:cubicBezTo>
                  <a:pt x="3056" y="4737"/>
                  <a:pt x="3084" y="4792"/>
                  <a:pt x="3084" y="4799"/>
                </a:cubicBezTo>
                <a:cubicBezTo>
                  <a:pt x="3084" y="4806"/>
                  <a:pt x="3092" y="4806"/>
                  <a:pt x="3101" y="4812"/>
                </a:cubicBezTo>
                <a:cubicBezTo>
                  <a:pt x="3109" y="4818"/>
                  <a:pt x="3105" y="4825"/>
                  <a:pt x="3107" y="4837"/>
                </a:cubicBezTo>
                <a:cubicBezTo>
                  <a:pt x="3108" y="4848"/>
                  <a:pt x="3142" y="4889"/>
                  <a:pt x="3154" y="4905"/>
                </a:cubicBezTo>
                <a:cubicBezTo>
                  <a:pt x="3166" y="4922"/>
                  <a:pt x="3157" y="4944"/>
                  <a:pt x="3157" y="4952"/>
                </a:cubicBezTo>
                <a:cubicBezTo>
                  <a:pt x="3157" y="4961"/>
                  <a:pt x="3180" y="4986"/>
                  <a:pt x="3191" y="4993"/>
                </a:cubicBezTo>
                <a:cubicBezTo>
                  <a:pt x="3201" y="5000"/>
                  <a:pt x="3211" y="5016"/>
                  <a:pt x="3219" y="5025"/>
                </a:cubicBezTo>
                <a:cubicBezTo>
                  <a:pt x="3227" y="5033"/>
                  <a:pt x="3273" y="5051"/>
                  <a:pt x="3287" y="5059"/>
                </a:cubicBezTo>
                <a:cubicBezTo>
                  <a:pt x="3302" y="5067"/>
                  <a:pt x="3329" y="5073"/>
                  <a:pt x="3350" y="5091"/>
                </a:cubicBezTo>
                <a:cubicBezTo>
                  <a:pt x="3371" y="5109"/>
                  <a:pt x="3403" y="5129"/>
                  <a:pt x="3403" y="5129"/>
                </a:cubicBezTo>
                <a:cubicBezTo>
                  <a:pt x="3409" y="5144"/>
                  <a:pt x="3409" y="5144"/>
                  <a:pt x="3409" y="5144"/>
                </a:cubicBezTo>
                <a:cubicBezTo>
                  <a:pt x="3409" y="5144"/>
                  <a:pt x="3420" y="5152"/>
                  <a:pt x="3427" y="5158"/>
                </a:cubicBezTo>
                <a:cubicBezTo>
                  <a:pt x="3434" y="5164"/>
                  <a:pt x="3461" y="5182"/>
                  <a:pt x="3461" y="5182"/>
                </a:cubicBezTo>
                <a:cubicBezTo>
                  <a:pt x="3461" y="5183"/>
                  <a:pt x="3461" y="5183"/>
                  <a:pt x="3461" y="5183"/>
                </a:cubicBezTo>
                <a:cubicBezTo>
                  <a:pt x="3460" y="5209"/>
                  <a:pt x="3460" y="5209"/>
                  <a:pt x="3460" y="5209"/>
                </a:cubicBezTo>
                <a:cubicBezTo>
                  <a:pt x="3460" y="5209"/>
                  <a:pt x="3473" y="5236"/>
                  <a:pt x="3479" y="5256"/>
                </a:cubicBezTo>
                <a:cubicBezTo>
                  <a:pt x="3485" y="5276"/>
                  <a:pt x="3484" y="5306"/>
                  <a:pt x="3484" y="5319"/>
                </a:cubicBezTo>
                <a:cubicBezTo>
                  <a:pt x="3484" y="5332"/>
                  <a:pt x="3492" y="5343"/>
                  <a:pt x="3493" y="5366"/>
                </a:cubicBezTo>
                <a:cubicBezTo>
                  <a:pt x="3494" y="5390"/>
                  <a:pt x="3494" y="5427"/>
                  <a:pt x="3494" y="5427"/>
                </a:cubicBezTo>
                <a:cubicBezTo>
                  <a:pt x="3480" y="5435"/>
                  <a:pt x="3480" y="5435"/>
                  <a:pt x="3480" y="5435"/>
                </a:cubicBezTo>
                <a:cubicBezTo>
                  <a:pt x="3483" y="5455"/>
                  <a:pt x="3483" y="5455"/>
                  <a:pt x="3483" y="5455"/>
                </a:cubicBezTo>
                <a:cubicBezTo>
                  <a:pt x="3498" y="5464"/>
                  <a:pt x="3498" y="5464"/>
                  <a:pt x="3498" y="5464"/>
                </a:cubicBezTo>
                <a:cubicBezTo>
                  <a:pt x="3492" y="5526"/>
                  <a:pt x="3492" y="5526"/>
                  <a:pt x="3492" y="5526"/>
                </a:cubicBezTo>
                <a:cubicBezTo>
                  <a:pt x="3507" y="5554"/>
                  <a:pt x="3507" y="5554"/>
                  <a:pt x="3507" y="5554"/>
                </a:cubicBezTo>
                <a:cubicBezTo>
                  <a:pt x="3496" y="5567"/>
                  <a:pt x="3496" y="5567"/>
                  <a:pt x="3496" y="5567"/>
                </a:cubicBezTo>
                <a:cubicBezTo>
                  <a:pt x="3502" y="5609"/>
                  <a:pt x="3502" y="5609"/>
                  <a:pt x="3502" y="5609"/>
                </a:cubicBezTo>
                <a:cubicBezTo>
                  <a:pt x="3502" y="5609"/>
                  <a:pt x="3509" y="5612"/>
                  <a:pt x="3511" y="5629"/>
                </a:cubicBezTo>
                <a:cubicBezTo>
                  <a:pt x="3513" y="5645"/>
                  <a:pt x="3502" y="5646"/>
                  <a:pt x="3502" y="5646"/>
                </a:cubicBezTo>
                <a:cubicBezTo>
                  <a:pt x="3500" y="5668"/>
                  <a:pt x="3500" y="5668"/>
                  <a:pt x="3500" y="5668"/>
                </a:cubicBezTo>
                <a:cubicBezTo>
                  <a:pt x="3507" y="5677"/>
                  <a:pt x="3507" y="5677"/>
                  <a:pt x="3507" y="5677"/>
                </a:cubicBezTo>
                <a:cubicBezTo>
                  <a:pt x="3507" y="5677"/>
                  <a:pt x="3500" y="5682"/>
                  <a:pt x="3494" y="5696"/>
                </a:cubicBezTo>
                <a:cubicBezTo>
                  <a:pt x="3488" y="5710"/>
                  <a:pt x="3500" y="5708"/>
                  <a:pt x="3500" y="5708"/>
                </a:cubicBezTo>
                <a:cubicBezTo>
                  <a:pt x="3500" y="5708"/>
                  <a:pt x="3504" y="5717"/>
                  <a:pt x="3504" y="5728"/>
                </a:cubicBezTo>
                <a:cubicBezTo>
                  <a:pt x="3504" y="5739"/>
                  <a:pt x="3493" y="5736"/>
                  <a:pt x="3493" y="5756"/>
                </a:cubicBezTo>
                <a:cubicBezTo>
                  <a:pt x="3493" y="5777"/>
                  <a:pt x="3509" y="5775"/>
                  <a:pt x="3512" y="5785"/>
                </a:cubicBezTo>
                <a:cubicBezTo>
                  <a:pt x="3516" y="5794"/>
                  <a:pt x="3512" y="5818"/>
                  <a:pt x="3512" y="5818"/>
                </a:cubicBezTo>
                <a:cubicBezTo>
                  <a:pt x="3512" y="5818"/>
                  <a:pt x="3505" y="5816"/>
                  <a:pt x="3500" y="5818"/>
                </a:cubicBezTo>
                <a:cubicBezTo>
                  <a:pt x="3496" y="5820"/>
                  <a:pt x="3500" y="5837"/>
                  <a:pt x="3507" y="5857"/>
                </a:cubicBezTo>
                <a:cubicBezTo>
                  <a:pt x="3515" y="5877"/>
                  <a:pt x="3526" y="5907"/>
                  <a:pt x="3526" y="5907"/>
                </a:cubicBezTo>
                <a:cubicBezTo>
                  <a:pt x="3526" y="5907"/>
                  <a:pt x="3529" y="5921"/>
                  <a:pt x="3536" y="5927"/>
                </a:cubicBezTo>
                <a:cubicBezTo>
                  <a:pt x="3543" y="5933"/>
                  <a:pt x="3539" y="5963"/>
                  <a:pt x="3539" y="5963"/>
                </a:cubicBezTo>
                <a:cubicBezTo>
                  <a:pt x="3536" y="5982"/>
                  <a:pt x="3536" y="5982"/>
                  <a:pt x="3536" y="5982"/>
                </a:cubicBezTo>
                <a:cubicBezTo>
                  <a:pt x="3552" y="5999"/>
                  <a:pt x="3552" y="5999"/>
                  <a:pt x="3552" y="5999"/>
                </a:cubicBezTo>
                <a:cubicBezTo>
                  <a:pt x="3552" y="5999"/>
                  <a:pt x="3542" y="6026"/>
                  <a:pt x="3542" y="6040"/>
                </a:cubicBezTo>
                <a:cubicBezTo>
                  <a:pt x="3542" y="6054"/>
                  <a:pt x="3542" y="6084"/>
                  <a:pt x="3542" y="6084"/>
                </a:cubicBezTo>
                <a:cubicBezTo>
                  <a:pt x="3526" y="6109"/>
                  <a:pt x="3526" y="6109"/>
                  <a:pt x="3526" y="6109"/>
                </a:cubicBezTo>
                <a:cubicBezTo>
                  <a:pt x="3536" y="6116"/>
                  <a:pt x="3536" y="6116"/>
                  <a:pt x="3536" y="6116"/>
                </a:cubicBezTo>
                <a:cubicBezTo>
                  <a:pt x="3536" y="6116"/>
                  <a:pt x="3532" y="6132"/>
                  <a:pt x="3532" y="6141"/>
                </a:cubicBezTo>
                <a:cubicBezTo>
                  <a:pt x="3532" y="6149"/>
                  <a:pt x="3526" y="6193"/>
                  <a:pt x="3526" y="6193"/>
                </a:cubicBezTo>
                <a:cubicBezTo>
                  <a:pt x="3516" y="6195"/>
                  <a:pt x="3516" y="6195"/>
                  <a:pt x="3516" y="6195"/>
                </a:cubicBezTo>
                <a:cubicBezTo>
                  <a:pt x="3516" y="6209"/>
                  <a:pt x="3516" y="6209"/>
                  <a:pt x="3516" y="6209"/>
                </a:cubicBezTo>
                <a:cubicBezTo>
                  <a:pt x="3532" y="6239"/>
                  <a:pt x="3532" y="6239"/>
                  <a:pt x="3532" y="6239"/>
                </a:cubicBezTo>
                <a:cubicBezTo>
                  <a:pt x="3532" y="6239"/>
                  <a:pt x="3532" y="6258"/>
                  <a:pt x="3532" y="6268"/>
                </a:cubicBezTo>
                <a:cubicBezTo>
                  <a:pt x="3532" y="6279"/>
                  <a:pt x="3555" y="6286"/>
                  <a:pt x="3561" y="6302"/>
                </a:cubicBezTo>
                <a:cubicBezTo>
                  <a:pt x="3567" y="6317"/>
                  <a:pt x="3558" y="6355"/>
                  <a:pt x="3558" y="6355"/>
                </a:cubicBezTo>
                <a:cubicBezTo>
                  <a:pt x="3567" y="6362"/>
                  <a:pt x="3567" y="6362"/>
                  <a:pt x="3567" y="6362"/>
                </a:cubicBezTo>
                <a:cubicBezTo>
                  <a:pt x="3567" y="6362"/>
                  <a:pt x="3567" y="6391"/>
                  <a:pt x="3567" y="6403"/>
                </a:cubicBezTo>
                <a:cubicBezTo>
                  <a:pt x="3567" y="6415"/>
                  <a:pt x="3594" y="6423"/>
                  <a:pt x="3594" y="6423"/>
                </a:cubicBezTo>
                <a:cubicBezTo>
                  <a:pt x="3589" y="6436"/>
                  <a:pt x="3589" y="6436"/>
                  <a:pt x="3589" y="6436"/>
                </a:cubicBezTo>
                <a:cubicBezTo>
                  <a:pt x="3616" y="6436"/>
                  <a:pt x="3616" y="6436"/>
                  <a:pt x="3616" y="6436"/>
                </a:cubicBezTo>
                <a:cubicBezTo>
                  <a:pt x="3616" y="6416"/>
                  <a:pt x="3616" y="6416"/>
                  <a:pt x="3616" y="6416"/>
                </a:cubicBezTo>
                <a:cubicBezTo>
                  <a:pt x="3616" y="6416"/>
                  <a:pt x="3629" y="6426"/>
                  <a:pt x="3637" y="6427"/>
                </a:cubicBezTo>
                <a:cubicBezTo>
                  <a:pt x="3646" y="6428"/>
                  <a:pt x="3646" y="6414"/>
                  <a:pt x="3646" y="6414"/>
                </a:cubicBezTo>
                <a:cubicBezTo>
                  <a:pt x="3652" y="6427"/>
                  <a:pt x="3652" y="6427"/>
                  <a:pt x="3652" y="6427"/>
                </a:cubicBezTo>
                <a:cubicBezTo>
                  <a:pt x="3652" y="6427"/>
                  <a:pt x="3635" y="6437"/>
                  <a:pt x="3633" y="6448"/>
                </a:cubicBezTo>
                <a:cubicBezTo>
                  <a:pt x="3630" y="6459"/>
                  <a:pt x="3646" y="6447"/>
                  <a:pt x="3653" y="6450"/>
                </a:cubicBezTo>
                <a:cubicBezTo>
                  <a:pt x="3660" y="6454"/>
                  <a:pt x="3658" y="6467"/>
                  <a:pt x="3658" y="6467"/>
                </a:cubicBezTo>
                <a:cubicBezTo>
                  <a:pt x="3639" y="6465"/>
                  <a:pt x="3639" y="6465"/>
                  <a:pt x="3639" y="6465"/>
                </a:cubicBezTo>
                <a:cubicBezTo>
                  <a:pt x="3650" y="6478"/>
                  <a:pt x="3650" y="6478"/>
                  <a:pt x="3650" y="6478"/>
                </a:cubicBezTo>
                <a:cubicBezTo>
                  <a:pt x="3643" y="6486"/>
                  <a:pt x="3643" y="6486"/>
                  <a:pt x="3643" y="6486"/>
                </a:cubicBezTo>
                <a:cubicBezTo>
                  <a:pt x="3655" y="6504"/>
                  <a:pt x="3655" y="6504"/>
                  <a:pt x="3655" y="6504"/>
                </a:cubicBezTo>
                <a:cubicBezTo>
                  <a:pt x="3655" y="6504"/>
                  <a:pt x="3648" y="6512"/>
                  <a:pt x="3641" y="6521"/>
                </a:cubicBezTo>
                <a:cubicBezTo>
                  <a:pt x="3634" y="6531"/>
                  <a:pt x="3672" y="6540"/>
                  <a:pt x="3672" y="6540"/>
                </a:cubicBezTo>
                <a:cubicBezTo>
                  <a:pt x="3672" y="6540"/>
                  <a:pt x="3665" y="6546"/>
                  <a:pt x="3660" y="6550"/>
                </a:cubicBezTo>
                <a:cubicBezTo>
                  <a:pt x="3655" y="6553"/>
                  <a:pt x="3662" y="6564"/>
                  <a:pt x="3672" y="6569"/>
                </a:cubicBezTo>
                <a:cubicBezTo>
                  <a:pt x="3681" y="6573"/>
                  <a:pt x="3694" y="6570"/>
                  <a:pt x="3694" y="6570"/>
                </a:cubicBezTo>
                <a:cubicBezTo>
                  <a:pt x="3699" y="6594"/>
                  <a:pt x="3699" y="6594"/>
                  <a:pt x="3699" y="6594"/>
                </a:cubicBezTo>
                <a:cubicBezTo>
                  <a:pt x="3699" y="6594"/>
                  <a:pt x="3679" y="6607"/>
                  <a:pt x="3674" y="6614"/>
                </a:cubicBezTo>
                <a:cubicBezTo>
                  <a:pt x="3669" y="6621"/>
                  <a:pt x="3688" y="6622"/>
                  <a:pt x="3688" y="6622"/>
                </a:cubicBezTo>
                <a:cubicBezTo>
                  <a:pt x="3688" y="6622"/>
                  <a:pt x="3712" y="6627"/>
                  <a:pt x="3712" y="6634"/>
                </a:cubicBezTo>
                <a:cubicBezTo>
                  <a:pt x="3712" y="6641"/>
                  <a:pt x="3697" y="6635"/>
                  <a:pt x="3687" y="6630"/>
                </a:cubicBezTo>
                <a:cubicBezTo>
                  <a:pt x="3678" y="6625"/>
                  <a:pt x="3676" y="6640"/>
                  <a:pt x="3676" y="6640"/>
                </a:cubicBezTo>
                <a:cubicBezTo>
                  <a:pt x="3695" y="6644"/>
                  <a:pt x="3695" y="6644"/>
                  <a:pt x="3695" y="6644"/>
                </a:cubicBezTo>
                <a:cubicBezTo>
                  <a:pt x="3681" y="6651"/>
                  <a:pt x="3681" y="6651"/>
                  <a:pt x="3681" y="6651"/>
                </a:cubicBezTo>
                <a:cubicBezTo>
                  <a:pt x="3682" y="6668"/>
                  <a:pt x="3682" y="6668"/>
                  <a:pt x="3682" y="6668"/>
                </a:cubicBezTo>
                <a:cubicBezTo>
                  <a:pt x="3682" y="6668"/>
                  <a:pt x="3698" y="6660"/>
                  <a:pt x="3691" y="6681"/>
                </a:cubicBezTo>
                <a:cubicBezTo>
                  <a:pt x="3684" y="6702"/>
                  <a:pt x="3674" y="6672"/>
                  <a:pt x="3674" y="6672"/>
                </a:cubicBezTo>
                <a:cubicBezTo>
                  <a:pt x="3650" y="6673"/>
                  <a:pt x="3650" y="6673"/>
                  <a:pt x="3650" y="6673"/>
                </a:cubicBezTo>
                <a:cubicBezTo>
                  <a:pt x="3666" y="6666"/>
                  <a:pt x="3666" y="6666"/>
                  <a:pt x="3666" y="6666"/>
                </a:cubicBezTo>
                <a:cubicBezTo>
                  <a:pt x="3666" y="6666"/>
                  <a:pt x="3649" y="6648"/>
                  <a:pt x="3646" y="6649"/>
                </a:cubicBezTo>
                <a:cubicBezTo>
                  <a:pt x="3642" y="6650"/>
                  <a:pt x="3645" y="6659"/>
                  <a:pt x="3645" y="6659"/>
                </a:cubicBezTo>
                <a:cubicBezTo>
                  <a:pt x="3639" y="6653"/>
                  <a:pt x="3639" y="6653"/>
                  <a:pt x="3639" y="6653"/>
                </a:cubicBezTo>
                <a:cubicBezTo>
                  <a:pt x="3614" y="6660"/>
                  <a:pt x="3614" y="6660"/>
                  <a:pt x="3614" y="6660"/>
                </a:cubicBezTo>
                <a:cubicBezTo>
                  <a:pt x="3636" y="6665"/>
                  <a:pt x="3636" y="6665"/>
                  <a:pt x="3636" y="6665"/>
                </a:cubicBezTo>
                <a:cubicBezTo>
                  <a:pt x="3636" y="6665"/>
                  <a:pt x="3632" y="6668"/>
                  <a:pt x="3628" y="6674"/>
                </a:cubicBezTo>
                <a:cubicBezTo>
                  <a:pt x="3624" y="6680"/>
                  <a:pt x="3608" y="6686"/>
                  <a:pt x="3607" y="6695"/>
                </a:cubicBezTo>
                <a:cubicBezTo>
                  <a:pt x="3606" y="6705"/>
                  <a:pt x="3626" y="6709"/>
                  <a:pt x="3629" y="6707"/>
                </a:cubicBezTo>
                <a:cubicBezTo>
                  <a:pt x="3633" y="6705"/>
                  <a:pt x="3621" y="6696"/>
                  <a:pt x="3621" y="6696"/>
                </a:cubicBezTo>
                <a:cubicBezTo>
                  <a:pt x="3636" y="6693"/>
                  <a:pt x="3636" y="6693"/>
                  <a:pt x="3636" y="6693"/>
                </a:cubicBezTo>
                <a:cubicBezTo>
                  <a:pt x="3636" y="6693"/>
                  <a:pt x="3643" y="6698"/>
                  <a:pt x="3647" y="6702"/>
                </a:cubicBezTo>
                <a:cubicBezTo>
                  <a:pt x="3650" y="6707"/>
                  <a:pt x="3674" y="6704"/>
                  <a:pt x="3674" y="6704"/>
                </a:cubicBezTo>
                <a:cubicBezTo>
                  <a:pt x="3674" y="6704"/>
                  <a:pt x="3689" y="6711"/>
                  <a:pt x="3695" y="6719"/>
                </a:cubicBezTo>
                <a:cubicBezTo>
                  <a:pt x="3701" y="6727"/>
                  <a:pt x="3682" y="6735"/>
                  <a:pt x="3682" y="6735"/>
                </a:cubicBezTo>
                <a:cubicBezTo>
                  <a:pt x="3688" y="6745"/>
                  <a:pt x="3688" y="6745"/>
                  <a:pt x="3688" y="6745"/>
                </a:cubicBezTo>
                <a:cubicBezTo>
                  <a:pt x="3700" y="6741"/>
                  <a:pt x="3700" y="6741"/>
                  <a:pt x="3700" y="6741"/>
                </a:cubicBezTo>
                <a:cubicBezTo>
                  <a:pt x="3700" y="6752"/>
                  <a:pt x="3700" y="6752"/>
                  <a:pt x="3700" y="6752"/>
                </a:cubicBezTo>
                <a:cubicBezTo>
                  <a:pt x="3712" y="6757"/>
                  <a:pt x="3712" y="6757"/>
                  <a:pt x="3712" y="6757"/>
                </a:cubicBezTo>
                <a:cubicBezTo>
                  <a:pt x="3717" y="6741"/>
                  <a:pt x="3717" y="6741"/>
                  <a:pt x="3717" y="6741"/>
                </a:cubicBezTo>
                <a:cubicBezTo>
                  <a:pt x="3726" y="6757"/>
                  <a:pt x="3726" y="6757"/>
                  <a:pt x="3726" y="6757"/>
                </a:cubicBezTo>
                <a:cubicBezTo>
                  <a:pt x="3726" y="6757"/>
                  <a:pt x="3745" y="6757"/>
                  <a:pt x="3743" y="6771"/>
                </a:cubicBezTo>
                <a:cubicBezTo>
                  <a:pt x="3740" y="6785"/>
                  <a:pt x="3718" y="6769"/>
                  <a:pt x="3710" y="6767"/>
                </a:cubicBezTo>
                <a:cubicBezTo>
                  <a:pt x="3701" y="6766"/>
                  <a:pt x="3708" y="6780"/>
                  <a:pt x="3708" y="6780"/>
                </a:cubicBezTo>
                <a:cubicBezTo>
                  <a:pt x="3708" y="6780"/>
                  <a:pt x="3729" y="6787"/>
                  <a:pt x="3730" y="6802"/>
                </a:cubicBezTo>
                <a:cubicBezTo>
                  <a:pt x="3731" y="6816"/>
                  <a:pt x="3716" y="6811"/>
                  <a:pt x="3716" y="6811"/>
                </a:cubicBezTo>
                <a:cubicBezTo>
                  <a:pt x="3725" y="6823"/>
                  <a:pt x="3725" y="6823"/>
                  <a:pt x="3725" y="6823"/>
                </a:cubicBezTo>
                <a:cubicBezTo>
                  <a:pt x="3734" y="6847"/>
                  <a:pt x="3734" y="6847"/>
                  <a:pt x="3734" y="6847"/>
                </a:cubicBezTo>
                <a:cubicBezTo>
                  <a:pt x="3743" y="6818"/>
                  <a:pt x="3743" y="6818"/>
                  <a:pt x="3743" y="6818"/>
                </a:cubicBezTo>
                <a:cubicBezTo>
                  <a:pt x="3743" y="6838"/>
                  <a:pt x="3743" y="6838"/>
                  <a:pt x="3743" y="6838"/>
                </a:cubicBezTo>
                <a:cubicBezTo>
                  <a:pt x="3756" y="6854"/>
                  <a:pt x="3756" y="6854"/>
                  <a:pt x="3756" y="6854"/>
                </a:cubicBezTo>
                <a:cubicBezTo>
                  <a:pt x="3740" y="6854"/>
                  <a:pt x="3740" y="6854"/>
                  <a:pt x="3740" y="6854"/>
                </a:cubicBezTo>
                <a:cubicBezTo>
                  <a:pt x="3743" y="6867"/>
                  <a:pt x="3743" y="6867"/>
                  <a:pt x="3743" y="6867"/>
                </a:cubicBezTo>
                <a:cubicBezTo>
                  <a:pt x="3758" y="6868"/>
                  <a:pt x="3758" y="6868"/>
                  <a:pt x="3758" y="6868"/>
                </a:cubicBezTo>
                <a:cubicBezTo>
                  <a:pt x="3749" y="6876"/>
                  <a:pt x="3749" y="6876"/>
                  <a:pt x="3749" y="6876"/>
                </a:cubicBezTo>
                <a:cubicBezTo>
                  <a:pt x="3769" y="6882"/>
                  <a:pt x="3769" y="6882"/>
                  <a:pt x="3769" y="6882"/>
                </a:cubicBezTo>
                <a:cubicBezTo>
                  <a:pt x="3756" y="6890"/>
                  <a:pt x="3756" y="6890"/>
                  <a:pt x="3756" y="6890"/>
                </a:cubicBezTo>
                <a:cubicBezTo>
                  <a:pt x="3775" y="6897"/>
                  <a:pt x="3775" y="6897"/>
                  <a:pt x="3775" y="6897"/>
                </a:cubicBezTo>
                <a:cubicBezTo>
                  <a:pt x="3770" y="6907"/>
                  <a:pt x="3770" y="6907"/>
                  <a:pt x="3770" y="6907"/>
                </a:cubicBezTo>
                <a:cubicBezTo>
                  <a:pt x="3782" y="6910"/>
                  <a:pt x="3782" y="6910"/>
                  <a:pt x="3782" y="6910"/>
                </a:cubicBezTo>
                <a:cubicBezTo>
                  <a:pt x="3782" y="6910"/>
                  <a:pt x="3784" y="6887"/>
                  <a:pt x="3791" y="6899"/>
                </a:cubicBezTo>
                <a:cubicBezTo>
                  <a:pt x="3798" y="6910"/>
                  <a:pt x="3789" y="6916"/>
                  <a:pt x="3783" y="6920"/>
                </a:cubicBezTo>
                <a:cubicBezTo>
                  <a:pt x="3777" y="6923"/>
                  <a:pt x="3783" y="6931"/>
                  <a:pt x="3783" y="6931"/>
                </a:cubicBezTo>
                <a:cubicBezTo>
                  <a:pt x="3803" y="6932"/>
                  <a:pt x="3803" y="6932"/>
                  <a:pt x="3803" y="6932"/>
                </a:cubicBezTo>
                <a:cubicBezTo>
                  <a:pt x="3803" y="6932"/>
                  <a:pt x="3804" y="6942"/>
                  <a:pt x="3810" y="6947"/>
                </a:cubicBezTo>
                <a:cubicBezTo>
                  <a:pt x="3816" y="6952"/>
                  <a:pt x="3833" y="6961"/>
                  <a:pt x="3833" y="6961"/>
                </a:cubicBezTo>
                <a:cubicBezTo>
                  <a:pt x="3830" y="6939"/>
                  <a:pt x="3830" y="6939"/>
                  <a:pt x="3830" y="6939"/>
                </a:cubicBezTo>
                <a:cubicBezTo>
                  <a:pt x="3830" y="6939"/>
                  <a:pt x="3851" y="6947"/>
                  <a:pt x="3867" y="6958"/>
                </a:cubicBezTo>
                <a:cubicBezTo>
                  <a:pt x="3882" y="6968"/>
                  <a:pt x="3869" y="6978"/>
                  <a:pt x="3869" y="6978"/>
                </a:cubicBezTo>
                <a:cubicBezTo>
                  <a:pt x="3880" y="6985"/>
                  <a:pt x="3880" y="6985"/>
                  <a:pt x="3880" y="6985"/>
                </a:cubicBezTo>
                <a:cubicBezTo>
                  <a:pt x="3879" y="6998"/>
                  <a:pt x="3879" y="6998"/>
                  <a:pt x="3879" y="6998"/>
                </a:cubicBezTo>
                <a:cubicBezTo>
                  <a:pt x="3918" y="6998"/>
                  <a:pt x="3918" y="6998"/>
                  <a:pt x="3918" y="6998"/>
                </a:cubicBezTo>
                <a:cubicBezTo>
                  <a:pt x="3922" y="7005"/>
                  <a:pt x="3922" y="7005"/>
                  <a:pt x="3922" y="7005"/>
                </a:cubicBezTo>
                <a:cubicBezTo>
                  <a:pt x="3902" y="7005"/>
                  <a:pt x="3902" y="7005"/>
                  <a:pt x="3902" y="7005"/>
                </a:cubicBezTo>
                <a:cubicBezTo>
                  <a:pt x="3894" y="7013"/>
                  <a:pt x="3894" y="7013"/>
                  <a:pt x="3894" y="7013"/>
                </a:cubicBezTo>
                <a:cubicBezTo>
                  <a:pt x="3881" y="7014"/>
                  <a:pt x="3881" y="7014"/>
                  <a:pt x="3881" y="7014"/>
                </a:cubicBezTo>
                <a:cubicBezTo>
                  <a:pt x="3870" y="7026"/>
                  <a:pt x="3870" y="7026"/>
                  <a:pt x="3870" y="7026"/>
                </a:cubicBezTo>
                <a:cubicBezTo>
                  <a:pt x="3890" y="7029"/>
                  <a:pt x="3890" y="7029"/>
                  <a:pt x="3890" y="7029"/>
                </a:cubicBezTo>
                <a:cubicBezTo>
                  <a:pt x="3886" y="7039"/>
                  <a:pt x="3886" y="7039"/>
                  <a:pt x="3886" y="7039"/>
                </a:cubicBezTo>
                <a:cubicBezTo>
                  <a:pt x="3902" y="7037"/>
                  <a:pt x="3902" y="7037"/>
                  <a:pt x="3902" y="7037"/>
                </a:cubicBezTo>
                <a:cubicBezTo>
                  <a:pt x="3904" y="7024"/>
                  <a:pt x="3904" y="7024"/>
                  <a:pt x="3904" y="7024"/>
                </a:cubicBezTo>
                <a:cubicBezTo>
                  <a:pt x="3919" y="7030"/>
                  <a:pt x="3919" y="7030"/>
                  <a:pt x="3919" y="7030"/>
                </a:cubicBezTo>
                <a:cubicBezTo>
                  <a:pt x="3919" y="7030"/>
                  <a:pt x="3937" y="7005"/>
                  <a:pt x="3946" y="7012"/>
                </a:cubicBezTo>
                <a:cubicBezTo>
                  <a:pt x="3956" y="7019"/>
                  <a:pt x="3927" y="7044"/>
                  <a:pt x="3927" y="7044"/>
                </a:cubicBezTo>
                <a:cubicBezTo>
                  <a:pt x="3927" y="7044"/>
                  <a:pt x="3924" y="7037"/>
                  <a:pt x="3915" y="7038"/>
                </a:cubicBezTo>
                <a:cubicBezTo>
                  <a:pt x="3907" y="7039"/>
                  <a:pt x="3912" y="7050"/>
                  <a:pt x="3912" y="7050"/>
                </a:cubicBezTo>
                <a:cubicBezTo>
                  <a:pt x="3900" y="7050"/>
                  <a:pt x="3900" y="7050"/>
                  <a:pt x="3900" y="7050"/>
                </a:cubicBezTo>
                <a:cubicBezTo>
                  <a:pt x="3891" y="7047"/>
                  <a:pt x="3879" y="7058"/>
                  <a:pt x="3879" y="7058"/>
                </a:cubicBezTo>
                <a:cubicBezTo>
                  <a:pt x="3888" y="7064"/>
                  <a:pt x="3888" y="7064"/>
                  <a:pt x="3888" y="7064"/>
                </a:cubicBezTo>
                <a:cubicBezTo>
                  <a:pt x="3890" y="7082"/>
                  <a:pt x="3890" y="7082"/>
                  <a:pt x="3890" y="7082"/>
                </a:cubicBezTo>
                <a:cubicBezTo>
                  <a:pt x="3910" y="7072"/>
                  <a:pt x="3910" y="7072"/>
                  <a:pt x="3910" y="7072"/>
                </a:cubicBezTo>
                <a:cubicBezTo>
                  <a:pt x="3910" y="7072"/>
                  <a:pt x="3915" y="7083"/>
                  <a:pt x="3921" y="7082"/>
                </a:cubicBezTo>
                <a:cubicBezTo>
                  <a:pt x="3926" y="7081"/>
                  <a:pt x="3927" y="7061"/>
                  <a:pt x="3936" y="7056"/>
                </a:cubicBezTo>
                <a:cubicBezTo>
                  <a:pt x="3945" y="7052"/>
                  <a:pt x="3944" y="7062"/>
                  <a:pt x="3944" y="7062"/>
                </a:cubicBezTo>
                <a:cubicBezTo>
                  <a:pt x="3944" y="7062"/>
                  <a:pt x="3959" y="7065"/>
                  <a:pt x="3974" y="7062"/>
                </a:cubicBezTo>
                <a:cubicBezTo>
                  <a:pt x="3988" y="7058"/>
                  <a:pt x="3958" y="7036"/>
                  <a:pt x="3958" y="7036"/>
                </a:cubicBezTo>
                <a:cubicBezTo>
                  <a:pt x="3958" y="7011"/>
                  <a:pt x="3958" y="7011"/>
                  <a:pt x="3958" y="7011"/>
                </a:cubicBezTo>
                <a:cubicBezTo>
                  <a:pt x="3983" y="7009"/>
                  <a:pt x="3983" y="7009"/>
                  <a:pt x="3983" y="7009"/>
                </a:cubicBezTo>
                <a:cubicBezTo>
                  <a:pt x="3981" y="6997"/>
                  <a:pt x="3981" y="6997"/>
                  <a:pt x="3981" y="6997"/>
                </a:cubicBezTo>
                <a:cubicBezTo>
                  <a:pt x="3997" y="6999"/>
                  <a:pt x="3997" y="6999"/>
                  <a:pt x="3997" y="6999"/>
                </a:cubicBezTo>
                <a:cubicBezTo>
                  <a:pt x="4002" y="6987"/>
                  <a:pt x="4002" y="6987"/>
                  <a:pt x="4002" y="6987"/>
                </a:cubicBezTo>
                <a:cubicBezTo>
                  <a:pt x="3999" y="6995"/>
                  <a:pt x="3999" y="6995"/>
                  <a:pt x="3999" y="6995"/>
                </a:cubicBezTo>
                <a:cubicBezTo>
                  <a:pt x="4004" y="6983"/>
                  <a:pt x="4004" y="6983"/>
                  <a:pt x="4004" y="6983"/>
                </a:cubicBezTo>
                <a:cubicBezTo>
                  <a:pt x="4011" y="6973"/>
                  <a:pt x="4040" y="6992"/>
                  <a:pt x="4040" y="6992"/>
                </a:cubicBezTo>
                <a:cubicBezTo>
                  <a:pt x="4013" y="6955"/>
                  <a:pt x="4013" y="6955"/>
                  <a:pt x="4013" y="6955"/>
                </a:cubicBezTo>
                <a:cubicBezTo>
                  <a:pt x="4000" y="6956"/>
                  <a:pt x="4000" y="6956"/>
                  <a:pt x="4000" y="6956"/>
                </a:cubicBezTo>
                <a:cubicBezTo>
                  <a:pt x="4003" y="6946"/>
                  <a:pt x="4003" y="6946"/>
                  <a:pt x="4003" y="6946"/>
                </a:cubicBezTo>
                <a:cubicBezTo>
                  <a:pt x="3979" y="6929"/>
                  <a:pt x="3979" y="6929"/>
                  <a:pt x="3979" y="6929"/>
                </a:cubicBezTo>
                <a:cubicBezTo>
                  <a:pt x="3980" y="6905"/>
                  <a:pt x="3980" y="6905"/>
                  <a:pt x="3980" y="6905"/>
                </a:cubicBezTo>
                <a:cubicBezTo>
                  <a:pt x="3971" y="6901"/>
                  <a:pt x="3971" y="6901"/>
                  <a:pt x="3971" y="6901"/>
                </a:cubicBezTo>
                <a:cubicBezTo>
                  <a:pt x="3976" y="6889"/>
                  <a:pt x="3976" y="6889"/>
                  <a:pt x="3976" y="6889"/>
                </a:cubicBezTo>
                <a:cubicBezTo>
                  <a:pt x="3976" y="6889"/>
                  <a:pt x="3985" y="6889"/>
                  <a:pt x="3988" y="6881"/>
                </a:cubicBezTo>
                <a:cubicBezTo>
                  <a:pt x="3992" y="6873"/>
                  <a:pt x="3962" y="6873"/>
                  <a:pt x="3962" y="6873"/>
                </a:cubicBezTo>
                <a:cubicBezTo>
                  <a:pt x="3974" y="6868"/>
                  <a:pt x="3974" y="6868"/>
                  <a:pt x="3974" y="6868"/>
                </a:cubicBezTo>
                <a:cubicBezTo>
                  <a:pt x="3970" y="6855"/>
                  <a:pt x="3970" y="6855"/>
                  <a:pt x="3970" y="6855"/>
                </a:cubicBezTo>
                <a:cubicBezTo>
                  <a:pt x="3986" y="6872"/>
                  <a:pt x="3986" y="6872"/>
                  <a:pt x="3986" y="6872"/>
                </a:cubicBezTo>
                <a:cubicBezTo>
                  <a:pt x="3986" y="6872"/>
                  <a:pt x="4000" y="6882"/>
                  <a:pt x="4010" y="6870"/>
                </a:cubicBezTo>
                <a:cubicBezTo>
                  <a:pt x="4020" y="6858"/>
                  <a:pt x="4002" y="6832"/>
                  <a:pt x="4003" y="6818"/>
                </a:cubicBezTo>
                <a:cubicBezTo>
                  <a:pt x="4004" y="6805"/>
                  <a:pt x="4047" y="6776"/>
                  <a:pt x="4050" y="6767"/>
                </a:cubicBezTo>
                <a:cubicBezTo>
                  <a:pt x="4054" y="6758"/>
                  <a:pt x="4029" y="6758"/>
                  <a:pt x="4029" y="6758"/>
                </a:cubicBezTo>
                <a:cubicBezTo>
                  <a:pt x="4045" y="6756"/>
                  <a:pt x="4045" y="6756"/>
                  <a:pt x="4045" y="6756"/>
                </a:cubicBezTo>
                <a:cubicBezTo>
                  <a:pt x="4045" y="6756"/>
                  <a:pt x="4046" y="6736"/>
                  <a:pt x="4038" y="6726"/>
                </a:cubicBezTo>
                <a:cubicBezTo>
                  <a:pt x="4030" y="6716"/>
                  <a:pt x="4018" y="6721"/>
                  <a:pt x="4018" y="6721"/>
                </a:cubicBezTo>
                <a:cubicBezTo>
                  <a:pt x="4006" y="6712"/>
                  <a:pt x="4006" y="6712"/>
                  <a:pt x="4006" y="6712"/>
                </a:cubicBezTo>
                <a:cubicBezTo>
                  <a:pt x="3993" y="6712"/>
                  <a:pt x="3993" y="6712"/>
                  <a:pt x="3993" y="6712"/>
                </a:cubicBezTo>
                <a:cubicBezTo>
                  <a:pt x="3993" y="6712"/>
                  <a:pt x="3953" y="6695"/>
                  <a:pt x="3941" y="6668"/>
                </a:cubicBezTo>
                <a:cubicBezTo>
                  <a:pt x="3928" y="6641"/>
                  <a:pt x="3948" y="6636"/>
                  <a:pt x="3948" y="6636"/>
                </a:cubicBezTo>
                <a:cubicBezTo>
                  <a:pt x="3954" y="6619"/>
                  <a:pt x="3954" y="6619"/>
                  <a:pt x="3954" y="6619"/>
                </a:cubicBezTo>
                <a:cubicBezTo>
                  <a:pt x="3963" y="6619"/>
                  <a:pt x="3963" y="6619"/>
                  <a:pt x="3963" y="6619"/>
                </a:cubicBezTo>
                <a:cubicBezTo>
                  <a:pt x="3969" y="6607"/>
                  <a:pt x="3969" y="6607"/>
                  <a:pt x="3969" y="6607"/>
                </a:cubicBezTo>
                <a:cubicBezTo>
                  <a:pt x="4005" y="6606"/>
                  <a:pt x="4005" y="6606"/>
                  <a:pt x="4005" y="6606"/>
                </a:cubicBezTo>
                <a:cubicBezTo>
                  <a:pt x="3997" y="6599"/>
                  <a:pt x="3997" y="6599"/>
                  <a:pt x="3997" y="6599"/>
                </a:cubicBezTo>
                <a:cubicBezTo>
                  <a:pt x="3996" y="6585"/>
                  <a:pt x="3996" y="6585"/>
                  <a:pt x="3996" y="6585"/>
                </a:cubicBezTo>
                <a:cubicBezTo>
                  <a:pt x="4005" y="6584"/>
                  <a:pt x="4005" y="6584"/>
                  <a:pt x="4005" y="6584"/>
                </a:cubicBezTo>
                <a:cubicBezTo>
                  <a:pt x="4005" y="6584"/>
                  <a:pt x="4010" y="6565"/>
                  <a:pt x="4002" y="6558"/>
                </a:cubicBezTo>
                <a:cubicBezTo>
                  <a:pt x="3994" y="6551"/>
                  <a:pt x="3985" y="6535"/>
                  <a:pt x="3992" y="6519"/>
                </a:cubicBezTo>
                <a:cubicBezTo>
                  <a:pt x="3998" y="6504"/>
                  <a:pt x="4018" y="6504"/>
                  <a:pt x="4018" y="6504"/>
                </a:cubicBezTo>
                <a:cubicBezTo>
                  <a:pt x="4018" y="6497"/>
                  <a:pt x="4018" y="6497"/>
                  <a:pt x="4018" y="6497"/>
                </a:cubicBezTo>
                <a:cubicBezTo>
                  <a:pt x="4018" y="6497"/>
                  <a:pt x="4001" y="6497"/>
                  <a:pt x="3993" y="6492"/>
                </a:cubicBezTo>
                <a:cubicBezTo>
                  <a:pt x="3985" y="6488"/>
                  <a:pt x="3994" y="6479"/>
                  <a:pt x="4002" y="6478"/>
                </a:cubicBezTo>
                <a:cubicBezTo>
                  <a:pt x="4010" y="6477"/>
                  <a:pt x="4024" y="6494"/>
                  <a:pt x="4031" y="6494"/>
                </a:cubicBezTo>
                <a:cubicBezTo>
                  <a:pt x="4038" y="6494"/>
                  <a:pt x="4047" y="6490"/>
                  <a:pt x="4048" y="6480"/>
                </a:cubicBezTo>
                <a:cubicBezTo>
                  <a:pt x="4049" y="6470"/>
                  <a:pt x="4036" y="6447"/>
                  <a:pt x="4023" y="6452"/>
                </a:cubicBezTo>
                <a:cubicBezTo>
                  <a:pt x="4011" y="6456"/>
                  <a:pt x="4030" y="6466"/>
                  <a:pt x="4018" y="6472"/>
                </a:cubicBezTo>
                <a:cubicBezTo>
                  <a:pt x="4005" y="6478"/>
                  <a:pt x="3993" y="6461"/>
                  <a:pt x="3993" y="6461"/>
                </a:cubicBezTo>
                <a:cubicBezTo>
                  <a:pt x="3993" y="6461"/>
                  <a:pt x="3969" y="6463"/>
                  <a:pt x="3966" y="6456"/>
                </a:cubicBezTo>
                <a:cubicBezTo>
                  <a:pt x="3962" y="6450"/>
                  <a:pt x="3966" y="6422"/>
                  <a:pt x="3966" y="6419"/>
                </a:cubicBezTo>
                <a:cubicBezTo>
                  <a:pt x="3966" y="6416"/>
                  <a:pt x="3949" y="6399"/>
                  <a:pt x="3953" y="6384"/>
                </a:cubicBezTo>
                <a:cubicBezTo>
                  <a:pt x="3958" y="6370"/>
                  <a:pt x="3971" y="6386"/>
                  <a:pt x="3986" y="6390"/>
                </a:cubicBezTo>
                <a:cubicBezTo>
                  <a:pt x="4001" y="6393"/>
                  <a:pt x="4018" y="6406"/>
                  <a:pt x="4027" y="6406"/>
                </a:cubicBezTo>
                <a:cubicBezTo>
                  <a:pt x="4036" y="6406"/>
                  <a:pt x="4069" y="6388"/>
                  <a:pt x="4077" y="6382"/>
                </a:cubicBezTo>
                <a:cubicBezTo>
                  <a:pt x="4085" y="6376"/>
                  <a:pt x="4052" y="6358"/>
                  <a:pt x="4052" y="6358"/>
                </a:cubicBezTo>
                <a:cubicBezTo>
                  <a:pt x="4051" y="6342"/>
                  <a:pt x="4051" y="6342"/>
                  <a:pt x="4051" y="6342"/>
                </a:cubicBezTo>
                <a:cubicBezTo>
                  <a:pt x="4051" y="6342"/>
                  <a:pt x="4060" y="6326"/>
                  <a:pt x="4063" y="6315"/>
                </a:cubicBezTo>
                <a:cubicBezTo>
                  <a:pt x="4065" y="6305"/>
                  <a:pt x="4042" y="6305"/>
                  <a:pt x="4042" y="6305"/>
                </a:cubicBezTo>
                <a:cubicBezTo>
                  <a:pt x="4040" y="6291"/>
                  <a:pt x="4040" y="6291"/>
                  <a:pt x="4040" y="6291"/>
                </a:cubicBezTo>
                <a:cubicBezTo>
                  <a:pt x="4040" y="6291"/>
                  <a:pt x="4032" y="6282"/>
                  <a:pt x="4039" y="6274"/>
                </a:cubicBezTo>
                <a:cubicBezTo>
                  <a:pt x="4046" y="6266"/>
                  <a:pt x="4056" y="6301"/>
                  <a:pt x="4056" y="6301"/>
                </a:cubicBezTo>
                <a:cubicBezTo>
                  <a:pt x="4064" y="6300"/>
                  <a:pt x="4064" y="6300"/>
                  <a:pt x="4064" y="6300"/>
                </a:cubicBezTo>
                <a:cubicBezTo>
                  <a:pt x="4059" y="6286"/>
                  <a:pt x="4059" y="6286"/>
                  <a:pt x="4059" y="6286"/>
                </a:cubicBezTo>
                <a:cubicBezTo>
                  <a:pt x="4113" y="6293"/>
                  <a:pt x="4113" y="6293"/>
                  <a:pt x="4113" y="6293"/>
                </a:cubicBezTo>
                <a:cubicBezTo>
                  <a:pt x="4116" y="6287"/>
                  <a:pt x="4116" y="6287"/>
                  <a:pt x="4116" y="6287"/>
                </a:cubicBezTo>
                <a:cubicBezTo>
                  <a:pt x="4116" y="6287"/>
                  <a:pt x="4129" y="6279"/>
                  <a:pt x="4157" y="6276"/>
                </a:cubicBezTo>
                <a:cubicBezTo>
                  <a:pt x="4186" y="6273"/>
                  <a:pt x="4238" y="6248"/>
                  <a:pt x="4238" y="6248"/>
                </a:cubicBezTo>
                <a:cubicBezTo>
                  <a:pt x="4235" y="6222"/>
                  <a:pt x="4235" y="6222"/>
                  <a:pt x="4235" y="6222"/>
                </a:cubicBezTo>
                <a:cubicBezTo>
                  <a:pt x="4250" y="6214"/>
                  <a:pt x="4250" y="6214"/>
                  <a:pt x="4250" y="6214"/>
                </a:cubicBezTo>
                <a:cubicBezTo>
                  <a:pt x="4258" y="6181"/>
                  <a:pt x="4258" y="6181"/>
                  <a:pt x="4258" y="6181"/>
                </a:cubicBezTo>
                <a:cubicBezTo>
                  <a:pt x="4251" y="6164"/>
                  <a:pt x="4251" y="6164"/>
                  <a:pt x="4251" y="6164"/>
                </a:cubicBezTo>
                <a:cubicBezTo>
                  <a:pt x="4251" y="6146"/>
                  <a:pt x="4251" y="6146"/>
                  <a:pt x="4251" y="6146"/>
                </a:cubicBezTo>
                <a:cubicBezTo>
                  <a:pt x="4251" y="6146"/>
                  <a:pt x="4240" y="6137"/>
                  <a:pt x="4229" y="6133"/>
                </a:cubicBezTo>
                <a:cubicBezTo>
                  <a:pt x="4223" y="6131"/>
                  <a:pt x="4216" y="6136"/>
                  <a:pt x="4211" y="6132"/>
                </a:cubicBezTo>
                <a:cubicBezTo>
                  <a:pt x="4203" y="6126"/>
                  <a:pt x="4217" y="6120"/>
                  <a:pt x="4220" y="6115"/>
                </a:cubicBezTo>
                <a:cubicBezTo>
                  <a:pt x="4224" y="6108"/>
                  <a:pt x="4219" y="6102"/>
                  <a:pt x="4219" y="6094"/>
                </a:cubicBezTo>
                <a:cubicBezTo>
                  <a:pt x="4219" y="6079"/>
                  <a:pt x="4186" y="6074"/>
                  <a:pt x="4163" y="6063"/>
                </a:cubicBezTo>
                <a:cubicBezTo>
                  <a:pt x="4140" y="6052"/>
                  <a:pt x="4140" y="6041"/>
                  <a:pt x="4150" y="6027"/>
                </a:cubicBezTo>
                <a:cubicBezTo>
                  <a:pt x="4151" y="6026"/>
                  <a:pt x="4151" y="6025"/>
                  <a:pt x="4152" y="6025"/>
                </a:cubicBezTo>
                <a:cubicBezTo>
                  <a:pt x="4132" y="6000"/>
                  <a:pt x="4132" y="6000"/>
                  <a:pt x="4132" y="6000"/>
                </a:cubicBezTo>
                <a:cubicBezTo>
                  <a:pt x="4152" y="6025"/>
                  <a:pt x="4152" y="6025"/>
                  <a:pt x="4152" y="6025"/>
                </a:cubicBezTo>
                <a:cubicBezTo>
                  <a:pt x="4160" y="6019"/>
                  <a:pt x="4174" y="6037"/>
                  <a:pt x="4179" y="6044"/>
                </a:cubicBezTo>
                <a:cubicBezTo>
                  <a:pt x="4179" y="6044"/>
                  <a:pt x="4179" y="6044"/>
                  <a:pt x="4179" y="6044"/>
                </a:cubicBezTo>
                <a:cubicBezTo>
                  <a:pt x="4180" y="6046"/>
                  <a:pt x="4181" y="6048"/>
                  <a:pt x="4181" y="6048"/>
                </a:cubicBezTo>
                <a:cubicBezTo>
                  <a:pt x="4213" y="6048"/>
                  <a:pt x="4213" y="6048"/>
                  <a:pt x="4213" y="6048"/>
                </a:cubicBezTo>
                <a:cubicBezTo>
                  <a:pt x="4220" y="6059"/>
                  <a:pt x="4220" y="6059"/>
                  <a:pt x="4220" y="6059"/>
                </a:cubicBezTo>
                <a:cubicBezTo>
                  <a:pt x="4220" y="6059"/>
                  <a:pt x="4247" y="6058"/>
                  <a:pt x="4280" y="6063"/>
                </a:cubicBezTo>
                <a:cubicBezTo>
                  <a:pt x="4313" y="6068"/>
                  <a:pt x="4332" y="6067"/>
                  <a:pt x="4348" y="6054"/>
                </a:cubicBezTo>
                <a:cubicBezTo>
                  <a:pt x="4362" y="6043"/>
                  <a:pt x="4369" y="6013"/>
                  <a:pt x="4371" y="6006"/>
                </a:cubicBezTo>
                <a:cubicBezTo>
                  <a:pt x="4371" y="6004"/>
                  <a:pt x="4371" y="6004"/>
                  <a:pt x="4371" y="6004"/>
                </a:cubicBezTo>
                <a:cubicBezTo>
                  <a:pt x="4371" y="6004"/>
                  <a:pt x="4394" y="5978"/>
                  <a:pt x="4399" y="5969"/>
                </a:cubicBezTo>
                <a:cubicBezTo>
                  <a:pt x="4404" y="5960"/>
                  <a:pt x="4396" y="5939"/>
                  <a:pt x="4396" y="5939"/>
                </a:cubicBezTo>
                <a:cubicBezTo>
                  <a:pt x="4408" y="5921"/>
                  <a:pt x="4408" y="5921"/>
                  <a:pt x="4408" y="5921"/>
                </a:cubicBezTo>
                <a:cubicBezTo>
                  <a:pt x="4408" y="5921"/>
                  <a:pt x="4398" y="5913"/>
                  <a:pt x="4398" y="5903"/>
                </a:cubicBezTo>
                <a:cubicBezTo>
                  <a:pt x="4398" y="5893"/>
                  <a:pt x="4408" y="5892"/>
                  <a:pt x="4408" y="5892"/>
                </a:cubicBezTo>
                <a:cubicBezTo>
                  <a:pt x="4410" y="5876"/>
                  <a:pt x="4410" y="5876"/>
                  <a:pt x="4410" y="5876"/>
                </a:cubicBezTo>
                <a:cubicBezTo>
                  <a:pt x="4410" y="5876"/>
                  <a:pt x="4422" y="5874"/>
                  <a:pt x="4426" y="5870"/>
                </a:cubicBezTo>
                <a:cubicBezTo>
                  <a:pt x="4430" y="5866"/>
                  <a:pt x="4429" y="5852"/>
                  <a:pt x="4429" y="5844"/>
                </a:cubicBezTo>
                <a:cubicBezTo>
                  <a:pt x="4429" y="5836"/>
                  <a:pt x="4447" y="5819"/>
                  <a:pt x="4456" y="5817"/>
                </a:cubicBezTo>
                <a:cubicBezTo>
                  <a:pt x="4465" y="5815"/>
                  <a:pt x="4462" y="5839"/>
                  <a:pt x="4462" y="5839"/>
                </a:cubicBezTo>
                <a:cubicBezTo>
                  <a:pt x="4462" y="5839"/>
                  <a:pt x="4456" y="5849"/>
                  <a:pt x="4453" y="5851"/>
                </a:cubicBezTo>
                <a:cubicBezTo>
                  <a:pt x="4450" y="5853"/>
                  <a:pt x="4451" y="5864"/>
                  <a:pt x="4451" y="5864"/>
                </a:cubicBezTo>
                <a:cubicBezTo>
                  <a:pt x="4444" y="5868"/>
                  <a:pt x="4444" y="5868"/>
                  <a:pt x="4444" y="5868"/>
                </a:cubicBezTo>
                <a:cubicBezTo>
                  <a:pt x="4444" y="5877"/>
                  <a:pt x="4444" y="5877"/>
                  <a:pt x="4444" y="5877"/>
                </a:cubicBezTo>
                <a:cubicBezTo>
                  <a:pt x="4427" y="5895"/>
                  <a:pt x="4427" y="5895"/>
                  <a:pt x="4427" y="5895"/>
                </a:cubicBezTo>
                <a:cubicBezTo>
                  <a:pt x="4406" y="5910"/>
                  <a:pt x="4406" y="5910"/>
                  <a:pt x="4406" y="5910"/>
                </a:cubicBezTo>
                <a:cubicBezTo>
                  <a:pt x="4406" y="5910"/>
                  <a:pt x="4413" y="5916"/>
                  <a:pt x="4420" y="5914"/>
                </a:cubicBezTo>
                <a:cubicBezTo>
                  <a:pt x="4425" y="5913"/>
                  <a:pt x="4425" y="5901"/>
                  <a:pt x="4430" y="5898"/>
                </a:cubicBezTo>
                <a:cubicBezTo>
                  <a:pt x="4434" y="5894"/>
                  <a:pt x="4441" y="5897"/>
                  <a:pt x="4443" y="5895"/>
                </a:cubicBezTo>
                <a:cubicBezTo>
                  <a:pt x="4449" y="5886"/>
                  <a:pt x="4471" y="5852"/>
                  <a:pt x="4476" y="5828"/>
                </a:cubicBezTo>
                <a:cubicBezTo>
                  <a:pt x="4481" y="5804"/>
                  <a:pt x="4491" y="5782"/>
                  <a:pt x="4495" y="5768"/>
                </a:cubicBezTo>
                <a:cubicBezTo>
                  <a:pt x="4499" y="5754"/>
                  <a:pt x="4527" y="5737"/>
                  <a:pt x="4529" y="5733"/>
                </a:cubicBezTo>
                <a:cubicBezTo>
                  <a:pt x="4531" y="5729"/>
                  <a:pt x="4524" y="5719"/>
                  <a:pt x="4524" y="5719"/>
                </a:cubicBezTo>
                <a:cubicBezTo>
                  <a:pt x="4537" y="5710"/>
                  <a:pt x="4537" y="5710"/>
                  <a:pt x="4537" y="5710"/>
                </a:cubicBezTo>
                <a:cubicBezTo>
                  <a:pt x="4533" y="5686"/>
                  <a:pt x="4533" y="5686"/>
                  <a:pt x="4533" y="5686"/>
                </a:cubicBezTo>
                <a:cubicBezTo>
                  <a:pt x="4537" y="5672"/>
                  <a:pt x="4537" y="5672"/>
                  <a:pt x="4537" y="5672"/>
                </a:cubicBezTo>
                <a:cubicBezTo>
                  <a:pt x="4528" y="5667"/>
                  <a:pt x="4528" y="5667"/>
                  <a:pt x="4528" y="5667"/>
                </a:cubicBezTo>
                <a:cubicBezTo>
                  <a:pt x="4528" y="5667"/>
                  <a:pt x="4535" y="5658"/>
                  <a:pt x="4535" y="5650"/>
                </a:cubicBezTo>
                <a:cubicBezTo>
                  <a:pt x="4535" y="5642"/>
                  <a:pt x="4520" y="5636"/>
                  <a:pt x="4520" y="5636"/>
                </a:cubicBezTo>
                <a:cubicBezTo>
                  <a:pt x="4519" y="5613"/>
                  <a:pt x="4519" y="5613"/>
                  <a:pt x="4519" y="5613"/>
                </a:cubicBezTo>
                <a:cubicBezTo>
                  <a:pt x="4509" y="5602"/>
                  <a:pt x="4509" y="5602"/>
                  <a:pt x="4509" y="5602"/>
                </a:cubicBezTo>
                <a:cubicBezTo>
                  <a:pt x="4523" y="5603"/>
                  <a:pt x="4523" y="5603"/>
                  <a:pt x="4523" y="5603"/>
                </a:cubicBezTo>
                <a:cubicBezTo>
                  <a:pt x="4522" y="5586"/>
                  <a:pt x="4522" y="5586"/>
                  <a:pt x="4522" y="5586"/>
                </a:cubicBezTo>
                <a:cubicBezTo>
                  <a:pt x="4513" y="5581"/>
                  <a:pt x="4513" y="5581"/>
                  <a:pt x="4513" y="5581"/>
                </a:cubicBezTo>
                <a:cubicBezTo>
                  <a:pt x="4513" y="5581"/>
                  <a:pt x="4525" y="5578"/>
                  <a:pt x="4525" y="5573"/>
                </a:cubicBezTo>
                <a:cubicBezTo>
                  <a:pt x="4525" y="5568"/>
                  <a:pt x="4509" y="5558"/>
                  <a:pt x="4509" y="5558"/>
                </a:cubicBezTo>
                <a:cubicBezTo>
                  <a:pt x="4525" y="5547"/>
                  <a:pt x="4525" y="5547"/>
                  <a:pt x="4525" y="5547"/>
                </a:cubicBezTo>
                <a:cubicBezTo>
                  <a:pt x="4525" y="5547"/>
                  <a:pt x="4538" y="5561"/>
                  <a:pt x="4544" y="5560"/>
                </a:cubicBezTo>
                <a:cubicBezTo>
                  <a:pt x="4550" y="5559"/>
                  <a:pt x="4546" y="5547"/>
                  <a:pt x="4546" y="5547"/>
                </a:cubicBezTo>
                <a:cubicBezTo>
                  <a:pt x="4546" y="5547"/>
                  <a:pt x="4546" y="5535"/>
                  <a:pt x="4554" y="5525"/>
                </a:cubicBezTo>
                <a:cubicBezTo>
                  <a:pt x="4562" y="5515"/>
                  <a:pt x="4574" y="5518"/>
                  <a:pt x="4580" y="5513"/>
                </a:cubicBezTo>
                <a:cubicBezTo>
                  <a:pt x="4586" y="5508"/>
                  <a:pt x="4583" y="5504"/>
                  <a:pt x="4586" y="5497"/>
                </a:cubicBezTo>
                <a:cubicBezTo>
                  <a:pt x="4589" y="5490"/>
                  <a:pt x="4607" y="5487"/>
                  <a:pt x="4607" y="5487"/>
                </a:cubicBezTo>
                <a:cubicBezTo>
                  <a:pt x="4609" y="5479"/>
                  <a:pt x="4609" y="5479"/>
                  <a:pt x="4609" y="5479"/>
                </a:cubicBezTo>
                <a:cubicBezTo>
                  <a:pt x="4609" y="5479"/>
                  <a:pt x="4615" y="5482"/>
                  <a:pt x="4620" y="5481"/>
                </a:cubicBezTo>
                <a:cubicBezTo>
                  <a:pt x="4625" y="5480"/>
                  <a:pt x="4624" y="5468"/>
                  <a:pt x="4630" y="5467"/>
                </a:cubicBezTo>
                <a:cubicBezTo>
                  <a:pt x="4636" y="5466"/>
                  <a:pt x="4655" y="5469"/>
                  <a:pt x="4655" y="5469"/>
                </a:cubicBezTo>
                <a:cubicBezTo>
                  <a:pt x="4659" y="5479"/>
                  <a:pt x="4659" y="5479"/>
                  <a:pt x="4659" y="5479"/>
                </a:cubicBezTo>
                <a:cubicBezTo>
                  <a:pt x="4670" y="5477"/>
                  <a:pt x="4670" y="5477"/>
                  <a:pt x="4670" y="5477"/>
                </a:cubicBezTo>
                <a:cubicBezTo>
                  <a:pt x="4657" y="5462"/>
                  <a:pt x="4657" y="5462"/>
                  <a:pt x="4657" y="5462"/>
                </a:cubicBezTo>
                <a:cubicBezTo>
                  <a:pt x="4657" y="5462"/>
                  <a:pt x="4666" y="5458"/>
                  <a:pt x="4670" y="5453"/>
                </a:cubicBezTo>
                <a:cubicBezTo>
                  <a:pt x="4674" y="5448"/>
                  <a:pt x="4696" y="5447"/>
                  <a:pt x="4696" y="5447"/>
                </a:cubicBezTo>
                <a:cubicBezTo>
                  <a:pt x="4685" y="5437"/>
                  <a:pt x="4685" y="5437"/>
                  <a:pt x="4685" y="5437"/>
                </a:cubicBezTo>
                <a:cubicBezTo>
                  <a:pt x="4685" y="5437"/>
                  <a:pt x="4697" y="5427"/>
                  <a:pt x="4702" y="5427"/>
                </a:cubicBezTo>
                <a:cubicBezTo>
                  <a:pt x="4707" y="5427"/>
                  <a:pt x="4703" y="5443"/>
                  <a:pt x="4706" y="5443"/>
                </a:cubicBezTo>
                <a:cubicBezTo>
                  <a:pt x="4709" y="5443"/>
                  <a:pt x="4715" y="5426"/>
                  <a:pt x="4715" y="5426"/>
                </a:cubicBezTo>
                <a:cubicBezTo>
                  <a:pt x="4740" y="5431"/>
                  <a:pt x="4740" y="5431"/>
                  <a:pt x="4740" y="5431"/>
                </a:cubicBezTo>
                <a:cubicBezTo>
                  <a:pt x="4740" y="5431"/>
                  <a:pt x="4745" y="5411"/>
                  <a:pt x="4756" y="5410"/>
                </a:cubicBezTo>
                <a:cubicBezTo>
                  <a:pt x="4767" y="5409"/>
                  <a:pt x="4764" y="5431"/>
                  <a:pt x="4764" y="5431"/>
                </a:cubicBezTo>
                <a:cubicBezTo>
                  <a:pt x="4809" y="5426"/>
                  <a:pt x="4809" y="5426"/>
                  <a:pt x="4809" y="5426"/>
                </a:cubicBezTo>
                <a:cubicBezTo>
                  <a:pt x="4814" y="5414"/>
                  <a:pt x="4814" y="5414"/>
                  <a:pt x="4814" y="5414"/>
                </a:cubicBezTo>
                <a:cubicBezTo>
                  <a:pt x="4808" y="5407"/>
                  <a:pt x="4808" y="5407"/>
                  <a:pt x="4808" y="5407"/>
                </a:cubicBezTo>
                <a:cubicBezTo>
                  <a:pt x="4808" y="5407"/>
                  <a:pt x="4814" y="5399"/>
                  <a:pt x="4820" y="5390"/>
                </a:cubicBezTo>
                <a:cubicBezTo>
                  <a:pt x="4826" y="5381"/>
                  <a:pt x="4856" y="5376"/>
                  <a:pt x="4856" y="5376"/>
                </a:cubicBezTo>
                <a:cubicBezTo>
                  <a:pt x="4856" y="5376"/>
                  <a:pt x="4853" y="5363"/>
                  <a:pt x="4853" y="5360"/>
                </a:cubicBezTo>
                <a:cubicBezTo>
                  <a:pt x="4853" y="5357"/>
                  <a:pt x="4854" y="5316"/>
                  <a:pt x="4854" y="5316"/>
                </a:cubicBezTo>
                <a:cubicBezTo>
                  <a:pt x="4872" y="5296"/>
                  <a:pt x="4872" y="5296"/>
                  <a:pt x="4872" y="5296"/>
                </a:cubicBezTo>
                <a:cubicBezTo>
                  <a:pt x="4872" y="5280"/>
                  <a:pt x="4872" y="5280"/>
                  <a:pt x="4872" y="5280"/>
                </a:cubicBezTo>
                <a:cubicBezTo>
                  <a:pt x="4885" y="5277"/>
                  <a:pt x="4885" y="5277"/>
                  <a:pt x="4885" y="5277"/>
                </a:cubicBezTo>
                <a:cubicBezTo>
                  <a:pt x="4885" y="5255"/>
                  <a:pt x="4885" y="5255"/>
                  <a:pt x="4885" y="5255"/>
                </a:cubicBezTo>
                <a:cubicBezTo>
                  <a:pt x="4885" y="5255"/>
                  <a:pt x="4894" y="5250"/>
                  <a:pt x="4898" y="5250"/>
                </a:cubicBezTo>
                <a:cubicBezTo>
                  <a:pt x="4902" y="5250"/>
                  <a:pt x="4902" y="5225"/>
                  <a:pt x="4902" y="5225"/>
                </a:cubicBezTo>
                <a:cubicBezTo>
                  <a:pt x="4902" y="5225"/>
                  <a:pt x="4896" y="5196"/>
                  <a:pt x="4894" y="5181"/>
                </a:cubicBezTo>
                <a:cubicBezTo>
                  <a:pt x="4892" y="5166"/>
                  <a:pt x="4910" y="5154"/>
                  <a:pt x="4917" y="5148"/>
                </a:cubicBezTo>
                <a:cubicBezTo>
                  <a:pt x="4924" y="5142"/>
                  <a:pt x="4914" y="5121"/>
                  <a:pt x="4914" y="5121"/>
                </a:cubicBezTo>
                <a:cubicBezTo>
                  <a:pt x="4918" y="5083"/>
                  <a:pt x="4918" y="5083"/>
                  <a:pt x="4918" y="5083"/>
                </a:cubicBezTo>
                <a:cubicBezTo>
                  <a:pt x="4918" y="5083"/>
                  <a:pt x="4926" y="5053"/>
                  <a:pt x="4925" y="5042"/>
                </a:cubicBezTo>
                <a:cubicBezTo>
                  <a:pt x="4924" y="5031"/>
                  <a:pt x="4912" y="4973"/>
                  <a:pt x="4912" y="4973"/>
                </a:cubicBezTo>
                <a:cubicBezTo>
                  <a:pt x="4917" y="4949"/>
                  <a:pt x="4917" y="4949"/>
                  <a:pt x="4917" y="4949"/>
                </a:cubicBezTo>
                <a:cubicBezTo>
                  <a:pt x="4917" y="4949"/>
                  <a:pt x="4908" y="4918"/>
                  <a:pt x="4911" y="4910"/>
                </a:cubicBezTo>
                <a:cubicBezTo>
                  <a:pt x="4914" y="4902"/>
                  <a:pt x="4925" y="4892"/>
                  <a:pt x="4925" y="4892"/>
                </a:cubicBezTo>
                <a:cubicBezTo>
                  <a:pt x="4917" y="4880"/>
                  <a:pt x="4917" y="4880"/>
                  <a:pt x="4917" y="4880"/>
                </a:cubicBezTo>
                <a:cubicBezTo>
                  <a:pt x="4917" y="4880"/>
                  <a:pt x="4924" y="4870"/>
                  <a:pt x="4928" y="4870"/>
                </a:cubicBezTo>
                <a:cubicBezTo>
                  <a:pt x="4932" y="4870"/>
                  <a:pt x="4941" y="4889"/>
                  <a:pt x="4941" y="4889"/>
                </a:cubicBezTo>
                <a:cubicBezTo>
                  <a:pt x="4941" y="4889"/>
                  <a:pt x="4963" y="4869"/>
                  <a:pt x="4970" y="4859"/>
                </a:cubicBezTo>
                <a:cubicBezTo>
                  <a:pt x="4977" y="4849"/>
                  <a:pt x="4982" y="4805"/>
                  <a:pt x="4982" y="4805"/>
                </a:cubicBezTo>
                <a:cubicBezTo>
                  <a:pt x="4982" y="4805"/>
                  <a:pt x="4988" y="4801"/>
                  <a:pt x="4994" y="4797"/>
                </a:cubicBezTo>
                <a:cubicBezTo>
                  <a:pt x="5000" y="4793"/>
                  <a:pt x="5005" y="4771"/>
                  <a:pt x="5005" y="4771"/>
                </a:cubicBezTo>
                <a:cubicBezTo>
                  <a:pt x="5005" y="4771"/>
                  <a:pt x="5018" y="4764"/>
                  <a:pt x="5025" y="4763"/>
                </a:cubicBezTo>
                <a:cubicBezTo>
                  <a:pt x="5032" y="4762"/>
                  <a:pt x="5032" y="4742"/>
                  <a:pt x="5032" y="4742"/>
                </a:cubicBezTo>
                <a:cubicBezTo>
                  <a:pt x="5032" y="4742"/>
                  <a:pt x="5046" y="4737"/>
                  <a:pt x="5059" y="4719"/>
                </a:cubicBezTo>
                <a:cubicBezTo>
                  <a:pt x="5072" y="4701"/>
                  <a:pt x="5087" y="4654"/>
                  <a:pt x="5087" y="4654"/>
                </a:cubicBezTo>
                <a:cubicBezTo>
                  <a:pt x="5087" y="4654"/>
                  <a:pt x="5099" y="4641"/>
                  <a:pt x="5100" y="4635"/>
                </a:cubicBezTo>
                <a:cubicBezTo>
                  <a:pt x="5101" y="4629"/>
                  <a:pt x="5095" y="4613"/>
                  <a:pt x="5095" y="4613"/>
                </a:cubicBezTo>
                <a:cubicBezTo>
                  <a:pt x="5095" y="4613"/>
                  <a:pt x="5098" y="4592"/>
                  <a:pt x="5098" y="4575"/>
                </a:cubicBezTo>
                <a:close/>
                <a:moveTo>
                  <a:pt x="3153" y="1791"/>
                </a:moveTo>
                <a:cubicBezTo>
                  <a:pt x="3139" y="1791"/>
                  <a:pt x="3159" y="1774"/>
                  <a:pt x="3152" y="1771"/>
                </a:cubicBezTo>
                <a:cubicBezTo>
                  <a:pt x="3145" y="1768"/>
                  <a:pt x="3135" y="1781"/>
                  <a:pt x="3135" y="1781"/>
                </a:cubicBezTo>
                <a:cubicBezTo>
                  <a:pt x="3130" y="1783"/>
                  <a:pt x="3130" y="1783"/>
                  <a:pt x="3130" y="1783"/>
                </a:cubicBezTo>
                <a:cubicBezTo>
                  <a:pt x="3126" y="1794"/>
                  <a:pt x="3126" y="1794"/>
                  <a:pt x="3126" y="1794"/>
                </a:cubicBezTo>
                <a:cubicBezTo>
                  <a:pt x="3115" y="1790"/>
                  <a:pt x="3115" y="1790"/>
                  <a:pt x="3115" y="1790"/>
                </a:cubicBezTo>
                <a:cubicBezTo>
                  <a:pt x="3115" y="1790"/>
                  <a:pt x="3115" y="1801"/>
                  <a:pt x="3112" y="1808"/>
                </a:cubicBezTo>
                <a:cubicBezTo>
                  <a:pt x="3109" y="1815"/>
                  <a:pt x="3099" y="1818"/>
                  <a:pt x="3094" y="1823"/>
                </a:cubicBezTo>
                <a:cubicBezTo>
                  <a:pt x="3089" y="1828"/>
                  <a:pt x="3095" y="1836"/>
                  <a:pt x="3095" y="1836"/>
                </a:cubicBezTo>
                <a:cubicBezTo>
                  <a:pt x="3095" y="1836"/>
                  <a:pt x="3091" y="1836"/>
                  <a:pt x="3078" y="1850"/>
                </a:cubicBezTo>
                <a:cubicBezTo>
                  <a:pt x="3065" y="1864"/>
                  <a:pt x="3083" y="1864"/>
                  <a:pt x="3083" y="1872"/>
                </a:cubicBezTo>
                <a:cubicBezTo>
                  <a:pt x="3083" y="1880"/>
                  <a:pt x="3076" y="1881"/>
                  <a:pt x="3076" y="1881"/>
                </a:cubicBezTo>
                <a:cubicBezTo>
                  <a:pt x="3076" y="1881"/>
                  <a:pt x="3084" y="1885"/>
                  <a:pt x="3061" y="1917"/>
                </a:cubicBezTo>
                <a:cubicBezTo>
                  <a:pt x="3038" y="1949"/>
                  <a:pt x="2993" y="1959"/>
                  <a:pt x="2993" y="1959"/>
                </a:cubicBezTo>
                <a:cubicBezTo>
                  <a:pt x="2996" y="1939"/>
                  <a:pt x="2996" y="1939"/>
                  <a:pt x="2996" y="1939"/>
                </a:cubicBezTo>
                <a:cubicBezTo>
                  <a:pt x="2996" y="1939"/>
                  <a:pt x="2992" y="1932"/>
                  <a:pt x="2990" y="1928"/>
                </a:cubicBezTo>
                <a:cubicBezTo>
                  <a:pt x="2988" y="1924"/>
                  <a:pt x="3005" y="1904"/>
                  <a:pt x="3007" y="1897"/>
                </a:cubicBezTo>
                <a:cubicBezTo>
                  <a:pt x="3009" y="1890"/>
                  <a:pt x="3003" y="1889"/>
                  <a:pt x="3005" y="1877"/>
                </a:cubicBezTo>
                <a:cubicBezTo>
                  <a:pt x="3007" y="1865"/>
                  <a:pt x="3029" y="1846"/>
                  <a:pt x="3029" y="1846"/>
                </a:cubicBezTo>
                <a:cubicBezTo>
                  <a:pt x="3029" y="1837"/>
                  <a:pt x="3029" y="1837"/>
                  <a:pt x="3029" y="1837"/>
                </a:cubicBezTo>
                <a:cubicBezTo>
                  <a:pt x="3029" y="1837"/>
                  <a:pt x="3050" y="1822"/>
                  <a:pt x="3053" y="1816"/>
                </a:cubicBezTo>
                <a:cubicBezTo>
                  <a:pt x="3056" y="1810"/>
                  <a:pt x="3088" y="1779"/>
                  <a:pt x="3088" y="1779"/>
                </a:cubicBezTo>
                <a:cubicBezTo>
                  <a:pt x="3067" y="1785"/>
                  <a:pt x="3067" y="1785"/>
                  <a:pt x="3067" y="1785"/>
                </a:cubicBezTo>
                <a:cubicBezTo>
                  <a:pt x="3067" y="1785"/>
                  <a:pt x="3044" y="1804"/>
                  <a:pt x="3040" y="1799"/>
                </a:cubicBezTo>
                <a:cubicBezTo>
                  <a:pt x="3036" y="1794"/>
                  <a:pt x="3076" y="1770"/>
                  <a:pt x="3081" y="1762"/>
                </a:cubicBezTo>
                <a:cubicBezTo>
                  <a:pt x="3086" y="1754"/>
                  <a:pt x="3114" y="1733"/>
                  <a:pt x="3114" y="1733"/>
                </a:cubicBezTo>
                <a:cubicBezTo>
                  <a:pt x="3119" y="1739"/>
                  <a:pt x="3119" y="1739"/>
                  <a:pt x="3119" y="1739"/>
                </a:cubicBezTo>
                <a:cubicBezTo>
                  <a:pt x="3129" y="1733"/>
                  <a:pt x="3129" y="1733"/>
                  <a:pt x="3129" y="1733"/>
                </a:cubicBezTo>
                <a:cubicBezTo>
                  <a:pt x="3129" y="1733"/>
                  <a:pt x="3124" y="1742"/>
                  <a:pt x="3134" y="1741"/>
                </a:cubicBezTo>
                <a:cubicBezTo>
                  <a:pt x="3144" y="1740"/>
                  <a:pt x="3141" y="1726"/>
                  <a:pt x="3141" y="1726"/>
                </a:cubicBezTo>
                <a:cubicBezTo>
                  <a:pt x="3157" y="1731"/>
                  <a:pt x="3157" y="1731"/>
                  <a:pt x="3157" y="1731"/>
                </a:cubicBezTo>
                <a:cubicBezTo>
                  <a:pt x="3157" y="1731"/>
                  <a:pt x="3179" y="1720"/>
                  <a:pt x="3189" y="1723"/>
                </a:cubicBezTo>
                <a:cubicBezTo>
                  <a:pt x="3199" y="1726"/>
                  <a:pt x="3204" y="1738"/>
                  <a:pt x="3204" y="1738"/>
                </a:cubicBezTo>
                <a:cubicBezTo>
                  <a:pt x="3187" y="1744"/>
                  <a:pt x="3187" y="1744"/>
                  <a:pt x="3187" y="1744"/>
                </a:cubicBezTo>
                <a:cubicBezTo>
                  <a:pt x="3189" y="1761"/>
                  <a:pt x="3189" y="1761"/>
                  <a:pt x="3189" y="1761"/>
                </a:cubicBezTo>
                <a:cubicBezTo>
                  <a:pt x="3189" y="1761"/>
                  <a:pt x="3177" y="1759"/>
                  <a:pt x="3170" y="1759"/>
                </a:cubicBezTo>
                <a:cubicBezTo>
                  <a:pt x="3163" y="1759"/>
                  <a:pt x="3166" y="1776"/>
                  <a:pt x="3166" y="1776"/>
                </a:cubicBezTo>
                <a:cubicBezTo>
                  <a:pt x="3166" y="1776"/>
                  <a:pt x="3167" y="1791"/>
                  <a:pt x="3153" y="1791"/>
                </a:cubicBezTo>
                <a:close/>
                <a:moveTo>
                  <a:pt x="3303" y="1940"/>
                </a:moveTo>
                <a:cubicBezTo>
                  <a:pt x="3295" y="1943"/>
                  <a:pt x="3287" y="1946"/>
                  <a:pt x="3267" y="1951"/>
                </a:cubicBezTo>
                <a:cubicBezTo>
                  <a:pt x="3247" y="1956"/>
                  <a:pt x="3239" y="1962"/>
                  <a:pt x="3232" y="1965"/>
                </a:cubicBezTo>
                <a:cubicBezTo>
                  <a:pt x="3225" y="1968"/>
                  <a:pt x="3213" y="1966"/>
                  <a:pt x="3213" y="1966"/>
                </a:cubicBezTo>
                <a:cubicBezTo>
                  <a:pt x="3213" y="1966"/>
                  <a:pt x="3213" y="1971"/>
                  <a:pt x="3201" y="1972"/>
                </a:cubicBezTo>
                <a:cubicBezTo>
                  <a:pt x="3189" y="1973"/>
                  <a:pt x="3188" y="1962"/>
                  <a:pt x="3188" y="1962"/>
                </a:cubicBezTo>
                <a:cubicBezTo>
                  <a:pt x="3188" y="1962"/>
                  <a:pt x="3166" y="1959"/>
                  <a:pt x="3166" y="1952"/>
                </a:cubicBezTo>
                <a:cubicBezTo>
                  <a:pt x="3166" y="1952"/>
                  <a:pt x="3179" y="1946"/>
                  <a:pt x="3190" y="1941"/>
                </a:cubicBezTo>
                <a:cubicBezTo>
                  <a:pt x="3198" y="1937"/>
                  <a:pt x="3205" y="1934"/>
                  <a:pt x="3206" y="1934"/>
                </a:cubicBezTo>
                <a:cubicBezTo>
                  <a:pt x="3209" y="1934"/>
                  <a:pt x="3213" y="1939"/>
                  <a:pt x="3213" y="1939"/>
                </a:cubicBezTo>
                <a:cubicBezTo>
                  <a:pt x="3213" y="1939"/>
                  <a:pt x="3228" y="1925"/>
                  <a:pt x="3236" y="1923"/>
                </a:cubicBezTo>
                <a:cubicBezTo>
                  <a:pt x="3244" y="1921"/>
                  <a:pt x="3252" y="1924"/>
                  <a:pt x="3252" y="1924"/>
                </a:cubicBezTo>
                <a:cubicBezTo>
                  <a:pt x="3252" y="1924"/>
                  <a:pt x="3257" y="1903"/>
                  <a:pt x="3282" y="1902"/>
                </a:cubicBezTo>
                <a:cubicBezTo>
                  <a:pt x="3307" y="1901"/>
                  <a:pt x="3324" y="1908"/>
                  <a:pt x="3324" y="1908"/>
                </a:cubicBezTo>
                <a:cubicBezTo>
                  <a:pt x="3340" y="1894"/>
                  <a:pt x="3340" y="1894"/>
                  <a:pt x="3340" y="1894"/>
                </a:cubicBezTo>
                <a:cubicBezTo>
                  <a:pt x="3382" y="1896"/>
                  <a:pt x="3382" y="1896"/>
                  <a:pt x="3382" y="1896"/>
                </a:cubicBezTo>
                <a:cubicBezTo>
                  <a:pt x="3391" y="1896"/>
                  <a:pt x="3391" y="1896"/>
                  <a:pt x="3391" y="1896"/>
                </a:cubicBezTo>
                <a:cubicBezTo>
                  <a:pt x="3391" y="1896"/>
                  <a:pt x="3311" y="1937"/>
                  <a:pt x="3303" y="1940"/>
                </a:cubicBezTo>
                <a:close/>
                <a:moveTo>
                  <a:pt x="3446" y="1834"/>
                </a:moveTo>
                <a:cubicBezTo>
                  <a:pt x="3450" y="1834"/>
                  <a:pt x="3467" y="1828"/>
                  <a:pt x="3467" y="1828"/>
                </a:cubicBezTo>
                <a:cubicBezTo>
                  <a:pt x="3467" y="1828"/>
                  <a:pt x="3494" y="1838"/>
                  <a:pt x="3498" y="1838"/>
                </a:cubicBezTo>
                <a:cubicBezTo>
                  <a:pt x="3502" y="1838"/>
                  <a:pt x="3502" y="1822"/>
                  <a:pt x="3502" y="1822"/>
                </a:cubicBezTo>
                <a:cubicBezTo>
                  <a:pt x="3502" y="1822"/>
                  <a:pt x="3509" y="1813"/>
                  <a:pt x="3519" y="1816"/>
                </a:cubicBezTo>
                <a:cubicBezTo>
                  <a:pt x="3522" y="1817"/>
                  <a:pt x="3524" y="1818"/>
                  <a:pt x="3525" y="1819"/>
                </a:cubicBezTo>
                <a:cubicBezTo>
                  <a:pt x="3530" y="1824"/>
                  <a:pt x="3531" y="1830"/>
                  <a:pt x="3531" y="1830"/>
                </a:cubicBezTo>
                <a:cubicBezTo>
                  <a:pt x="3531" y="1830"/>
                  <a:pt x="3530" y="1838"/>
                  <a:pt x="3523" y="1844"/>
                </a:cubicBezTo>
                <a:cubicBezTo>
                  <a:pt x="3516" y="1850"/>
                  <a:pt x="3516" y="1860"/>
                  <a:pt x="3516" y="1860"/>
                </a:cubicBezTo>
                <a:cubicBezTo>
                  <a:pt x="3504" y="1859"/>
                  <a:pt x="3504" y="1859"/>
                  <a:pt x="3504" y="1859"/>
                </a:cubicBezTo>
                <a:cubicBezTo>
                  <a:pt x="3504" y="1859"/>
                  <a:pt x="3504" y="1863"/>
                  <a:pt x="3492" y="1868"/>
                </a:cubicBezTo>
                <a:cubicBezTo>
                  <a:pt x="3480" y="1873"/>
                  <a:pt x="3474" y="1863"/>
                  <a:pt x="3474" y="1863"/>
                </a:cubicBezTo>
                <a:cubicBezTo>
                  <a:pt x="3474" y="1863"/>
                  <a:pt x="3469" y="1871"/>
                  <a:pt x="3456" y="1872"/>
                </a:cubicBezTo>
                <a:cubicBezTo>
                  <a:pt x="3443" y="1873"/>
                  <a:pt x="3439" y="1863"/>
                  <a:pt x="3430" y="1862"/>
                </a:cubicBezTo>
                <a:cubicBezTo>
                  <a:pt x="3421" y="1861"/>
                  <a:pt x="3414" y="1869"/>
                  <a:pt x="3393" y="1874"/>
                </a:cubicBezTo>
                <a:cubicBezTo>
                  <a:pt x="3392" y="1874"/>
                  <a:pt x="3390" y="1875"/>
                  <a:pt x="3389" y="1875"/>
                </a:cubicBezTo>
                <a:cubicBezTo>
                  <a:pt x="3371" y="1879"/>
                  <a:pt x="3365" y="1878"/>
                  <a:pt x="3364" y="1871"/>
                </a:cubicBezTo>
                <a:cubicBezTo>
                  <a:pt x="3363" y="1861"/>
                  <a:pt x="3397" y="1839"/>
                  <a:pt x="3410" y="1839"/>
                </a:cubicBezTo>
                <a:cubicBezTo>
                  <a:pt x="3423" y="1839"/>
                  <a:pt x="3442" y="1834"/>
                  <a:pt x="3446" y="1834"/>
                </a:cubicBezTo>
                <a:close/>
                <a:moveTo>
                  <a:pt x="3263" y="1714"/>
                </a:moveTo>
                <a:cubicBezTo>
                  <a:pt x="3268" y="1713"/>
                  <a:pt x="3276" y="1716"/>
                  <a:pt x="3288" y="1717"/>
                </a:cubicBezTo>
                <a:cubicBezTo>
                  <a:pt x="3300" y="1718"/>
                  <a:pt x="3307" y="1716"/>
                  <a:pt x="3307" y="1716"/>
                </a:cubicBezTo>
                <a:cubicBezTo>
                  <a:pt x="3319" y="1716"/>
                  <a:pt x="3334" y="1728"/>
                  <a:pt x="3345" y="1728"/>
                </a:cubicBezTo>
                <a:cubicBezTo>
                  <a:pt x="3356" y="1728"/>
                  <a:pt x="3366" y="1728"/>
                  <a:pt x="3366" y="1728"/>
                </a:cubicBezTo>
                <a:cubicBezTo>
                  <a:pt x="3388" y="1728"/>
                  <a:pt x="3386" y="1742"/>
                  <a:pt x="3386" y="1751"/>
                </a:cubicBezTo>
                <a:cubicBezTo>
                  <a:pt x="3386" y="1760"/>
                  <a:pt x="3396" y="1749"/>
                  <a:pt x="3396" y="1759"/>
                </a:cubicBezTo>
                <a:cubicBezTo>
                  <a:pt x="3396" y="1769"/>
                  <a:pt x="3392" y="1772"/>
                  <a:pt x="3387" y="1777"/>
                </a:cubicBezTo>
                <a:cubicBezTo>
                  <a:pt x="3382" y="1782"/>
                  <a:pt x="3400" y="1790"/>
                  <a:pt x="3400" y="1790"/>
                </a:cubicBezTo>
                <a:cubicBezTo>
                  <a:pt x="3385" y="1789"/>
                  <a:pt x="3385" y="1789"/>
                  <a:pt x="3385" y="1789"/>
                </a:cubicBezTo>
                <a:cubicBezTo>
                  <a:pt x="3385" y="1789"/>
                  <a:pt x="3385" y="1798"/>
                  <a:pt x="3378" y="1806"/>
                </a:cubicBezTo>
                <a:cubicBezTo>
                  <a:pt x="3370" y="1813"/>
                  <a:pt x="3369" y="1806"/>
                  <a:pt x="3350" y="1796"/>
                </a:cubicBezTo>
                <a:cubicBezTo>
                  <a:pt x="3331" y="1786"/>
                  <a:pt x="3337" y="1767"/>
                  <a:pt x="3337" y="1767"/>
                </a:cubicBezTo>
                <a:cubicBezTo>
                  <a:pt x="3326" y="1762"/>
                  <a:pt x="3326" y="1762"/>
                  <a:pt x="3326" y="1762"/>
                </a:cubicBezTo>
                <a:cubicBezTo>
                  <a:pt x="3328" y="1774"/>
                  <a:pt x="3328" y="1774"/>
                  <a:pt x="3328" y="1774"/>
                </a:cubicBezTo>
                <a:cubicBezTo>
                  <a:pt x="3328" y="1774"/>
                  <a:pt x="3336" y="1787"/>
                  <a:pt x="3328" y="1801"/>
                </a:cubicBezTo>
                <a:cubicBezTo>
                  <a:pt x="3320" y="1815"/>
                  <a:pt x="3302" y="1819"/>
                  <a:pt x="3294" y="1832"/>
                </a:cubicBezTo>
                <a:cubicBezTo>
                  <a:pt x="3286" y="1845"/>
                  <a:pt x="3283" y="1857"/>
                  <a:pt x="3275" y="1866"/>
                </a:cubicBezTo>
                <a:cubicBezTo>
                  <a:pt x="3267" y="1874"/>
                  <a:pt x="3251" y="1881"/>
                  <a:pt x="3244" y="1877"/>
                </a:cubicBezTo>
                <a:cubicBezTo>
                  <a:pt x="3244" y="1876"/>
                  <a:pt x="3243" y="1876"/>
                  <a:pt x="3243" y="1876"/>
                </a:cubicBezTo>
                <a:cubicBezTo>
                  <a:pt x="3237" y="1870"/>
                  <a:pt x="3250" y="1841"/>
                  <a:pt x="3248" y="1833"/>
                </a:cubicBezTo>
                <a:cubicBezTo>
                  <a:pt x="3246" y="1825"/>
                  <a:pt x="3232" y="1832"/>
                  <a:pt x="3226" y="1837"/>
                </a:cubicBezTo>
                <a:cubicBezTo>
                  <a:pt x="3220" y="1842"/>
                  <a:pt x="3192" y="1860"/>
                  <a:pt x="3190" y="1847"/>
                </a:cubicBezTo>
                <a:cubicBezTo>
                  <a:pt x="3189" y="1841"/>
                  <a:pt x="3213" y="1827"/>
                  <a:pt x="3216" y="1822"/>
                </a:cubicBezTo>
                <a:cubicBezTo>
                  <a:pt x="3219" y="1817"/>
                  <a:pt x="3230" y="1814"/>
                  <a:pt x="3239" y="1808"/>
                </a:cubicBezTo>
                <a:cubicBezTo>
                  <a:pt x="3248" y="1802"/>
                  <a:pt x="3240" y="1779"/>
                  <a:pt x="3240" y="1779"/>
                </a:cubicBezTo>
                <a:cubicBezTo>
                  <a:pt x="3240" y="1779"/>
                  <a:pt x="3243" y="1784"/>
                  <a:pt x="3251" y="1767"/>
                </a:cubicBezTo>
                <a:cubicBezTo>
                  <a:pt x="3259" y="1750"/>
                  <a:pt x="3239" y="1757"/>
                  <a:pt x="3230" y="1750"/>
                </a:cubicBezTo>
                <a:cubicBezTo>
                  <a:pt x="3221" y="1743"/>
                  <a:pt x="3221" y="1737"/>
                  <a:pt x="3221" y="1737"/>
                </a:cubicBezTo>
                <a:cubicBezTo>
                  <a:pt x="3221" y="1737"/>
                  <a:pt x="3218" y="1744"/>
                  <a:pt x="3213" y="1739"/>
                </a:cubicBezTo>
                <a:cubicBezTo>
                  <a:pt x="3208" y="1734"/>
                  <a:pt x="3214" y="1724"/>
                  <a:pt x="3214" y="1724"/>
                </a:cubicBezTo>
                <a:cubicBezTo>
                  <a:pt x="3238" y="1728"/>
                  <a:pt x="3238" y="1728"/>
                  <a:pt x="3238" y="1728"/>
                </a:cubicBezTo>
                <a:cubicBezTo>
                  <a:pt x="3238" y="1728"/>
                  <a:pt x="3242" y="1725"/>
                  <a:pt x="3239" y="1717"/>
                </a:cubicBezTo>
                <a:cubicBezTo>
                  <a:pt x="3238" y="1713"/>
                  <a:pt x="3242" y="1713"/>
                  <a:pt x="3247" y="1713"/>
                </a:cubicBezTo>
                <a:cubicBezTo>
                  <a:pt x="3253" y="1713"/>
                  <a:pt x="3260" y="1714"/>
                  <a:pt x="3263" y="1714"/>
                </a:cubicBezTo>
                <a:close/>
                <a:moveTo>
                  <a:pt x="3009" y="1640"/>
                </a:moveTo>
                <a:cubicBezTo>
                  <a:pt x="3021" y="1632"/>
                  <a:pt x="3036" y="1629"/>
                  <a:pt x="3055" y="1625"/>
                </a:cubicBezTo>
                <a:cubicBezTo>
                  <a:pt x="3060" y="1624"/>
                  <a:pt x="3064" y="1622"/>
                  <a:pt x="3068" y="1619"/>
                </a:cubicBezTo>
                <a:cubicBezTo>
                  <a:pt x="3080" y="1611"/>
                  <a:pt x="3087" y="1598"/>
                  <a:pt x="3088" y="1595"/>
                </a:cubicBezTo>
                <a:cubicBezTo>
                  <a:pt x="3089" y="1591"/>
                  <a:pt x="3108" y="1599"/>
                  <a:pt x="3108" y="1599"/>
                </a:cubicBezTo>
                <a:cubicBezTo>
                  <a:pt x="3116" y="1593"/>
                  <a:pt x="3116" y="1593"/>
                  <a:pt x="3116" y="1593"/>
                </a:cubicBezTo>
                <a:cubicBezTo>
                  <a:pt x="3116" y="1593"/>
                  <a:pt x="3123" y="1581"/>
                  <a:pt x="3124" y="1578"/>
                </a:cubicBezTo>
                <a:cubicBezTo>
                  <a:pt x="3125" y="1575"/>
                  <a:pt x="3133" y="1588"/>
                  <a:pt x="3133" y="1588"/>
                </a:cubicBezTo>
                <a:cubicBezTo>
                  <a:pt x="3150" y="1585"/>
                  <a:pt x="3150" y="1585"/>
                  <a:pt x="3150" y="1585"/>
                </a:cubicBezTo>
                <a:cubicBezTo>
                  <a:pt x="3150" y="1585"/>
                  <a:pt x="3141" y="1575"/>
                  <a:pt x="3150" y="1568"/>
                </a:cubicBezTo>
                <a:cubicBezTo>
                  <a:pt x="3159" y="1561"/>
                  <a:pt x="3168" y="1576"/>
                  <a:pt x="3168" y="1576"/>
                </a:cubicBezTo>
                <a:cubicBezTo>
                  <a:pt x="3186" y="1576"/>
                  <a:pt x="3186" y="1576"/>
                  <a:pt x="3186" y="1576"/>
                </a:cubicBezTo>
                <a:cubicBezTo>
                  <a:pt x="3190" y="1580"/>
                  <a:pt x="3190" y="1580"/>
                  <a:pt x="3190" y="1580"/>
                </a:cubicBezTo>
                <a:cubicBezTo>
                  <a:pt x="3190" y="1580"/>
                  <a:pt x="3210" y="1581"/>
                  <a:pt x="3215" y="1586"/>
                </a:cubicBezTo>
                <a:cubicBezTo>
                  <a:pt x="3220" y="1591"/>
                  <a:pt x="3209" y="1617"/>
                  <a:pt x="3209" y="1617"/>
                </a:cubicBezTo>
                <a:cubicBezTo>
                  <a:pt x="3215" y="1624"/>
                  <a:pt x="3215" y="1624"/>
                  <a:pt x="3215" y="1624"/>
                </a:cubicBezTo>
                <a:cubicBezTo>
                  <a:pt x="3209" y="1639"/>
                  <a:pt x="3209" y="1639"/>
                  <a:pt x="3209" y="1639"/>
                </a:cubicBezTo>
                <a:cubicBezTo>
                  <a:pt x="3209" y="1639"/>
                  <a:pt x="3248" y="1616"/>
                  <a:pt x="3259" y="1623"/>
                </a:cubicBezTo>
                <a:cubicBezTo>
                  <a:pt x="3270" y="1630"/>
                  <a:pt x="3242" y="1640"/>
                  <a:pt x="3241" y="1644"/>
                </a:cubicBezTo>
                <a:cubicBezTo>
                  <a:pt x="3240" y="1648"/>
                  <a:pt x="3255" y="1651"/>
                  <a:pt x="3255" y="1656"/>
                </a:cubicBezTo>
                <a:cubicBezTo>
                  <a:pt x="3255" y="1661"/>
                  <a:pt x="3239" y="1667"/>
                  <a:pt x="3239" y="1672"/>
                </a:cubicBezTo>
                <a:cubicBezTo>
                  <a:pt x="3239" y="1677"/>
                  <a:pt x="3252" y="1677"/>
                  <a:pt x="3249" y="1684"/>
                </a:cubicBezTo>
                <a:cubicBezTo>
                  <a:pt x="3246" y="1691"/>
                  <a:pt x="3240" y="1692"/>
                  <a:pt x="3240" y="1692"/>
                </a:cubicBezTo>
                <a:cubicBezTo>
                  <a:pt x="3238" y="1698"/>
                  <a:pt x="3238" y="1698"/>
                  <a:pt x="3238" y="1698"/>
                </a:cubicBezTo>
                <a:cubicBezTo>
                  <a:pt x="3236" y="1706"/>
                  <a:pt x="3236" y="1706"/>
                  <a:pt x="3236" y="1706"/>
                </a:cubicBezTo>
                <a:cubicBezTo>
                  <a:pt x="3220" y="1700"/>
                  <a:pt x="3220" y="1700"/>
                  <a:pt x="3220" y="1700"/>
                </a:cubicBezTo>
                <a:cubicBezTo>
                  <a:pt x="3219" y="1686"/>
                  <a:pt x="3219" y="1686"/>
                  <a:pt x="3219" y="1686"/>
                </a:cubicBezTo>
                <a:cubicBezTo>
                  <a:pt x="3210" y="1688"/>
                  <a:pt x="3210" y="1688"/>
                  <a:pt x="3210" y="1688"/>
                </a:cubicBezTo>
                <a:cubicBezTo>
                  <a:pt x="3199" y="1693"/>
                  <a:pt x="3199" y="1693"/>
                  <a:pt x="3199" y="1693"/>
                </a:cubicBezTo>
                <a:cubicBezTo>
                  <a:pt x="3163" y="1690"/>
                  <a:pt x="3163" y="1690"/>
                  <a:pt x="3163" y="1690"/>
                </a:cubicBezTo>
                <a:cubicBezTo>
                  <a:pt x="3163" y="1690"/>
                  <a:pt x="3150" y="1701"/>
                  <a:pt x="3129" y="1699"/>
                </a:cubicBezTo>
                <a:cubicBezTo>
                  <a:pt x="3108" y="1697"/>
                  <a:pt x="3113" y="1683"/>
                  <a:pt x="3109" y="1678"/>
                </a:cubicBezTo>
                <a:cubicBezTo>
                  <a:pt x="3105" y="1673"/>
                  <a:pt x="3085" y="1684"/>
                  <a:pt x="3082" y="1675"/>
                </a:cubicBezTo>
                <a:cubicBezTo>
                  <a:pt x="3119" y="1654"/>
                  <a:pt x="3119" y="1654"/>
                  <a:pt x="3119" y="1654"/>
                </a:cubicBezTo>
                <a:cubicBezTo>
                  <a:pt x="3119" y="1654"/>
                  <a:pt x="3114" y="1649"/>
                  <a:pt x="3107" y="1649"/>
                </a:cubicBezTo>
                <a:cubicBezTo>
                  <a:pt x="3100" y="1649"/>
                  <a:pt x="3086" y="1661"/>
                  <a:pt x="3082" y="1662"/>
                </a:cubicBezTo>
                <a:cubicBezTo>
                  <a:pt x="3078" y="1663"/>
                  <a:pt x="3056" y="1676"/>
                  <a:pt x="3042" y="1681"/>
                </a:cubicBezTo>
                <a:cubicBezTo>
                  <a:pt x="3028" y="1686"/>
                  <a:pt x="3012" y="1683"/>
                  <a:pt x="3012" y="1683"/>
                </a:cubicBezTo>
                <a:cubicBezTo>
                  <a:pt x="3006" y="1692"/>
                  <a:pt x="3006" y="1692"/>
                  <a:pt x="3006" y="1692"/>
                </a:cubicBezTo>
                <a:cubicBezTo>
                  <a:pt x="3006" y="1692"/>
                  <a:pt x="2982" y="1694"/>
                  <a:pt x="2973" y="1693"/>
                </a:cubicBezTo>
                <a:cubicBezTo>
                  <a:pt x="2964" y="1692"/>
                  <a:pt x="2988" y="1675"/>
                  <a:pt x="2988" y="1675"/>
                </a:cubicBezTo>
                <a:cubicBezTo>
                  <a:pt x="2988" y="1675"/>
                  <a:pt x="2978" y="1679"/>
                  <a:pt x="2959" y="1680"/>
                </a:cubicBezTo>
                <a:cubicBezTo>
                  <a:pt x="2940" y="1681"/>
                  <a:pt x="2938" y="1693"/>
                  <a:pt x="2921" y="1687"/>
                </a:cubicBezTo>
                <a:cubicBezTo>
                  <a:pt x="2904" y="1681"/>
                  <a:pt x="2997" y="1648"/>
                  <a:pt x="3009" y="1640"/>
                </a:cubicBezTo>
                <a:close/>
                <a:moveTo>
                  <a:pt x="2864" y="1316"/>
                </a:moveTo>
                <a:cubicBezTo>
                  <a:pt x="2874" y="1312"/>
                  <a:pt x="2873" y="1319"/>
                  <a:pt x="2877" y="1320"/>
                </a:cubicBezTo>
                <a:cubicBezTo>
                  <a:pt x="2881" y="1321"/>
                  <a:pt x="2892" y="1318"/>
                  <a:pt x="2900" y="1335"/>
                </a:cubicBezTo>
                <a:cubicBezTo>
                  <a:pt x="2908" y="1352"/>
                  <a:pt x="2887" y="1368"/>
                  <a:pt x="2887" y="1368"/>
                </a:cubicBezTo>
                <a:cubicBezTo>
                  <a:pt x="2887" y="1368"/>
                  <a:pt x="2884" y="1397"/>
                  <a:pt x="2885" y="1406"/>
                </a:cubicBezTo>
                <a:cubicBezTo>
                  <a:pt x="2886" y="1415"/>
                  <a:pt x="2881" y="1424"/>
                  <a:pt x="2878" y="1429"/>
                </a:cubicBezTo>
                <a:cubicBezTo>
                  <a:pt x="2875" y="1434"/>
                  <a:pt x="2882" y="1435"/>
                  <a:pt x="2885" y="1446"/>
                </a:cubicBezTo>
                <a:cubicBezTo>
                  <a:pt x="2888" y="1457"/>
                  <a:pt x="2864" y="1484"/>
                  <a:pt x="2864" y="1484"/>
                </a:cubicBezTo>
                <a:cubicBezTo>
                  <a:pt x="2850" y="1479"/>
                  <a:pt x="2850" y="1479"/>
                  <a:pt x="2850" y="1479"/>
                </a:cubicBezTo>
                <a:cubicBezTo>
                  <a:pt x="2850" y="1479"/>
                  <a:pt x="2847" y="1498"/>
                  <a:pt x="2830" y="1495"/>
                </a:cubicBezTo>
                <a:cubicBezTo>
                  <a:pt x="2813" y="1492"/>
                  <a:pt x="2869" y="1444"/>
                  <a:pt x="2869" y="1432"/>
                </a:cubicBezTo>
                <a:cubicBezTo>
                  <a:pt x="2869" y="1420"/>
                  <a:pt x="2848" y="1440"/>
                  <a:pt x="2848" y="1440"/>
                </a:cubicBezTo>
                <a:cubicBezTo>
                  <a:pt x="2861" y="1419"/>
                  <a:pt x="2861" y="1419"/>
                  <a:pt x="2861" y="1419"/>
                </a:cubicBezTo>
                <a:cubicBezTo>
                  <a:pt x="2861" y="1419"/>
                  <a:pt x="2865" y="1406"/>
                  <a:pt x="2854" y="1403"/>
                </a:cubicBezTo>
                <a:cubicBezTo>
                  <a:pt x="2843" y="1400"/>
                  <a:pt x="2849" y="1420"/>
                  <a:pt x="2836" y="1420"/>
                </a:cubicBezTo>
                <a:cubicBezTo>
                  <a:pt x="2823" y="1420"/>
                  <a:pt x="2833" y="1389"/>
                  <a:pt x="2833" y="1389"/>
                </a:cubicBezTo>
                <a:cubicBezTo>
                  <a:pt x="2833" y="1389"/>
                  <a:pt x="2827" y="1383"/>
                  <a:pt x="2825" y="1374"/>
                </a:cubicBezTo>
                <a:cubicBezTo>
                  <a:pt x="2823" y="1365"/>
                  <a:pt x="2847" y="1365"/>
                  <a:pt x="2849" y="1359"/>
                </a:cubicBezTo>
                <a:cubicBezTo>
                  <a:pt x="2851" y="1353"/>
                  <a:pt x="2829" y="1362"/>
                  <a:pt x="2825" y="1353"/>
                </a:cubicBezTo>
                <a:cubicBezTo>
                  <a:pt x="2824" y="1351"/>
                  <a:pt x="2854" y="1320"/>
                  <a:pt x="2864" y="1316"/>
                </a:cubicBezTo>
                <a:close/>
                <a:moveTo>
                  <a:pt x="2777" y="867"/>
                </a:moveTo>
                <a:cubicBezTo>
                  <a:pt x="2795" y="866"/>
                  <a:pt x="2833" y="870"/>
                  <a:pt x="2830" y="874"/>
                </a:cubicBezTo>
                <a:cubicBezTo>
                  <a:pt x="2827" y="878"/>
                  <a:pt x="2806" y="888"/>
                  <a:pt x="2806" y="885"/>
                </a:cubicBezTo>
                <a:cubicBezTo>
                  <a:pt x="2806" y="882"/>
                  <a:pt x="2794" y="868"/>
                  <a:pt x="2790" y="875"/>
                </a:cubicBezTo>
                <a:cubicBezTo>
                  <a:pt x="2786" y="882"/>
                  <a:pt x="2787" y="889"/>
                  <a:pt x="2787" y="889"/>
                </a:cubicBezTo>
                <a:cubicBezTo>
                  <a:pt x="2787" y="889"/>
                  <a:pt x="2773" y="881"/>
                  <a:pt x="2767" y="883"/>
                </a:cubicBezTo>
                <a:cubicBezTo>
                  <a:pt x="2761" y="885"/>
                  <a:pt x="2765" y="892"/>
                  <a:pt x="2765" y="892"/>
                </a:cubicBezTo>
                <a:cubicBezTo>
                  <a:pt x="2748" y="894"/>
                  <a:pt x="2748" y="894"/>
                  <a:pt x="2748" y="894"/>
                </a:cubicBezTo>
                <a:cubicBezTo>
                  <a:pt x="2748" y="894"/>
                  <a:pt x="2736" y="890"/>
                  <a:pt x="2721" y="900"/>
                </a:cubicBezTo>
                <a:cubicBezTo>
                  <a:pt x="2706" y="910"/>
                  <a:pt x="2677" y="929"/>
                  <a:pt x="2663" y="932"/>
                </a:cubicBezTo>
                <a:cubicBezTo>
                  <a:pt x="2649" y="935"/>
                  <a:pt x="2629" y="941"/>
                  <a:pt x="2629" y="941"/>
                </a:cubicBezTo>
                <a:cubicBezTo>
                  <a:pt x="2629" y="941"/>
                  <a:pt x="2598" y="933"/>
                  <a:pt x="2590" y="941"/>
                </a:cubicBezTo>
                <a:cubicBezTo>
                  <a:pt x="2582" y="949"/>
                  <a:pt x="2576" y="960"/>
                  <a:pt x="2576" y="960"/>
                </a:cubicBezTo>
                <a:cubicBezTo>
                  <a:pt x="2547" y="960"/>
                  <a:pt x="2547" y="960"/>
                  <a:pt x="2547" y="960"/>
                </a:cubicBezTo>
                <a:cubicBezTo>
                  <a:pt x="2541" y="966"/>
                  <a:pt x="2541" y="966"/>
                  <a:pt x="2541" y="966"/>
                </a:cubicBezTo>
                <a:cubicBezTo>
                  <a:pt x="2541" y="966"/>
                  <a:pt x="2527" y="963"/>
                  <a:pt x="2520" y="965"/>
                </a:cubicBezTo>
                <a:cubicBezTo>
                  <a:pt x="2513" y="967"/>
                  <a:pt x="2494" y="970"/>
                  <a:pt x="2487" y="969"/>
                </a:cubicBezTo>
                <a:cubicBezTo>
                  <a:pt x="2480" y="968"/>
                  <a:pt x="2469" y="960"/>
                  <a:pt x="2466" y="961"/>
                </a:cubicBezTo>
                <a:cubicBezTo>
                  <a:pt x="2463" y="962"/>
                  <a:pt x="2445" y="959"/>
                  <a:pt x="2445" y="955"/>
                </a:cubicBezTo>
                <a:cubicBezTo>
                  <a:pt x="2445" y="951"/>
                  <a:pt x="2467" y="952"/>
                  <a:pt x="2467" y="952"/>
                </a:cubicBezTo>
                <a:cubicBezTo>
                  <a:pt x="2467" y="952"/>
                  <a:pt x="2476" y="942"/>
                  <a:pt x="2479" y="942"/>
                </a:cubicBezTo>
                <a:cubicBezTo>
                  <a:pt x="2482" y="942"/>
                  <a:pt x="2490" y="950"/>
                  <a:pt x="2500" y="950"/>
                </a:cubicBezTo>
                <a:cubicBezTo>
                  <a:pt x="2510" y="950"/>
                  <a:pt x="2510" y="942"/>
                  <a:pt x="2510" y="942"/>
                </a:cubicBezTo>
                <a:cubicBezTo>
                  <a:pt x="2521" y="942"/>
                  <a:pt x="2521" y="942"/>
                  <a:pt x="2521" y="942"/>
                </a:cubicBezTo>
                <a:cubicBezTo>
                  <a:pt x="2521" y="942"/>
                  <a:pt x="2531" y="924"/>
                  <a:pt x="2541" y="923"/>
                </a:cubicBezTo>
                <a:cubicBezTo>
                  <a:pt x="2551" y="922"/>
                  <a:pt x="2554" y="931"/>
                  <a:pt x="2572" y="924"/>
                </a:cubicBezTo>
                <a:cubicBezTo>
                  <a:pt x="2590" y="917"/>
                  <a:pt x="2575" y="895"/>
                  <a:pt x="2575" y="895"/>
                </a:cubicBezTo>
                <a:cubicBezTo>
                  <a:pt x="2575" y="895"/>
                  <a:pt x="2553" y="881"/>
                  <a:pt x="2567" y="875"/>
                </a:cubicBezTo>
                <a:cubicBezTo>
                  <a:pt x="2573" y="872"/>
                  <a:pt x="2581" y="885"/>
                  <a:pt x="2581" y="885"/>
                </a:cubicBezTo>
                <a:cubicBezTo>
                  <a:pt x="2589" y="884"/>
                  <a:pt x="2589" y="884"/>
                  <a:pt x="2589" y="884"/>
                </a:cubicBezTo>
                <a:cubicBezTo>
                  <a:pt x="2601" y="895"/>
                  <a:pt x="2601" y="895"/>
                  <a:pt x="2601" y="895"/>
                </a:cubicBezTo>
                <a:cubicBezTo>
                  <a:pt x="2601" y="895"/>
                  <a:pt x="2615" y="894"/>
                  <a:pt x="2619" y="897"/>
                </a:cubicBezTo>
                <a:cubicBezTo>
                  <a:pt x="2623" y="900"/>
                  <a:pt x="2612" y="915"/>
                  <a:pt x="2635" y="914"/>
                </a:cubicBezTo>
                <a:cubicBezTo>
                  <a:pt x="2658" y="913"/>
                  <a:pt x="2658" y="908"/>
                  <a:pt x="2658" y="908"/>
                </a:cubicBezTo>
                <a:cubicBezTo>
                  <a:pt x="2669" y="909"/>
                  <a:pt x="2669" y="909"/>
                  <a:pt x="2669" y="909"/>
                </a:cubicBezTo>
                <a:cubicBezTo>
                  <a:pt x="2669" y="909"/>
                  <a:pt x="2709" y="893"/>
                  <a:pt x="2723" y="884"/>
                </a:cubicBezTo>
                <a:cubicBezTo>
                  <a:pt x="2737" y="875"/>
                  <a:pt x="2759" y="868"/>
                  <a:pt x="2777" y="867"/>
                </a:cubicBezTo>
                <a:close/>
                <a:moveTo>
                  <a:pt x="2442" y="702"/>
                </a:moveTo>
                <a:cubicBezTo>
                  <a:pt x="2452" y="697"/>
                  <a:pt x="2461" y="703"/>
                  <a:pt x="2474" y="703"/>
                </a:cubicBezTo>
                <a:cubicBezTo>
                  <a:pt x="2487" y="703"/>
                  <a:pt x="2483" y="694"/>
                  <a:pt x="2483" y="694"/>
                </a:cubicBezTo>
                <a:cubicBezTo>
                  <a:pt x="2553" y="689"/>
                  <a:pt x="2553" y="689"/>
                  <a:pt x="2553" y="689"/>
                </a:cubicBezTo>
                <a:cubicBezTo>
                  <a:pt x="2553" y="689"/>
                  <a:pt x="2588" y="679"/>
                  <a:pt x="2601" y="677"/>
                </a:cubicBezTo>
                <a:cubicBezTo>
                  <a:pt x="2614" y="675"/>
                  <a:pt x="2622" y="682"/>
                  <a:pt x="2622" y="682"/>
                </a:cubicBezTo>
                <a:cubicBezTo>
                  <a:pt x="2622" y="682"/>
                  <a:pt x="2625" y="676"/>
                  <a:pt x="2632" y="673"/>
                </a:cubicBezTo>
                <a:cubicBezTo>
                  <a:pt x="2639" y="670"/>
                  <a:pt x="2661" y="680"/>
                  <a:pt x="2661" y="680"/>
                </a:cubicBezTo>
                <a:cubicBezTo>
                  <a:pt x="2661" y="680"/>
                  <a:pt x="2639" y="686"/>
                  <a:pt x="2631" y="690"/>
                </a:cubicBezTo>
                <a:cubicBezTo>
                  <a:pt x="2623" y="694"/>
                  <a:pt x="2589" y="696"/>
                  <a:pt x="2589" y="696"/>
                </a:cubicBezTo>
                <a:cubicBezTo>
                  <a:pt x="2587" y="704"/>
                  <a:pt x="2587" y="704"/>
                  <a:pt x="2587" y="704"/>
                </a:cubicBezTo>
                <a:cubicBezTo>
                  <a:pt x="2605" y="704"/>
                  <a:pt x="2605" y="704"/>
                  <a:pt x="2605" y="704"/>
                </a:cubicBezTo>
                <a:cubicBezTo>
                  <a:pt x="2605" y="704"/>
                  <a:pt x="2616" y="707"/>
                  <a:pt x="2620" y="707"/>
                </a:cubicBezTo>
                <a:cubicBezTo>
                  <a:pt x="2624" y="707"/>
                  <a:pt x="2650" y="704"/>
                  <a:pt x="2664" y="703"/>
                </a:cubicBezTo>
                <a:cubicBezTo>
                  <a:pt x="2678" y="702"/>
                  <a:pt x="2658" y="693"/>
                  <a:pt x="2658" y="693"/>
                </a:cubicBezTo>
                <a:cubicBezTo>
                  <a:pt x="2695" y="692"/>
                  <a:pt x="2695" y="692"/>
                  <a:pt x="2695" y="692"/>
                </a:cubicBezTo>
                <a:cubicBezTo>
                  <a:pt x="2695" y="692"/>
                  <a:pt x="2690" y="705"/>
                  <a:pt x="2671" y="711"/>
                </a:cubicBezTo>
                <a:cubicBezTo>
                  <a:pt x="2652" y="717"/>
                  <a:pt x="2640" y="724"/>
                  <a:pt x="2640" y="724"/>
                </a:cubicBezTo>
                <a:cubicBezTo>
                  <a:pt x="2640" y="724"/>
                  <a:pt x="2639" y="736"/>
                  <a:pt x="2631" y="738"/>
                </a:cubicBezTo>
                <a:cubicBezTo>
                  <a:pt x="2623" y="740"/>
                  <a:pt x="2601" y="729"/>
                  <a:pt x="2601" y="729"/>
                </a:cubicBezTo>
                <a:cubicBezTo>
                  <a:pt x="2596" y="736"/>
                  <a:pt x="2596" y="736"/>
                  <a:pt x="2596" y="736"/>
                </a:cubicBezTo>
                <a:cubicBezTo>
                  <a:pt x="2586" y="727"/>
                  <a:pt x="2586" y="727"/>
                  <a:pt x="2586" y="727"/>
                </a:cubicBezTo>
                <a:cubicBezTo>
                  <a:pt x="2576" y="737"/>
                  <a:pt x="2576" y="737"/>
                  <a:pt x="2576" y="737"/>
                </a:cubicBezTo>
                <a:cubicBezTo>
                  <a:pt x="2576" y="737"/>
                  <a:pt x="2568" y="731"/>
                  <a:pt x="2562" y="738"/>
                </a:cubicBezTo>
                <a:cubicBezTo>
                  <a:pt x="2556" y="745"/>
                  <a:pt x="2568" y="751"/>
                  <a:pt x="2568" y="751"/>
                </a:cubicBezTo>
                <a:cubicBezTo>
                  <a:pt x="2547" y="754"/>
                  <a:pt x="2547" y="754"/>
                  <a:pt x="2547" y="754"/>
                </a:cubicBezTo>
                <a:cubicBezTo>
                  <a:pt x="2547" y="754"/>
                  <a:pt x="2532" y="764"/>
                  <a:pt x="2529" y="764"/>
                </a:cubicBezTo>
                <a:cubicBezTo>
                  <a:pt x="2526" y="764"/>
                  <a:pt x="2483" y="777"/>
                  <a:pt x="2472" y="773"/>
                </a:cubicBezTo>
                <a:cubicBezTo>
                  <a:pt x="2461" y="769"/>
                  <a:pt x="2500" y="762"/>
                  <a:pt x="2515" y="759"/>
                </a:cubicBezTo>
                <a:cubicBezTo>
                  <a:pt x="2530" y="756"/>
                  <a:pt x="2552" y="739"/>
                  <a:pt x="2539" y="737"/>
                </a:cubicBezTo>
                <a:cubicBezTo>
                  <a:pt x="2526" y="735"/>
                  <a:pt x="2474" y="764"/>
                  <a:pt x="2461" y="766"/>
                </a:cubicBezTo>
                <a:cubicBezTo>
                  <a:pt x="2448" y="768"/>
                  <a:pt x="2422" y="764"/>
                  <a:pt x="2413" y="759"/>
                </a:cubicBezTo>
                <a:cubicBezTo>
                  <a:pt x="2404" y="754"/>
                  <a:pt x="2444" y="753"/>
                  <a:pt x="2451" y="748"/>
                </a:cubicBezTo>
                <a:cubicBezTo>
                  <a:pt x="2458" y="743"/>
                  <a:pt x="2486" y="733"/>
                  <a:pt x="2486" y="733"/>
                </a:cubicBezTo>
                <a:cubicBezTo>
                  <a:pt x="2486" y="733"/>
                  <a:pt x="2481" y="725"/>
                  <a:pt x="2487" y="722"/>
                </a:cubicBezTo>
                <a:cubicBezTo>
                  <a:pt x="2493" y="719"/>
                  <a:pt x="2511" y="728"/>
                  <a:pt x="2533" y="722"/>
                </a:cubicBezTo>
                <a:cubicBezTo>
                  <a:pt x="2555" y="716"/>
                  <a:pt x="2535" y="704"/>
                  <a:pt x="2516" y="704"/>
                </a:cubicBezTo>
                <a:cubicBezTo>
                  <a:pt x="2497" y="704"/>
                  <a:pt x="2492" y="711"/>
                  <a:pt x="2481" y="716"/>
                </a:cubicBezTo>
                <a:cubicBezTo>
                  <a:pt x="2470" y="721"/>
                  <a:pt x="2471" y="711"/>
                  <a:pt x="2471" y="711"/>
                </a:cubicBezTo>
                <a:cubicBezTo>
                  <a:pt x="2459" y="716"/>
                  <a:pt x="2459" y="716"/>
                  <a:pt x="2459" y="716"/>
                </a:cubicBezTo>
                <a:cubicBezTo>
                  <a:pt x="2436" y="713"/>
                  <a:pt x="2436" y="713"/>
                  <a:pt x="2436" y="713"/>
                </a:cubicBezTo>
                <a:cubicBezTo>
                  <a:pt x="2436" y="713"/>
                  <a:pt x="2415" y="723"/>
                  <a:pt x="2406" y="720"/>
                </a:cubicBezTo>
                <a:cubicBezTo>
                  <a:pt x="2397" y="717"/>
                  <a:pt x="2432" y="707"/>
                  <a:pt x="2442" y="702"/>
                </a:cubicBezTo>
                <a:close/>
                <a:moveTo>
                  <a:pt x="2739" y="3603"/>
                </a:moveTo>
                <a:cubicBezTo>
                  <a:pt x="2739" y="3603"/>
                  <a:pt x="2719" y="3594"/>
                  <a:pt x="2713" y="3592"/>
                </a:cubicBezTo>
                <a:cubicBezTo>
                  <a:pt x="2712" y="3592"/>
                  <a:pt x="2712" y="3592"/>
                  <a:pt x="2711" y="3592"/>
                </a:cubicBezTo>
                <a:cubicBezTo>
                  <a:pt x="2711" y="3591"/>
                  <a:pt x="2711" y="3591"/>
                  <a:pt x="2711" y="3591"/>
                </a:cubicBezTo>
                <a:cubicBezTo>
                  <a:pt x="2708" y="3589"/>
                  <a:pt x="2697" y="3585"/>
                  <a:pt x="2700" y="3581"/>
                </a:cubicBezTo>
                <a:cubicBezTo>
                  <a:pt x="2703" y="3577"/>
                  <a:pt x="2718" y="3582"/>
                  <a:pt x="2714" y="3575"/>
                </a:cubicBezTo>
                <a:cubicBezTo>
                  <a:pt x="2710" y="3569"/>
                  <a:pt x="2709" y="3569"/>
                  <a:pt x="2709" y="3569"/>
                </a:cubicBezTo>
                <a:cubicBezTo>
                  <a:pt x="2709" y="3569"/>
                  <a:pt x="2698" y="3573"/>
                  <a:pt x="2698" y="3571"/>
                </a:cubicBezTo>
                <a:cubicBezTo>
                  <a:pt x="2697" y="3569"/>
                  <a:pt x="2691" y="3541"/>
                  <a:pt x="2698" y="3543"/>
                </a:cubicBezTo>
                <a:cubicBezTo>
                  <a:pt x="2705" y="3545"/>
                  <a:pt x="2738" y="3571"/>
                  <a:pt x="2742" y="3579"/>
                </a:cubicBezTo>
                <a:cubicBezTo>
                  <a:pt x="2745" y="3583"/>
                  <a:pt x="2746" y="3591"/>
                  <a:pt x="2747" y="3598"/>
                </a:cubicBezTo>
                <a:cubicBezTo>
                  <a:pt x="2747" y="3598"/>
                  <a:pt x="2747" y="3598"/>
                  <a:pt x="2747" y="3598"/>
                </a:cubicBezTo>
                <a:cubicBezTo>
                  <a:pt x="2738" y="3598"/>
                  <a:pt x="2739" y="3603"/>
                  <a:pt x="2739" y="3603"/>
                </a:cubicBezTo>
                <a:close/>
                <a:moveTo>
                  <a:pt x="3523" y="5086"/>
                </a:moveTo>
                <a:cubicBezTo>
                  <a:pt x="3517" y="5079"/>
                  <a:pt x="3517" y="5079"/>
                  <a:pt x="3517" y="5079"/>
                </a:cubicBezTo>
                <a:cubicBezTo>
                  <a:pt x="3509" y="5070"/>
                  <a:pt x="3509" y="5070"/>
                  <a:pt x="3509" y="5070"/>
                </a:cubicBezTo>
                <a:cubicBezTo>
                  <a:pt x="3509" y="5070"/>
                  <a:pt x="3499" y="5063"/>
                  <a:pt x="3491" y="5059"/>
                </a:cubicBezTo>
                <a:cubicBezTo>
                  <a:pt x="3483" y="5055"/>
                  <a:pt x="3480" y="5047"/>
                  <a:pt x="3480" y="5047"/>
                </a:cubicBezTo>
                <a:cubicBezTo>
                  <a:pt x="3480" y="5047"/>
                  <a:pt x="3466" y="5049"/>
                  <a:pt x="3462" y="5044"/>
                </a:cubicBezTo>
                <a:cubicBezTo>
                  <a:pt x="3467" y="5030"/>
                  <a:pt x="3467" y="5030"/>
                  <a:pt x="3467" y="5030"/>
                </a:cubicBezTo>
                <a:cubicBezTo>
                  <a:pt x="3467" y="5030"/>
                  <a:pt x="3463" y="5015"/>
                  <a:pt x="3468" y="5011"/>
                </a:cubicBezTo>
                <a:cubicBezTo>
                  <a:pt x="3471" y="5008"/>
                  <a:pt x="3485" y="5020"/>
                  <a:pt x="3494" y="5028"/>
                </a:cubicBezTo>
                <a:cubicBezTo>
                  <a:pt x="3499" y="5032"/>
                  <a:pt x="3502" y="5036"/>
                  <a:pt x="3502" y="5036"/>
                </a:cubicBezTo>
                <a:cubicBezTo>
                  <a:pt x="3517" y="5049"/>
                  <a:pt x="3517" y="5049"/>
                  <a:pt x="3517" y="5049"/>
                </a:cubicBezTo>
                <a:cubicBezTo>
                  <a:pt x="3518" y="5061"/>
                  <a:pt x="3518" y="5061"/>
                  <a:pt x="3518" y="5061"/>
                </a:cubicBezTo>
                <a:cubicBezTo>
                  <a:pt x="3531" y="5069"/>
                  <a:pt x="3531" y="5069"/>
                  <a:pt x="3531" y="5069"/>
                </a:cubicBezTo>
                <a:lnTo>
                  <a:pt x="3523" y="5086"/>
                </a:lnTo>
                <a:close/>
                <a:moveTo>
                  <a:pt x="3432" y="3548"/>
                </a:moveTo>
                <a:cubicBezTo>
                  <a:pt x="3432" y="3553"/>
                  <a:pt x="3439" y="3569"/>
                  <a:pt x="3439" y="3569"/>
                </a:cubicBezTo>
                <a:cubicBezTo>
                  <a:pt x="3456" y="3568"/>
                  <a:pt x="3456" y="3568"/>
                  <a:pt x="3456" y="3568"/>
                </a:cubicBezTo>
                <a:cubicBezTo>
                  <a:pt x="3456" y="3568"/>
                  <a:pt x="3461" y="3541"/>
                  <a:pt x="3449" y="3538"/>
                </a:cubicBezTo>
                <a:cubicBezTo>
                  <a:pt x="3438" y="3535"/>
                  <a:pt x="3432" y="3542"/>
                  <a:pt x="3432" y="3548"/>
                </a:cubicBezTo>
                <a:close/>
                <a:moveTo>
                  <a:pt x="2936" y="4356"/>
                </a:moveTo>
                <a:cubicBezTo>
                  <a:pt x="2951" y="4352"/>
                  <a:pt x="2953" y="4332"/>
                  <a:pt x="2943" y="4336"/>
                </a:cubicBezTo>
                <a:cubicBezTo>
                  <a:pt x="2934" y="4340"/>
                  <a:pt x="2928" y="4357"/>
                  <a:pt x="2936" y="4356"/>
                </a:cubicBezTo>
                <a:close/>
                <a:moveTo>
                  <a:pt x="3616" y="6574"/>
                </a:moveTo>
                <a:cubicBezTo>
                  <a:pt x="3603" y="6577"/>
                  <a:pt x="3603" y="6577"/>
                  <a:pt x="3603" y="6577"/>
                </a:cubicBezTo>
                <a:cubicBezTo>
                  <a:pt x="3610" y="6590"/>
                  <a:pt x="3610" y="6590"/>
                  <a:pt x="3610" y="6590"/>
                </a:cubicBezTo>
                <a:lnTo>
                  <a:pt x="3616" y="6574"/>
                </a:lnTo>
                <a:close/>
                <a:moveTo>
                  <a:pt x="3626" y="6546"/>
                </a:moveTo>
                <a:cubicBezTo>
                  <a:pt x="3612" y="6557"/>
                  <a:pt x="3619" y="6567"/>
                  <a:pt x="3629" y="6564"/>
                </a:cubicBezTo>
                <a:cubicBezTo>
                  <a:pt x="3641" y="6560"/>
                  <a:pt x="3640" y="6536"/>
                  <a:pt x="3626" y="6546"/>
                </a:cubicBezTo>
                <a:close/>
                <a:moveTo>
                  <a:pt x="3828" y="7023"/>
                </a:moveTo>
                <a:cubicBezTo>
                  <a:pt x="3805" y="7010"/>
                  <a:pt x="3805" y="7010"/>
                  <a:pt x="3805" y="7010"/>
                </a:cubicBezTo>
                <a:cubicBezTo>
                  <a:pt x="3822" y="7029"/>
                  <a:pt x="3822" y="7029"/>
                  <a:pt x="3822" y="7029"/>
                </a:cubicBezTo>
                <a:cubicBezTo>
                  <a:pt x="3853" y="7033"/>
                  <a:pt x="3853" y="7033"/>
                  <a:pt x="3853" y="7033"/>
                </a:cubicBezTo>
                <a:cubicBezTo>
                  <a:pt x="3864" y="7040"/>
                  <a:pt x="3864" y="7040"/>
                  <a:pt x="3864" y="7040"/>
                </a:cubicBezTo>
                <a:cubicBezTo>
                  <a:pt x="3853" y="7026"/>
                  <a:pt x="3853" y="7026"/>
                  <a:pt x="3853" y="7026"/>
                </a:cubicBezTo>
                <a:lnTo>
                  <a:pt x="3828" y="7023"/>
                </a:lnTo>
                <a:close/>
                <a:moveTo>
                  <a:pt x="3646" y="6620"/>
                </a:moveTo>
                <a:cubicBezTo>
                  <a:pt x="3648" y="6632"/>
                  <a:pt x="3648" y="6632"/>
                  <a:pt x="3648" y="6632"/>
                </a:cubicBezTo>
                <a:cubicBezTo>
                  <a:pt x="3664" y="6642"/>
                  <a:pt x="3664" y="6642"/>
                  <a:pt x="3664" y="6642"/>
                </a:cubicBezTo>
                <a:cubicBezTo>
                  <a:pt x="3664" y="6626"/>
                  <a:pt x="3664" y="6626"/>
                  <a:pt x="3664" y="6626"/>
                </a:cubicBezTo>
                <a:cubicBezTo>
                  <a:pt x="3655" y="6610"/>
                  <a:pt x="3655" y="6610"/>
                  <a:pt x="3655" y="6610"/>
                </a:cubicBezTo>
                <a:cubicBezTo>
                  <a:pt x="3633" y="6611"/>
                  <a:pt x="3633" y="6611"/>
                  <a:pt x="3633" y="6611"/>
                </a:cubicBezTo>
                <a:lnTo>
                  <a:pt x="3646" y="6620"/>
                </a:lnTo>
                <a:close/>
                <a:moveTo>
                  <a:pt x="3623" y="6590"/>
                </a:moveTo>
                <a:cubicBezTo>
                  <a:pt x="3630" y="6598"/>
                  <a:pt x="3630" y="6598"/>
                  <a:pt x="3630" y="6598"/>
                </a:cubicBezTo>
                <a:cubicBezTo>
                  <a:pt x="3648" y="6598"/>
                  <a:pt x="3648" y="6598"/>
                  <a:pt x="3648" y="6598"/>
                </a:cubicBezTo>
                <a:cubicBezTo>
                  <a:pt x="3655" y="6585"/>
                  <a:pt x="3655" y="6585"/>
                  <a:pt x="3655" y="6585"/>
                </a:cubicBezTo>
                <a:cubicBezTo>
                  <a:pt x="3636" y="6590"/>
                  <a:pt x="3636" y="6590"/>
                  <a:pt x="3636" y="6590"/>
                </a:cubicBezTo>
                <a:lnTo>
                  <a:pt x="3623" y="6590"/>
                </a:lnTo>
                <a:close/>
                <a:moveTo>
                  <a:pt x="3708" y="6864"/>
                </a:moveTo>
                <a:cubicBezTo>
                  <a:pt x="3713" y="6863"/>
                  <a:pt x="3716" y="6854"/>
                  <a:pt x="3716" y="6854"/>
                </a:cubicBezTo>
                <a:cubicBezTo>
                  <a:pt x="3736" y="6871"/>
                  <a:pt x="3736" y="6871"/>
                  <a:pt x="3736" y="6871"/>
                </a:cubicBezTo>
                <a:cubicBezTo>
                  <a:pt x="3737" y="6855"/>
                  <a:pt x="3737" y="6855"/>
                  <a:pt x="3737" y="6855"/>
                </a:cubicBezTo>
                <a:cubicBezTo>
                  <a:pt x="3717" y="6834"/>
                  <a:pt x="3717" y="6834"/>
                  <a:pt x="3717" y="6834"/>
                </a:cubicBezTo>
                <a:cubicBezTo>
                  <a:pt x="3717" y="6834"/>
                  <a:pt x="3701" y="6811"/>
                  <a:pt x="3701" y="6799"/>
                </a:cubicBezTo>
                <a:cubicBezTo>
                  <a:pt x="3701" y="6788"/>
                  <a:pt x="3690" y="6776"/>
                  <a:pt x="3679" y="6770"/>
                </a:cubicBezTo>
                <a:cubicBezTo>
                  <a:pt x="3669" y="6765"/>
                  <a:pt x="3669" y="6776"/>
                  <a:pt x="3669" y="6776"/>
                </a:cubicBezTo>
                <a:cubicBezTo>
                  <a:pt x="3655" y="6772"/>
                  <a:pt x="3655" y="6772"/>
                  <a:pt x="3655" y="6772"/>
                </a:cubicBezTo>
                <a:cubicBezTo>
                  <a:pt x="3655" y="6772"/>
                  <a:pt x="3640" y="6799"/>
                  <a:pt x="3651" y="6799"/>
                </a:cubicBezTo>
                <a:cubicBezTo>
                  <a:pt x="3661" y="6799"/>
                  <a:pt x="3681" y="6799"/>
                  <a:pt x="3681" y="6799"/>
                </a:cubicBezTo>
                <a:cubicBezTo>
                  <a:pt x="3668" y="6825"/>
                  <a:pt x="3668" y="6825"/>
                  <a:pt x="3668" y="6825"/>
                </a:cubicBezTo>
                <a:cubicBezTo>
                  <a:pt x="3677" y="6825"/>
                  <a:pt x="3677" y="6825"/>
                  <a:pt x="3677" y="6825"/>
                </a:cubicBezTo>
                <a:cubicBezTo>
                  <a:pt x="3691" y="6812"/>
                  <a:pt x="3691" y="6812"/>
                  <a:pt x="3691" y="6812"/>
                </a:cubicBezTo>
                <a:cubicBezTo>
                  <a:pt x="3690" y="6828"/>
                  <a:pt x="3690" y="6828"/>
                  <a:pt x="3690" y="6828"/>
                </a:cubicBezTo>
                <a:cubicBezTo>
                  <a:pt x="3690" y="6828"/>
                  <a:pt x="3704" y="6866"/>
                  <a:pt x="3708" y="6864"/>
                </a:cubicBezTo>
                <a:close/>
                <a:moveTo>
                  <a:pt x="3703" y="6889"/>
                </a:moveTo>
                <a:cubicBezTo>
                  <a:pt x="3714" y="6890"/>
                  <a:pt x="3714" y="6890"/>
                  <a:pt x="3714" y="6890"/>
                </a:cubicBezTo>
                <a:cubicBezTo>
                  <a:pt x="3721" y="6912"/>
                  <a:pt x="3721" y="6912"/>
                  <a:pt x="3721" y="6912"/>
                </a:cubicBezTo>
                <a:cubicBezTo>
                  <a:pt x="3726" y="6892"/>
                  <a:pt x="3726" y="6892"/>
                  <a:pt x="3726" y="6892"/>
                </a:cubicBezTo>
                <a:cubicBezTo>
                  <a:pt x="3727" y="6876"/>
                  <a:pt x="3727" y="6876"/>
                  <a:pt x="3727" y="6876"/>
                </a:cubicBezTo>
                <a:cubicBezTo>
                  <a:pt x="3710" y="6871"/>
                  <a:pt x="3710" y="6871"/>
                  <a:pt x="3710" y="6871"/>
                </a:cubicBezTo>
                <a:lnTo>
                  <a:pt x="3703" y="6889"/>
                </a:lnTo>
                <a:close/>
                <a:moveTo>
                  <a:pt x="3756" y="6964"/>
                </a:moveTo>
                <a:cubicBezTo>
                  <a:pt x="3779" y="6985"/>
                  <a:pt x="3779" y="6985"/>
                  <a:pt x="3779" y="6985"/>
                </a:cubicBezTo>
                <a:cubicBezTo>
                  <a:pt x="3786" y="6978"/>
                  <a:pt x="3786" y="6978"/>
                  <a:pt x="3786" y="6978"/>
                </a:cubicBezTo>
                <a:cubicBezTo>
                  <a:pt x="3766" y="6955"/>
                  <a:pt x="3766" y="6955"/>
                  <a:pt x="3766" y="6955"/>
                </a:cubicBezTo>
                <a:lnTo>
                  <a:pt x="3756" y="6964"/>
                </a:lnTo>
                <a:close/>
                <a:moveTo>
                  <a:pt x="3828" y="6972"/>
                </a:moveTo>
                <a:cubicBezTo>
                  <a:pt x="3815" y="6959"/>
                  <a:pt x="3815" y="6959"/>
                  <a:pt x="3815" y="6959"/>
                </a:cubicBezTo>
                <a:cubicBezTo>
                  <a:pt x="3811" y="6981"/>
                  <a:pt x="3811" y="6981"/>
                  <a:pt x="3811" y="6981"/>
                </a:cubicBezTo>
                <a:cubicBezTo>
                  <a:pt x="3796" y="6985"/>
                  <a:pt x="3796" y="6985"/>
                  <a:pt x="3796" y="6985"/>
                </a:cubicBezTo>
                <a:cubicBezTo>
                  <a:pt x="3825" y="6997"/>
                  <a:pt x="3825" y="6997"/>
                  <a:pt x="3825" y="6997"/>
                </a:cubicBezTo>
                <a:lnTo>
                  <a:pt x="3828" y="6972"/>
                </a:lnTo>
                <a:close/>
                <a:moveTo>
                  <a:pt x="3802" y="6957"/>
                </a:moveTo>
                <a:cubicBezTo>
                  <a:pt x="3795" y="6951"/>
                  <a:pt x="3795" y="6951"/>
                  <a:pt x="3795" y="6951"/>
                </a:cubicBezTo>
                <a:cubicBezTo>
                  <a:pt x="3789" y="6961"/>
                  <a:pt x="3789" y="6961"/>
                  <a:pt x="3789" y="6961"/>
                </a:cubicBezTo>
                <a:cubicBezTo>
                  <a:pt x="3796" y="6970"/>
                  <a:pt x="3796" y="6970"/>
                  <a:pt x="3796" y="6970"/>
                </a:cubicBezTo>
                <a:lnTo>
                  <a:pt x="3802" y="6957"/>
                </a:lnTo>
                <a:close/>
                <a:moveTo>
                  <a:pt x="9720" y="140"/>
                </a:moveTo>
                <a:cubicBezTo>
                  <a:pt x="9720" y="148"/>
                  <a:pt x="9786" y="154"/>
                  <a:pt x="9786" y="154"/>
                </a:cubicBezTo>
                <a:cubicBezTo>
                  <a:pt x="9820" y="150"/>
                  <a:pt x="9820" y="150"/>
                  <a:pt x="9820" y="150"/>
                </a:cubicBezTo>
                <a:cubicBezTo>
                  <a:pt x="9858" y="164"/>
                  <a:pt x="9858" y="164"/>
                  <a:pt x="9858" y="164"/>
                </a:cubicBezTo>
                <a:cubicBezTo>
                  <a:pt x="9900" y="162"/>
                  <a:pt x="9900" y="162"/>
                  <a:pt x="9900" y="162"/>
                </a:cubicBezTo>
                <a:cubicBezTo>
                  <a:pt x="9894" y="144"/>
                  <a:pt x="9876" y="118"/>
                  <a:pt x="9858" y="120"/>
                </a:cubicBezTo>
                <a:cubicBezTo>
                  <a:pt x="9840" y="122"/>
                  <a:pt x="9822" y="134"/>
                  <a:pt x="9822" y="134"/>
                </a:cubicBezTo>
                <a:cubicBezTo>
                  <a:pt x="9808" y="118"/>
                  <a:pt x="9808" y="118"/>
                  <a:pt x="9808" y="118"/>
                </a:cubicBezTo>
                <a:cubicBezTo>
                  <a:pt x="9808" y="118"/>
                  <a:pt x="9720" y="132"/>
                  <a:pt x="9720" y="140"/>
                </a:cubicBezTo>
                <a:close/>
                <a:moveTo>
                  <a:pt x="9682" y="142"/>
                </a:moveTo>
                <a:cubicBezTo>
                  <a:pt x="9692" y="132"/>
                  <a:pt x="9692" y="132"/>
                  <a:pt x="9692" y="132"/>
                </a:cubicBezTo>
                <a:cubicBezTo>
                  <a:pt x="9632" y="132"/>
                  <a:pt x="9632" y="132"/>
                  <a:pt x="9632" y="132"/>
                </a:cubicBezTo>
                <a:lnTo>
                  <a:pt x="9682" y="142"/>
                </a:lnTo>
                <a:close/>
                <a:moveTo>
                  <a:pt x="9658" y="124"/>
                </a:moveTo>
                <a:cubicBezTo>
                  <a:pt x="9658" y="124"/>
                  <a:pt x="9714" y="128"/>
                  <a:pt x="9726" y="124"/>
                </a:cubicBezTo>
                <a:cubicBezTo>
                  <a:pt x="9738" y="120"/>
                  <a:pt x="9780" y="124"/>
                  <a:pt x="9772" y="108"/>
                </a:cubicBezTo>
                <a:cubicBezTo>
                  <a:pt x="9764" y="92"/>
                  <a:pt x="9690" y="70"/>
                  <a:pt x="9690" y="70"/>
                </a:cubicBezTo>
                <a:cubicBezTo>
                  <a:pt x="9690" y="70"/>
                  <a:pt x="9634" y="60"/>
                  <a:pt x="9632" y="80"/>
                </a:cubicBezTo>
                <a:cubicBezTo>
                  <a:pt x="9630" y="100"/>
                  <a:pt x="9658" y="124"/>
                  <a:pt x="9658" y="124"/>
                </a:cubicBezTo>
                <a:close/>
                <a:moveTo>
                  <a:pt x="10000" y="192"/>
                </a:moveTo>
                <a:cubicBezTo>
                  <a:pt x="10106" y="186"/>
                  <a:pt x="10106" y="186"/>
                  <a:pt x="10106" y="186"/>
                </a:cubicBezTo>
                <a:cubicBezTo>
                  <a:pt x="10078" y="170"/>
                  <a:pt x="10078" y="170"/>
                  <a:pt x="10078" y="170"/>
                </a:cubicBezTo>
                <a:cubicBezTo>
                  <a:pt x="10078" y="170"/>
                  <a:pt x="10040" y="150"/>
                  <a:pt x="10030" y="150"/>
                </a:cubicBezTo>
                <a:cubicBezTo>
                  <a:pt x="10020" y="150"/>
                  <a:pt x="10002" y="162"/>
                  <a:pt x="10002" y="162"/>
                </a:cubicBezTo>
                <a:cubicBezTo>
                  <a:pt x="10002" y="162"/>
                  <a:pt x="9996" y="134"/>
                  <a:pt x="9974" y="134"/>
                </a:cubicBezTo>
                <a:cubicBezTo>
                  <a:pt x="9952" y="134"/>
                  <a:pt x="9940" y="200"/>
                  <a:pt x="9940" y="200"/>
                </a:cubicBezTo>
                <a:cubicBezTo>
                  <a:pt x="9956" y="208"/>
                  <a:pt x="9956" y="208"/>
                  <a:pt x="9956" y="208"/>
                </a:cubicBezTo>
                <a:cubicBezTo>
                  <a:pt x="9974" y="204"/>
                  <a:pt x="10000" y="192"/>
                  <a:pt x="10000" y="192"/>
                </a:cubicBezTo>
                <a:close/>
                <a:moveTo>
                  <a:pt x="11360" y="338"/>
                </a:moveTo>
                <a:cubicBezTo>
                  <a:pt x="11370" y="320"/>
                  <a:pt x="11370" y="320"/>
                  <a:pt x="11370" y="320"/>
                </a:cubicBezTo>
                <a:cubicBezTo>
                  <a:pt x="11370" y="320"/>
                  <a:pt x="11396" y="320"/>
                  <a:pt x="11406" y="320"/>
                </a:cubicBezTo>
                <a:cubicBezTo>
                  <a:pt x="11416" y="320"/>
                  <a:pt x="11446" y="318"/>
                  <a:pt x="11446" y="318"/>
                </a:cubicBezTo>
                <a:cubicBezTo>
                  <a:pt x="11404" y="298"/>
                  <a:pt x="11404" y="298"/>
                  <a:pt x="11404" y="298"/>
                </a:cubicBezTo>
                <a:cubicBezTo>
                  <a:pt x="11412" y="284"/>
                  <a:pt x="11412" y="284"/>
                  <a:pt x="11412" y="284"/>
                </a:cubicBezTo>
                <a:cubicBezTo>
                  <a:pt x="11352" y="272"/>
                  <a:pt x="11352" y="272"/>
                  <a:pt x="11352" y="272"/>
                </a:cubicBezTo>
                <a:cubicBezTo>
                  <a:pt x="11362" y="290"/>
                  <a:pt x="11362" y="290"/>
                  <a:pt x="11362" y="290"/>
                </a:cubicBezTo>
                <a:cubicBezTo>
                  <a:pt x="11362" y="290"/>
                  <a:pt x="11240" y="250"/>
                  <a:pt x="11242" y="280"/>
                </a:cubicBezTo>
                <a:cubicBezTo>
                  <a:pt x="11244" y="310"/>
                  <a:pt x="11360" y="338"/>
                  <a:pt x="11360" y="338"/>
                </a:cubicBezTo>
                <a:close/>
                <a:moveTo>
                  <a:pt x="11226" y="294"/>
                </a:moveTo>
                <a:cubicBezTo>
                  <a:pt x="11190" y="282"/>
                  <a:pt x="11190" y="282"/>
                  <a:pt x="11190" y="282"/>
                </a:cubicBezTo>
                <a:cubicBezTo>
                  <a:pt x="11206" y="304"/>
                  <a:pt x="11206" y="304"/>
                  <a:pt x="11206" y="304"/>
                </a:cubicBezTo>
                <a:lnTo>
                  <a:pt x="11226" y="294"/>
                </a:lnTo>
                <a:close/>
                <a:moveTo>
                  <a:pt x="10490" y="348"/>
                </a:moveTo>
                <a:cubicBezTo>
                  <a:pt x="10522" y="354"/>
                  <a:pt x="10522" y="354"/>
                  <a:pt x="10522" y="354"/>
                </a:cubicBezTo>
                <a:cubicBezTo>
                  <a:pt x="10542" y="356"/>
                  <a:pt x="10562" y="344"/>
                  <a:pt x="10532" y="338"/>
                </a:cubicBezTo>
                <a:cubicBezTo>
                  <a:pt x="10502" y="332"/>
                  <a:pt x="10490" y="348"/>
                  <a:pt x="10490" y="348"/>
                </a:cubicBezTo>
                <a:close/>
                <a:moveTo>
                  <a:pt x="9502" y="405"/>
                </a:moveTo>
                <a:cubicBezTo>
                  <a:pt x="9477" y="388"/>
                  <a:pt x="9484" y="411"/>
                  <a:pt x="9484" y="411"/>
                </a:cubicBezTo>
                <a:cubicBezTo>
                  <a:pt x="9509" y="421"/>
                  <a:pt x="9527" y="422"/>
                  <a:pt x="9502" y="405"/>
                </a:cubicBezTo>
                <a:close/>
                <a:moveTo>
                  <a:pt x="8214" y="2309"/>
                </a:moveTo>
                <a:cubicBezTo>
                  <a:pt x="8215" y="2323"/>
                  <a:pt x="8242" y="2338"/>
                  <a:pt x="8249" y="2335"/>
                </a:cubicBezTo>
                <a:cubicBezTo>
                  <a:pt x="8256" y="2332"/>
                  <a:pt x="8274" y="2316"/>
                  <a:pt x="8274" y="2316"/>
                </a:cubicBezTo>
                <a:cubicBezTo>
                  <a:pt x="8274" y="2316"/>
                  <a:pt x="8290" y="2323"/>
                  <a:pt x="8293" y="2317"/>
                </a:cubicBezTo>
                <a:cubicBezTo>
                  <a:pt x="8297" y="2311"/>
                  <a:pt x="8290" y="2302"/>
                  <a:pt x="8290" y="2302"/>
                </a:cubicBezTo>
                <a:cubicBezTo>
                  <a:pt x="8311" y="2278"/>
                  <a:pt x="8311" y="2278"/>
                  <a:pt x="8311" y="2278"/>
                </a:cubicBezTo>
                <a:cubicBezTo>
                  <a:pt x="8284" y="2295"/>
                  <a:pt x="8284" y="2295"/>
                  <a:pt x="8284" y="2295"/>
                </a:cubicBezTo>
                <a:cubicBezTo>
                  <a:pt x="8284" y="2295"/>
                  <a:pt x="8260" y="2291"/>
                  <a:pt x="8251" y="2293"/>
                </a:cubicBezTo>
                <a:cubicBezTo>
                  <a:pt x="8242" y="2295"/>
                  <a:pt x="8245" y="2304"/>
                  <a:pt x="8245" y="2304"/>
                </a:cubicBezTo>
                <a:cubicBezTo>
                  <a:pt x="8245" y="2304"/>
                  <a:pt x="8213" y="2298"/>
                  <a:pt x="8214" y="2309"/>
                </a:cubicBezTo>
                <a:close/>
                <a:moveTo>
                  <a:pt x="7882" y="2054"/>
                </a:moveTo>
                <a:cubicBezTo>
                  <a:pt x="7896" y="2053"/>
                  <a:pt x="7896" y="2053"/>
                  <a:pt x="7896" y="2053"/>
                </a:cubicBezTo>
                <a:cubicBezTo>
                  <a:pt x="7899" y="2044"/>
                  <a:pt x="7899" y="2044"/>
                  <a:pt x="7899" y="2044"/>
                </a:cubicBezTo>
                <a:cubicBezTo>
                  <a:pt x="7879" y="2044"/>
                  <a:pt x="7879" y="2044"/>
                  <a:pt x="7879" y="2044"/>
                </a:cubicBezTo>
                <a:lnTo>
                  <a:pt x="7882" y="2054"/>
                </a:lnTo>
                <a:close/>
                <a:moveTo>
                  <a:pt x="7906" y="2035"/>
                </a:moveTo>
                <a:cubicBezTo>
                  <a:pt x="7909" y="2044"/>
                  <a:pt x="7919" y="2050"/>
                  <a:pt x="7918" y="2034"/>
                </a:cubicBezTo>
                <a:cubicBezTo>
                  <a:pt x="7917" y="2018"/>
                  <a:pt x="7906" y="2035"/>
                  <a:pt x="7906" y="2035"/>
                </a:cubicBezTo>
                <a:close/>
                <a:moveTo>
                  <a:pt x="9198" y="400"/>
                </a:moveTo>
                <a:cubicBezTo>
                  <a:pt x="9231" y="392"/>
                  <a:pt x="9220" y="382"/>
                  <a:pt x="9212" y="378"/>
                </a:cubicBezTo>
                <a:cubicBezTo>
                  <a:pt x="9204" y="374"/>
                  <a:pt x="9174" y="378"/>
                  <a:pt x="9174" y="378"/>
                </a:cubicBezTo>
                <a:cubicBezTo>
                  <a:pt x="9174" y="378"/>
                  <a:pt x="9180" y="404"/>
                  <a:pt x="9198" y="400"/>
                </a:cubicBezTo>
                <a:close/>
                <a:moveTo>
                  <a:pt x="9474" y="423"/>
                </a:moveTo>
                <a:cubicBezTo>
                  <a:pt x="9453" y="418"/>
                  <a:pt x="9453" y="418"/>
                  <a:pt x="9453" y="418"/>
                </a:cubicBezTo>
                <a:cubicBezTo>
                  <a:pt x="9436" y="432"/>
                  <a:pt x="9436" y="432"/>
                  <a:pt x="9436" y="432"/>
                </a:cubicBezTo>
                <a:cubicBezTo>
                  <a:pt x="9462" y="439"/>
                  <a:pt x="9462" y="439"/>
                  <a:pt x="9462" y="439"/>
                </a:cubicBezTo>
                <a:lnTo>
                  <a:pt x="9474" y="423"/>
                </a:lnTo>
                <a:close/>
                <a:moveTo>
                  <a:pt x="7942" y="2021"/>
                </a:moveTo>
                <a:cubicBezTo>
                  <a:pt x="7924" y="2021"/>
                  <a:pt x="7924" y="2021"/>
                  <a:pt x="7924" y="2021"/>
                </a:cubicBezTo>
                <a:cubicBezTo>
                  <a:pt x="7924" y="2042"/>
                  <a:pt x="7924" y="2042"/>
                  <a:pt x="7924" y="2042"/>
                </a:cubicBezTo>
                <a:cubicBezTo>
                  <a:pt x="7931" y="2029"/>
                  <a:pt x="7931" y="2029"/>
                  <a:pt x="7931" y="2029"/>
                </a:cubicBezTo>
                <a:lnTo>
                  <a:pt x="7942" y="2021"/>
                </a:lnTo>
                <a:close/>
                <a:moveTo>
                  <a:pt x="11466" y="312"/>
                </a:moveTo>
                <a:cubicBezTo>
                  <a:pt x="11504" y="316"/>
                  <a:pt x="11504" y="316"/>
                  <a:pt x="11504" y="316"/>
                </a:cubicBezTo>
                <a:cubicBezTo>
                  <a:pt x="11514" y="306"/>
                  <a:pt x="11512" y="294"/>
                  <a:pt x="11494" y="294"/>
                </a:cubicBezTo>
                <a:cubicBezTo>
                  <a:pt x="11476" y="294"/>
                  <a:pt x="11416" y="280"/>
                  <a:pt x="11424" y="292"/>
                </a:cubicBezTo>
                <a:cubicBezTo>
                  <a:pt x="11432" y="304"/>
                  <a:pt x="11466" y="312"/>
                  <a:pt x="11466" y="312"/>
                </a:cubicBezTo>
                <a:close/>
                <a:moveTo>
                  <a:pt x="12678" y="554"/>
                </a:moveTo>
                <a:cubicBezTo>
                  <a:pt x="12686" y="544"/>
                  <a:pt x="12612" y="534"/>
                  <a:pt x="12612" y="534"/>
                </a:cubicBezTo>
                <a:cubicBezTo>
                  <a:pt x="12612" y="542"/>
                  <a:pt x="12670" y="564"/>
                  <a:pt x="12678" y="554"/>
                </a:cubicBezTo>
                <a:close/>
                <a:moveTo>
                  <a:pt x="11426" y="348"/>
                </a:moveTo>
                <a:cubicBezTo>
                  <a:pt x="11400" y="374"/>
                  <a:pt x="11456" y="372"/>
                  <a:pt x="11464" y="362"/>
                </a:cubicBezTo>
                <a:cubicBezTo>
                  <a:pt x="11472" y="352"/>
                  <a:pt x="11433" y="341"/>
                  <a:pt x="11426" y="348"/>
                </a:cubicBezTo>
                <a:close/>
                <a:moveTo>
                  <a:pt x="13194" y="1684"/>
                </a:moveTo>
                <a:cubicBezTo>
                  <a:pt x="13195" y="1663"/>
                  <a:pt x="13195" y="1663"/>
                  <a:pt x="13195" y="1663"/>
                </a:cubicBezTo>
                <a:cubicBezTo>
                  <a:pt x="13186" y="1680"/>
                  <a:pt x="13186" y="1680"/>
                  <a:pt x="13186" y="1680"/>
                </a:cubicBezTo>
                <a:lnTo>
                  <a:pt x="13194" y="1684"/>
                </a:lnTo>
                <a:close/>
                <a:moveTo>
                  <a:pt x="13193" y="1621"/>
                </a:moveTo>
                <a:cubicBezTo>
                  <a:pt x="13205" y="1619"/>
                  <a:pt x="13205" y="1619"/>
                  <a:pt x="13205" y="1619"/>
                </a:cubicBezTo>
                <a:cubicBezTo>
                  <a:pt x="13193" y="1607"/>
                  <a:pt x="13193" y="1607"/>
                  <a:pt x="13193" y="1607"/>
                </a:cubicBezTo>
                <a:lnTo>
                  <a:pt x="13193" y="1621"/>
                </a:lnTo>
                <a:close/>
                <a:moveTo>
                  <a:pt x="11925" y="3120"/>
                </a:moveTo>
                <a:cubicBezTo>
                  <a:pt x="11911" y="3110"/>
                  <a:pt x="11863" y="3116"/>
                  <a:pt x="11863" y="3116"/>
                </a:cubicBezTo>
                <a:cubicBezTo>
                  <a:pt x="11859" y="3128"/>
                  <a:pt x="11859" y="3128"/>
                  <a:pt x="11859" y="3128"/>
                </a:cubicBezTo>
                <a:cubicBezTo>
                  <a:pt x="11848" y="3122"/>
                  <a:pt x="11848" y="3122"/>
                  <a:pt x="11848" y="3122"/>
                </a:cubicBezTo>
                <a:cubicBezTo>
                  <a:pt x="11842" y="3139"/>
                  <a:pt x="11842" y="3139"/>
                  <a:pt x="11842" y="3139"/>
                </a:cubicBezTo>
                <a:cubicBezTo>
                  <a:pt x="11842" y="3139"/>
                  <a:pt x="11812" y="3162"/>
                  <a:pt x="11831" y="3186"/>
                </a:cubicBezTo>
                <a:cubicBezTo>
                  <a:pt x="11851" y="3209"/>
                  <a:pt x="11864" y="3209"/>
                  <a:pt x="11864" y="3209"/>
                </a:cubicBezTo>
                <a:cubicBezTo>
                  <a:pt x="11920" y="3208"/>
                  <a:pt x="11916" y="3191"/>
                  <a:pt x="11918" y="3184"/>
                </a:cubicBezTo>
                <a:cubicBezTo>
                  <a:pt x="11919" y="3178"/>
                  <a:pt x="11915" y="3163"/>
                  <a:pt x="11915" y="3163"/>
                </a:cubicBezTo>
                <a:cubicBezTo>
                  <a:pt x="11915" y="3163"/>
                  <a:pt x="11940" y="3131"/>
                  <a:pt x="11925" y="3120"/>
                </a:cubicBezTo>
                <a:close/>
                <a:moveTo>
                  <a:pt x="11975" y="3291"/>
                </a:moveTo>
                <a:cubicBezTo>
                  <a:pt x="11959" y="3291"/>
                  <a:pt x="11970" y="3309"/>
                  <a:pt x="11970" y="3309"/>
                </a:cubicBezTo>
                <a:cubicBezTo>
                  <a:pt x="11982" y="3309"/>
                  <a:pt x="11991" y="3291"/>
                  <a:pt x="11975" y="3291"/>
                </a:cubicBezTo>
                <a:close/>
                <a:moveTo>
                  <a:pt x="13029" y="2240"/>
                </a:moveTo>
                <a:cubicBezTo>
                  <a:pt x="13030" y="2226"/>
                  <a:pt x="13031" y="2200"/>
                  <a:pt x="13025" y="2188"/>
                </a:cubicBezTo>
                <a:cubicBezTo>
                  <a:pt x="13019" y="2176"/>
                  <a:pt x="12995" y="2159"/>
                  <a:pt x="12998" y="2142"/>
                </a:cubicBezTo>
                <a:cubicBezTo>
                  <a:pt x="13001" y="2125"/>
                  <a:pt x="13017" y="2130"/>
                  <a:pt x="13017" y="2130"/>
                </a:cubicBezTo>
                <a:cubicBezTo>
                  <a:pt x="13014" y="2103"/>
                  <a:pt x="13014" y="2103"/>
                  <a:pt x="13014" y="2103"/>
                </a:cubicBezTo>
                <a:cubicBezTo>
                  <a:pt x="13006" y="2097"/>
                  <a:pt x="13006" y="2097"/>
                  <a:pt x="13006" y="2097"/>
                </a:cubicBezTo>
                <a:cubicBezTo>
                  <a:pt x="13016" y="2090"/>
                  <a:pt x="13016" y="2090"/>
                  <a:pt x="13016" y="2090"/>
                </a:cubicBezTo>
                <a:cubicBezTo>
                  <a:pt x="13016" y="2090"/>
                  <a:pt x="13011" y="2072"/>
                  <a:pt x="13007" y="2062"/>
                </a:cubicBezTo>
                <a:cubicBezTo>
                  <a:pt x="13003" y="2052"/>
                  <a:pt x="12989" y="2044"/>
                  <a:pt x="12989" y="2044"/>
                </a:cubicBezTo>
                <a:cubicBezTo>
                  <a:pt x="12985" y="2031"/>
                  <a:pt x="12985" y="2031"/>
                  <a:pt x="12985" y="2031"/>
                </a:cubicBezTo>
                <a:cubicBezTo>
                  <a:pt x="12985" y="2031"/>
                  <a:pt x="12970" y="2024"/>
                  <a:pt x="12961" y="2017"/>
                </a:cubicBezTo>
                <a:cubicBezTo>
                  <a:pt x="12952" y="2010"/>
                  <a:pt x="12937" y="1994"/>
                  <a:pt x="12937" y="1985"/>
                </a:cubicBezTo>
                <a:cubicBezTo>
                  <a:pt x="12937" y="1976"/>
                  <a:pt x="12934" y="1972"/>
                  <a:pt x="12934" y="1972"/>
                </a:cubicBezTo>
                <a:cubicBezTo>
                  <a:pt x="12934" y="1972"/>
                  <a:pt x="12911" y="1955"/>
                  <a:pt x="12908" y="1967"/>
                </a:cubicBezTo>
                <a:cubicBezTo>
                  <a:pt x="12905" y="1979"/>
                  <a:pt x="12917" y="1982"/>
                  <a:pt x="12917" y="1982"/>
                </a:cubicBezTo>
                <a:cubicBezTo>
                  <a:pt x="12924" y="1978"/>
                  <a:pt x="12924" y="1978"/>
                  <a:pt x="12924" y="1978"/>
                </a:cubicBezTo>
                <a:cubicBezTo>
                  <a:pt x="12924" y="1978"/>
                  <a:pt x="12932" y="1997"/>
                  <a:pt x="12928" y="1997"/>
                </a:cubicBezTo>
                <a:cubicBezTo>
                  <a:pt x="12924" y="1997"/>
                  <a:pt x="12919" y="1990"/>
                  <a:pt x="12919" y="1990"/>
                </a:cubicBezTo>
                <a:cubicBezTo>
                  <a:pt x="12910" y="1999"/>
                  <a:pt x="12910" y="1999"/>
                  <a:pt x="12910" y="1999"/>
                </a:cubicBezTo>
                <a:cubicBezTo>
                  <a:pt x="12897" y="1978"/>
                  <a:pt x="12897" y="1978"/>
                  <a:pt x="12897" y="1978"/>
                </a:cubicBezTo>
                <a:cubicBezTo>
                  <a:pt x="12885" y="1978"/>
                  <a:pt x="12885" y="1978"/>
                  <a:pt x="12885" y="1978"/>
                </a:cubicBezTo>
                <a:cubicBezTo>
                  <a:pt x="12899" y="2002"/>
                  <a:pt x="12899" y="2002"/>
                  <a:pt x="12899" y="2002"/>
                </a:cubicBezTo>
                <a:cubicBezTo>
                  <a:pt x="12887" y="2005"/>
                  <a:pt x="12887" y="2005"/>
                  <a:pt x="12887" y="2005"/>
                </a:cubicBezTo>
                <a:cubicBezTo>
                  <a:pt x="12906" y="2037"/>
                  <a:pt x="12906" y="2037"/>
                  <a:pt x="12906" y="2037"/>
                </a:cubicBezTo>
                <a:cubicBezTo>
                  <a:pt x="12899" y="2045"/>
                  <a:pt x="12899" y="2045"/>
                  <a:pt x="12899" y="2045"/>
                </a:cubicBezTo>
                <a:cubicBezTo>
                  <a:pt x="12899" y="2045"/>
                  <a:pt x="12935" y="2063"/>
                  <a:pt x="12933" y="2078"/>
                </a:cubicBezTo>
                <a:cubicBezTo>
                  <a:pt x="12931" y="2093"/>
                  <a:pt x="12925" y="2114"/>
                  <a:pt x="12925" y="2114"/>
                </a:cubicBezTo>
                <a:cubicBezTo>
                  <a:pt x="12923" y="2132"/>
                  <a:pt x="12923" y="2132"/>
                  <a:pt x="12923" y="2132"/>
                </a:cubicBezTo>
                <a:cubicBezTo>
                  <a:pt x="12923" y="2132"/>
                  <a:pt x="12944" y="2145"/>
                  <a:pt x="12934" y="2152"/>
                </a:cubicBezTo>
                <a:cubicBezTo>
                  <a:pt x="12924" y="2159"/>
                  <a:pt x="12916" y="2155"/>
                  <a:pt x="12916" y="2155"/>
                </a:cubicBezTo>
                <a:cubicBezTo>
                  <a:pt x="12916" y="2155"/>
                  <a:pt x="12923" y="2185"/>
                  <a:pt x="12912" y="2191"/>
                </a:cubicBezTo>
                <a:cubicBezTo>
                  <a:pt x="12901" y="2197"/>
                  <a:pt x="12878" y="2205"/>
                  <a:pt x="12878" y="2205"/>
                </a:cubicBezTo>
                <a:cubicBezTo>
                  <a:pt x="12878" y="2214"/>
                  <a:pt x="12878" y="2214"/>
                  <a:pt x="12878" y="2214"/>
                </a:cubicBezTo>
                <a:cubicBezTo>
                  <a:pt x="12878" y="2214"/>
                  <a:pt x="12867" y="2218"/>
                  <a:pt x="12858" y="2208"/>
                </a:cubicBezTo>
                <a:cubicBezTo>
                  <a:pt x="12849" y="2198"/>
                  <a:pt x="12852" y="2189"/>
                  <a:pt x="12852" y="2189"/>
                </a:cubicBezTo>
                <a:cubicBezTo>
                  <a:pt x="12855" y="2176"/>
                  <a:pt x="12855" y="2176"/>
                  <a:pt x="12855" y="2176"/>
                </a:cubicBezTo>
                <a:cubicBezTo>
                  <a:pt x="12855" y="2176"/>
                  <a:pt x="12829" y="2181"/>
                  <a:pt x="12833" y="2191"/>
                </a:cubicBezTo>
                <a:cubicBezTo>
                  <a:pt x="12837" y="2201"/>
                  <a:pt x="12850" y="2215"/>
                  <a:pt x="12848" y="2222"/>
                </a:cubicBezTo>
                <a:cubicBezTo>
                  <a:pt x="12846" y="2229"/>
                  <a:pt x="12832" y="2245"/>
                  <a:pt x="12836" y="2255"/>
                </a:cubicBezTo>
                <a:cubicBezTo>
                  <a:pt x="12840" y="2265"/>
                  <a:pt x="12853" y="2280"/>
                  <a:pt x="12843" y="2281"/>
                </a:cubicBezTo>
                <a:cubicBezTo>
                  <a:pt x="12833" y="2282"/>
                  <a:pt x="12807" y="2270"/>
                  <a:pt x="12798" y="2271"/>
                </a:cubicBezTo>
                <a:cubicBezTo>
                  <a:pt x="12789" y="2272"/>
                  <a:pt x="12750" y="2287"/>
                  <a:pt x="12747" y="2287"/>
                </a:cubicBezTo>
                <a:cubicBezTo>
                  <a:pt x="12744" y="2287"/>
                  <a:pt x="12728" y="2287"/>
                  <a:pt x="12728" y="2287"/>
                </a:cubicBezTo>
                <a:cubicBezTo>
                  <a:pt x="12720" y="2279"/>
                  <a:pt x="12720" y="2279"/>
                  <a:pt x="12720" y="2279"/>
                </a:cubicBezTo>
                <a:cubicBezTo>
                  <a:pt x="12698" y="2296"/>
                  <a:pt x="12698" y="2296"/>
                  <a:pt x="12698" y="2296"/>
                </a:cubicBezTo>
                <a:cubicBezTo>
                  <a:pt x="12698" y="2296"/>
                  <a:pt x="12671" y="2341"/>
                  <a:pt x="12667" y="2341"/>
                </a:cubicBezTo>
                <a:cubicBezTo>
                  <a:pt x="12663" y="2341"/>
                  <a:pt x="12648" y="2342"/>
                  <a:pt x="12648" y="2342"/>
                </a:cubicBezTo>
                <a:cubicBezTo>
                  <a:pt x="12648" y="2342"/>
                  <a:pt x="12653" y="2366"/>
                  <a:pt x="12660" y="2366"/>
                </a:cubicBezTo>
                <a:cubicBezTo>
                  <a:pt x="12667" y="2366"/>
                  <a:pt x="12679" y="2362"/>
                  <a:pt x="12679" y="2362"/>
                </a:cubicBezTo>
                <a:cubicBezTo>
                  <a:pt x="12679" y="2362"/>
                  <a:pt x="12698" y="2373"/>
                  <a:pt x="12703" y="2371"/>
                </a:cubicBezTo>
                <a:cubicBezTo>
                  <a:pt x="12708" y="2369"/>
                  <a:pt x="12710" y="2348"/>
                  <a:pt x="12710" y="2348"/>
                </a:cubicBezTo>
                <a:cubicBezTo>
                  <a:pt x="12725" y="2356"/>
                  <a:pt x="12725" y="2356"/>
                  <a:pt x="12725" y="2356"/>
                </a:cubicBezTo>
                <a:cubicBezTo>
                  <a:pt x="12725" y="2356"/>
                  <a:pt x="12759" y="2339"/>
                  <a:pt x="12764" y="2336"/>
                </a:cubicBezTo>
                <a:cubicBezTo>
                  <a:pt x="12769" y="2333"/>
                  <a:pt x="12782" y="2342"/>
                  <a:pt x="12790" y="2341"/>
                </a:cubicBezTo>
                <a:cubicBezTo>
                  <a:pt x="12798" y="2340"/>
                  <a:pt x="12783" y="2325"/>
                  <a:pt x="12800" y="2325"/>
                </a:cubicBezTo>
                <a:cubicBezTo>
                  <a:pt x="12817" y="2325"/>
                  <a:pt x="12821" y="2334"/>
                  <a:pt x="12821" y="2334"/>
                </a:cubicBezTo>
                <a:cubicBezTo>
                  <a:pt x="12821" y="2334"/>
                  <a:pt x="12841" y="2321"/>
                  <a:pt x="12845" y="2329"/>
                </a:cubicBezTo>
                <a:cubicBezTo>
                  <a:pt x="12849" y="2337"/>
                  <a:pt x="12836" y="2356"/>
                  <a:pt x="12836" y="2356"/>
                </a:cubicBezTo>
                <a:cubicBezTo>
                  <a:pt x="12836" y="2356"/>
                  <a:pt x="12856" y="2395"/>
                  <a:pt x="12876" y="2395"/>
                </a:cubicBezTo>
                <a:cubicBezTo>
                  <a:pt x="12896" y="2395"/>
                  <a:pt x="12894" y="2357"/>
                  <a:pt x="12894" y="2357"/>
                </a:cubicBezTo>
                <a:cubicBezTo>
                  <a:pt x="12916" y="2353"/>
                  <a:pt x="12916" y="2353"/>
                  <a:pt x="12916" y="2353"/>
                </a:cubicBezTo>
                <a:cubicBezTo>
                  <a:pt x="12916" y="2353"/>
                  <a:pt x="12899" y="2333"/>
                  <a:pt x="12896" y="2332"/>
                </a:cubicBezTo>
                <a:cubicBezTo>
                  <a:pt x="12893" y="2331"/>
                  <a:pt x="12884" y="2324"/>
                  <a:pt x="12884" y="2324"/>
                </a:cubicBezTo>
                <a:cubicBezTo>
                  <a:pt x="12895" y="2309"/>
                  <a:pt x="12895" y="2309"/>
                  <a:pt x="12895" y="2309"/>
                </a:cubicBezTo>
                <a:cubicBezTo>
                  <a:pt x="12904" y="2308"/>
                  <a:pt x="12898" y="2322"/>
                  <a:pt x="12908" y="2322"/>
                </a:cubicBezTo>
                <a:cubicBezTo>
                  <a:pt x="12918" y="2322"/>
                  <a:pt x="12921" y="2335"/>
                  <a:pt x="12921" y="2335"/>
                </a:cubicBezTo>
                <a:cubicBezTo>
                  <a:pt x="12933" y="2326"/>
                  <a:pt x="12933" y="2326"/>
                  <a:pt x="12933" y="2326"/>
                </a:cubicBezTo>
                <a:cubicBezTo>
                  <a:pt x="12933" y="2326"/>
                  <a:pt x="12948" y="2334"/>
                  <a:pt x="12963" y="2330"/>
                </a:cubicBezTo>
                <a:cubicBezTo>
                  <a:pt x="12978" y="2326"/>
                  <a:pt x="12960" y="2305"/>
                  <a:pt x="12977" y="2307"/>
                </a:cubicBezTo>
                <a:cubicBezTo>
                  <a:pt x="12994" y="2309"/>
                  <a:pt x="12985" y="2337"/>
                  <a:pt x="12996" y="2331"/>
                </a:cubicBezTo>
                <a:cubicBezTo>
                  <a:pt x="13007" y="2325"/>
                  <a:pt x="12989" y="2302"/>
                  <a:pt x="12997" y="2297"/>
                </a:cubicBezTo>
                <a:cubicBezTo>
                  <a:pt x="13005" y="2292"/>
                  <a:pt x="13010" y="2294"/>
                  <a:pt x="13010" y="2294"/>
                </a:cubicBezTo>
                <a:cubicBezTo>
                  <a:pt x="13010" y="2294"/>
                  <a:pt x="13012" y="2263"/>
                  <a:pt x="13024" y="2275"/>
                </a:cubicBezTo>
                <a:cubicBezTo>
                  <a:pt x="13036" y="2287"/>
                  <a:pt x="13017" y="2312"/>
                  <a:pt x="13037" y="2311"/>
                </a:cubicBezTo>
                <a:cubicBezTo>
                  <a:pt x="13057" y="2310"/>
                  <a:pt x="13047" y="2279"/>
                  <a:pt x="13047" y="2279"/>
                </a:cubicBezTo>
                <a:cubicBezTo>
                  <a:pt x="13060" y="2272"/>
                  <a:pt x="13060" y="2272"/>
                  <a:pt x="13060" y="2272"/>
                </a:cubicBezTo>
                <a:cubicBezTo>
                  <a:pt x="13060" y="2272"/>
                  <a:pt x="13028" y="2254"/>
                  <a:pt x="13029" y="2240"/>
                </a:cubicBezTo>
                <a:close/>
                <a:moveTo>
                  <a:pt x="13208" y="1561"/>
                </a:moveTo>
                <a:cubicBezTo>
                  <a:pt x="13219" y="1547"/>
                  <a:pt x="13219" y="1547"/>
                  <a:pt x="13219" y="1547"/>
                </a:cubicBezTo>
                <a:cubicBezTo>
                  <a:pt x="13202" y="1533"/>
                  <a:pt x="13202" y="1533"/>
                  <a:pt x="13202" y="1533"/>
                </a:cubicBezTo>
                <a:lnTo>
                  <a:pt x="13208" y="1561"/>
                </a:lnTo>
                <a:close/>
                <a:moveTo>
                  <a:pt x="13141" y="1745"/>
                </a:moveTo>
                <a:cubicBezTo>
                  <a:pt x="13152" y="1749"/>
                  <a:pt x="13162" y="1723"/>
                  <a:pt x="13152" y="1720"/>
                </a:cubicBezTo>
                <a:cubicBezTo>
                  <a:pt x="13143" y="1718"/>
                  <a:pt x="13133" y="1742"/>
                  <a:pt x="13141" y="1745"/>
                </a:cubicBezTo>
                <a:close/>
                <a:moveTo>
                  <a:pt x="11702" y="332"/>
                </a:moveTo>
                <a:cubicBezTo>
                  <a:pt x="11730" y="318"/>
                  <a:pt x="11634" y="318"/>
                  <a:pt x="11634" y="318"/>
                </a:cubicBezTo>
                <a:cubicBezTo>
                  <a:pt x="11634" y="318"/>
                  <a:pt x="11614" y="300"/>
                  <a:pt x="11606" y="300"/>
                </a:cubicBezTo>
                <a:cubicBezTo>
                  <a:pt x="11598" y="300"/>
                  <a:pt x="11574" y="304"/>
                  <a:pt x="11574" y="304"/>
                </a:cubicBezTo>
                <a:cubicBezTo>
                  <a:pt x="11550" y="302"/>
                  <a:pt x="11550" y="302"/>
                  <a:pt x="11550" y="302"/>
                </a:cubicBezTo>
                <a:cubicBezTo>
                  <a:pt x="11574" y="318"/>
                  <a:pt x="11574" y="318"/>
                  <a:pt x="11574" y="318"/>
                </a:cubicBezTo>
                <a:cubicBezTo>
                  <a:pt x="11574" y="318"/>
                  <a:pt x="11674" y="346"/>
                  <a:pt x="11702" y="332"/>
                </a:cubicBezTo>
                <a:close/>
                <a:moveTo>
                  <a:pt x="7946" y="2117"/>
                </a:moveTo>
                <a:cubicBezTo>
                  <a:pt x="7942" y="2113"/>
                  <a:pt x="7940" y="2135"/>
                  <a:pt x="7946" y="2145"/>
                </a:cubicBezTo>
                <a:cubicBezTo>
                  <a:pt x="7951" y="2154"/>
                  <a:pt x="7958" y="2136"/>
                  <a:pt x="7960" y="2132"/>
                </a:cubicBezTo>
                <a:cubicBezTo>
                  <a:pt x="7962" y="2128"/>
                  <a:pt x="7950" y="2121"/>
                  <a:pt x="7946" y="2117"/>
                </a:cubicBezTo>
                <a:close/>
                <a:moveTo>
                  <a:pt x="11994" y="3265"/>
                </a:moveTo>
                <a:cubicBezTo>
                  <a:pt x="11987" y="3273"/>
                  <a:pt x="12006" y="3283"/>
                  <a:pt x="12006" y="3283"/>
                </a:cubicBezTo>
                <a:cubicBezTo>
                  <a:pt x="12017" y="3278"/>
                  <a:pt x="12017" y="3278"/>
                  <a:pt x="12017" y="3278"/>
                </a:cubicBezTo>
                <a:cubicBezTo>
                  <a:pt x="12017" y="3278"/>
                  <a:pt x="12000" y="3257"/>
                  <a:pt x="11994" y="3265"/>
                </a:cubicBezTo>
                <a:close/>
                <a:moveTo>
                  <a:pt x="11464" y="390"/>
                </a:moveTo>
                <a:cubicBezTo>
                  <a:pt x="11512" y="384"/>
                  <a:pt x="11512" y="384"/>
                  <a:pt x="11512" y="384"/>
                </a:cubicBezTo>
                <a:cubicBezTo>
                  <a:pt x="11584" y="394"/>
                  <a:pt x="11584" y="394"/>
                  <a:pt x="11584" y="394"/>
                </a:cubicBezTo>
                <a:cubicBezTo>
                  <a:pt x="11584" y="394"/>
                  <a:pt x="11562" y="370"/>
                  <a:pt x="11546" y="366"/>
                </a:cubicBezTo>
                <a:cubicBezTo>
                  <a:pt x="11530" y="362"/>
                  <a:pt x="11474" y="370"/>
                  <a:pt x="11474" y="370"/>
                </a:cubicBezTo>
                <a:lnTo>
                  <a:pt x="11464" y="390"/>
                </a:lnTo>
                <a:close/>
                <a:moveTo>
                  <a:pt x="13118" y="1086"/>
                </a:moveTo>
                <a:cubicBezTo>
                  <a:pt x="13138" y="1062"/>
                  <a:pt x="13138" y="1062"/>
                  <a:pt x="13138" y="1062"/>
                </a:cubicBezTo>
                <a:cubicBezTo>
                  <a:pt x="13130" y="1048"/>
                  <a:pt x="13130" y="1048"/>
                  <a:pt x="13130" y="1048"/>
                </a:cubicBezTo>
                <a:cubicBezTo>
                  <a:pt x="13106" y="1062"/>
                  <a:pt x="13106" y="1062"/>
                  <a:pt x="13106" y="1062"/>
                </a:cubicBezTo>
                <a:lnTo>
                  <a:pt x="13118" y="1086"/>
                </a:lnTo>
                <a:close/>
                <a:moveTo>
                  <a:pt x="12936" y="502"/>
                </a:moveTo>
                <a:cubicBezTo>
                  <a:pt x="12948" y="498"/>
                  <a:pt x="12966" y="496"/>
                  <a:pt x="12992" y="496"/>
                </a:cubicBezTo>
                <a:cubicBezTo>
                  <a:pt x="13018" y="496"/>
                  <a:pt x="13022" y="480"/>
                  <a:pt x="13004" y="478"/>
                </a:cubicBezTo>
                <a:cubicBezTo>
                  <a:pt x="12986" y="476"/>
                  <a:pt x="12954" y="464"/>
                  <a:pt x="12942" y="464"/>
                </a:cubicBezTo>
                <a:cubicBezTo>
                  <a:pt x="12930" y="464"/>
                  <a:pt x="12902" y="464"/>
                  <a:pt x="12902" y="486"/>
                </a:cubicBezTo>
                <a:cubicBezTo>
                  <a:pt x="12902" y="510"/>
                  <a:pt x="12924" y="506"/>
                  <a:pt x="12936" y="502"/>
                </a:cubicBezTo>
                <a:close/>
                <a:moveTo>
                  <a:pt x="13197" y="1517"/>
                </a:moveTo>
                <a:cubicBezTo>
                  <a:pt x="13213" y="1515"/>
                  <a:pt x="13213" y="1515"/>
                  <a:pt x="13213" y="1515"/>
                </a:cubicBezTo>
                <a:cubicBezTo>
                  <a:pt x="13222" y="1504"/>
                  <a:pt x="13222" y="1504"/>
                  <a:pt x="13222" y="1504"/>
                </a:cubicBezTo>
                <a:cubicBezTo>
                  <a:pt x="13213" y="1485"/>
                  <a:pt x="13213" y="1485"/>
                  <a:pt x="13213" y="1485"/>
                </a:cubicBezTo>
                <a:cubicBezTo>
                  <a:pt x="13223" y="1483"/>
                  <a:pt x="13223" y="1483"/>
                  <a:pt x="13223" y="1483"/>
                </a:cubicBezTo>
                <a:cubicBezTo>
                  <a:pt x="13213" y="1471"/>
                  <a:pt x="13213" y="1471"/>
                  <a:pt x="13213" y="1471"/>
                </a:cubicBezTo>
                <a:cubicBezTo>
                  <a:pt x="13201" y="1482"/>
                  <a:pt x="13201" y="1482"/>
                  <a:pt x="13201" y="1482"/>
                </a:cubicBezTo>
                <a:cubicBezTo>
                  <a:pt x="13209" y="1497"/>
                  <a:pt x="13209" y="1497"/>
                  <a:pt x="13209" y="1497"/>
                </a:cubicBezTo>
                <a:cubicBezTo>
                  <a:pt x="13197" y="1497"/>
                  <a:pt x="13197" y="1497"/>
                  <a:pt x="13197" y="1497"/>
                </a:cubicBezTo>
                <a:lnTo>
                  <a:pt x="13197" y="1517"/>
                </a:lnTo>
                <a:close/>
                <a:moveTo>
                  <a:pt x="12365" y="2831"/>
                </a:moveTo>
                <a:cubicBezTo>
                  <a:pt x="12348" y="2851"/>
                  <a:pt x="12348" y="2851"/>
                  <a:pt x="12348" y="2851"/>
                </a:cubicBezTo>
                <a:cubicBezTo>
                  <a:pt x="12348" y="2851"/>
                  <a:pt x="12309" y="2933"/>
                  <a:pt x="12317" y="2945"/>
                </a:cubicBezTo>
                <a:cubicBezTo>
                  <a:pt x="12325" y="2957"/>
                  <a:pt x="12343" y="2978"/>
                  <a:pt x="12343" y="2978"/>
                </a:cubicBezTo>
                <a:cubicBezTo>
                  <a:pt x="12343" y="2978"/>
                  <a:pt x="12356" y="3012"/>
                  <a:pt x="12371" y="3012"/>
                </a:cubicBezTo>
                <a:cubicBezTo>
                  <a:pt x="12371" y="2979"/>
                  <a:pt x="12371" y="2979"/>
                  <a:pt x="12371" y="2979"/>
                </a:cubicBezTo>
                <a:cubicBezTo>
                  <a:pt x="12371" y="2979"/>
                  <a:pt x="12384" y="2970"/>
                  <a:pt x="12384" y="2949"/>
                </a:cubicBezTo>
                <a:cubicBezTo>
                  <a:pt x="12384" y="2928"/>
                  <a:pt x="12384" y="2899"/>
                  <a:pt x="12384" y="2899"/>
                </a:cubicBezTo>
                <a:cubicBezTo>
                  <a:pt x="12384" y="2899"/>
                  <a:pt x="12394" y="2886"/>
                  <a:pt x="12393" y="2874"/>
                </a:cubicBezTo>
                <a:cubicBezTo>
                  <a:pt x="12392" y="2862"/>
                  <a:pt x="12394" y="2848"/>
                  <a:pt x="12394" y="2848"/>
                </a:cubicBezTo>
                <a:lnTo>
                  <a:pt x="12365" y="2831"/>
                </a:lnTo>
                <a:close/>
                <a:moveTo>
                  <a:pt x="12652" y="2434"/>
                </a:moveTo>
                <a:cubicBezTo>
                  <a:pt x="12641" y="2459"/>
                  <a:pt x="12641" y="2459"/>
                  <a:pt x="12641" y="2459"/>
                </a:cubicBezTo>
                <a:cubicBezTo>
                  <a:pt x="12653" y="2456"/>
                  <a:pt x="12653" y="2456"/>
                  <a:pt x="12653" y="2456"/>
                </a:cubicBezTo>
                <a:lnTo>
                  <a:pt x="12652" y="2434"/>
                </a:lnTo>
                <a:close/>
                <a:moveTo>
                  <a:pt x="12783" y="2395"/>
                </a:moveTo>
                <a:cubicBezTo>
                  <a:pt x="12798" y="2385"/>
                  <a:pt x="12820" y="2413"/>
                  <a:pt x="12820" y="2413"/>
                </a:cubicBezTo>
                <a:cubicBezTo>
                  <a:pt x="12820" y="2413"/>
                  <a:pt x="12825" y="2391"/>
                  <a:pt x="12827" y="2379"/>
                </a:cubicBezTo>
                <a:cubicBezTo>
                  <a:pt x="12829" y="2367"/>
                  <a:pt x="12820" y="2356"/>
                  <a:pt x="12820" y="2356"/>
                </a:cubicBezTo>
                <a:cubicBezTo>
                  <a:pt x="12807" y="2359"/>
                  <a:pt x="12807" y="2359"/>
                  <a:pt x="12807" y="2359"/>
                </a:cubicBezTo>
                <a:cubicBezTo>
                  <a:pt x="12807" y="2359"/>
                  <a:pt x="12790" y="2346"/>
                  <a:pt x="12781" y="2347"/>
                </a:cubicBezTo>
                <a:cubicBezTo>
                  <a:pt x="12761" y="2349"/>
                  <a:pt x="12768" y="2369"/>
                  <a:pt x="12768" y="2369"/>
                </a:cubicBezTo>
                <a:cubicBezTo>
                  <a:pt x="12768" y="2369"/>
                  <a:pt x="12751" y="2363"/>
                  <a:pt x="12741" y="2365"/>
                </a:cubicBezTo>
                <a:cubicBezTo>
                  <a:pt x="12731" y="2367"/>
                  <a:pt x="12738" y="2389"/>
                  <a:pt x="12738" y="2389"/>
                </a:cubicBezTo>
                <a:cubicBezTo>
                  <a:pt x="12726" y="2400"/>
                  <a:pt x="12726" y="2400"/>
                  <a:pt x="12726" y="2400"/>
                </a:cubicBezTo>
                <a:cubicBezTo>
                  <a:pt x="12726" y="2400"/>
                  <a:pt x="12739" y="2408"/>
                  <a:pt x="12745" y="2415"/>
                </a:cubicBezTo>
                <a:cubicBezTo>
                  <a:pt x="12751" y="2422"/>
                  <a:pt x="12774" y="2436"/>
                  <a:pt x="12774" y="2436"/>
                </a:cubicBezTo>
                <a:cubicBezTo>
                  <a:pt x="12774" y="2436"/>
                  <a:pt x="12768" y="2405"/>
                  <a:pt x="12783" y="2395"/>
                </a:cubicBezTo>
                <a:close/>
                <a:moveTo>
                  <a:pt x="12683" y="2697"/>
                </a:moveTo>
                <a:cubicBezTo>
                  <a:pt x="12673" y="2693"/>
                  <a:pt x="12674" y="2702"/>
                  <a:pt x="12674" y="2702"/>
                </a:cubicBezTo>
                <a:cubicBezTo>
                  <a:pt x="12689" y="2709"/>
                  <a:pt x="12694" y="2701"/>
                  <a:pt x="12683" y="2697"/>
                </a:cubicBezTo>
                <a:close/>
                <a:moveTo>
                  <a:pt x="12694" y="2675"/>
                </a:moveTo>
                <a:cubicBezTo>
                  <a:pt x="12694" y="2675"/>
                  <a:pt x="12709" y="2674"/>
                  <a:pt x="12702" y="2663"/>
                </a:cubicBezTo>
                <a:cubicBezTo>
                  <a:pt x="12695" y="2653"/>
                  <a:pt x="12674" y="2665"/>
                  <a:pt x="12677" y="2674"/>
                </a:cubicBezTo>
                <a:cubicBezTo>
                  <a:pt x="12679" y="2683"/>
                  <a:pt x="12683" y="2683"/>
                  <a:pt x="12683" y="2683"/>
                </a:cubicBezTo>
                <a:cubicBezTo>
                  <a:pt x="12693" y="2685"/>
                  <a:pt x="12694" y="2675"/>
                  <a:pt x="12694" y="2675"/>
                </a:cubicBezTo>
                <a:close/>
                <a:moveTo>
                  <a:pt x="8814" y="1489"/>
                </a:moveTo>
                <a:cubicBezTo>
                  <a:pt x="8814" y="1489"/>
                  <a:pt x="8814" y="1489"/>
                  <a:pt x="8814" y="1489"/>
                </a:cubicBezTo>
                <a:cubicBezTo>
                  <a:pt x="8814" y="1489"/>
                  <a:pt x="8814" y="1488"/>
                  <a:pt x="8814" y="1488"/>
                </a:cubicBezTo>
                <a:cubicBezTo>
                  <a:pt x="8814" y="1489"/>
                  <a:pt x="8814" y="1489"/>
                  <a:pt x="8814" y="1489"/>
                </a:cubicBezTo>
                <a:close/>
                <a:moveTo>
                  <a:pt x="12699" y="2551"/>
                </a:moveTo>
                <a:cubicBezTo>
                  <a:pt x="12699" y="2555"/>
                  <a:pt x="12686" y="2561"/>
                  <a:pt x="12686" y="2561"/>
                </a:cubicBezTo>
                <a:cubicBezTo>
                  <a:pt x="12703" y="2570"/>
                  <a:pt x="12703" y="2570"/>
                  <a:pt x="12703" y="2570"/>
                </a:cubicBezTo>
                <a:cubicBezTo>
                  <a:pt x="12703" y="2570"/>
                  <a:pt x="12699" y="2547"/>
                  <a:pt x="12699" y="2551"/>
                </a:cubicBezTo>
                <a:close/>
                <a:moveTo>
                  <a:pt x="12721" y="2533"/>
                </a:moveTo>
                <a:cubicBezTo>
                  <a:pt x="12721" y="2537"/>
                  <a:pt x="12717" y="2546"/>
                  <a:pt x="12717" y="2546"/>
                </a:cubicBezTo>
                <a:cubicBezTo>
                  <a:pt x="12726" y="2566"/>
                  <a:pt x="12726" y="2566"/>
                  <a:pt x="12726" y="2566"/>
                </a:cubicBezTo>
                <a:cubicBezTo>
                  <a:pt x="12727" y="2555"/>
                  <a:pt x="12727" y="2555"/>
                  <a:pt x="12727" y="2555"/>
                </a:cubicBezTo>
                <a:cubicBezTo>
                  <a:pt x="12727" y="2555"/>
                  <a:pt x="12721" y="2529"/>
                  <a:pt x="12721" y="2533"/>
                </a:cubicBezTo>
                <a:close/>
                <a:moveTo>
                  <a:pt x="10617" y="3750"/>
                </a:moveTo>
                <a:cubicBezTo>
                  <a:pt x="10600" y="3754"/>
                  <a:pt x="10600" y="3754"/>
                  <a:pt x="10600" y="3754"/>
                </a:cubicBezTo>
                <a:cubicBezTo>
                  <a:pt x="10604" y="3733"/>
                  <a:pt x="10604" y="3733"/>
                  <a:pt x="10604" y="3733"/>
                </a:cubicBezTo>
                <a:cubicBezTo>
                  <a:pt x="10604" y="3733"/>
                  <a:pt x="10591" y="3718"/>
                  <a:pt x="10575" y="3697"/>
                </a:cubicBezTo>
                <a:cubicBezTo>
                  <a:pt x="10559" y="3675"/>
                  <a:pt x="10548" y="3668"/>
                  <a:pt x="10532" y="3677"/>
                </a:cubicBezTo>
                <a:cubicBezTo>
                  <a:pt x="10531" y="3700"/>
                  <a:pt x="10531" y="3700"/>
                  <a:pt x="10531" y="3700"/>
                </a:cubicBezTo>
                <a:cubicBezTo>
                  <a:pt x="10518" y="3700"/>
                  <a:pt x="10518" y="3700"/>
                  <a:pt x="10518" y="3700"/>
                </a:cubicBezTo>
                <a:cubicBezTo>
                  <a:pt x="10538" y="3727"/>
                  <a:pt x="10538" y="3727"/>
                  <a:pt x="10538" y="3727"/>
                </a:cubicBezTo>
                <a:cubicBezTo>
                  <a:pt x="10538" y="3727"/>
                  <a:pt x="10534" y="3759"/>
                  <a:pt x="10523" y="3767"/>
                </a:cubicBezTo>
                <a:cubicBezTo>
                  <a:pt x="10513" y="3774"/>
                  <a:pt x="10514" y="3828"/>
                  <a:pt x="10532" y="3862"/>
                </a:cubicBezTo>
                <a:cubicBezTo>
                  <a:pt x="10550" y="3896"/>
                  <a:pt x="10588" y="3872"/>
                  <a:pt x="10618" y="3858"/>
                </a:cubicBezTo>
                <a:cubicBezTo>
                  <a:pt x="10649" y="3844"/>
                  <a:pt x="10618" y="3788"/>
                  <a:pt x="10618" y="3788"/>
                </a:cubicBezTo>
                <a:lnTo>
                  <a:pt x="10617" y="3750"/>
                </a:lnTo>
                <a:close/>
                <a:moveTo>
                  <a:pt x="11119" y="3612"/>
                </a:moveTo>
                <a:cubicBezTo>
                  <a:pt x="11104" y="3612"/>
                  <a:pt x="11120" y="3644"/>
                  <a:pt x="11120" y="3644"/>
                </a:cubicBezTo>
                <a:cubicBezTo>
                  <a:pt x="11120" y="3644"/>
                  <a:pt x="11133" y="3612"/>
                  <a:pt x="11119" y="3612"/>
                </a:cubicBezTo>
                <a:close/>
                <a:moveTo>
                  <a:pt x="12017" y="3299"/>
                </a:moveTo>
                <a:cubicBezTo>
                  <a:pt x="12027" y="3305"/>
                  <a:pt x="12035" y="3294"/>
                  <a:pt x="12030" y="3289"/>
                </a:cubicBezTo>
                <a:cubicBezTo>
                  <a:pt x="12025" y="3283"/>
                  <a:pt x="12010" y="3295"/>
                  <a:pt x="12017" y="3299"/>
                </a:cubicBezTo>
                <a:close/>
                <a:moveTo>
                  <a:pt x="11183" y="3798"/>
                </a:moveTo>
                <a:cubicBezTo>
                  <a:pt x="11175" y="3799"/>
                  <a:pt x="11179" y="3833"/>
                  <a:pt x="11194" y="3833"/>
                </a:cubicBezTo>
                <a:cubicBezTo>
                  <a:pt x="11194" y="3833"/>
                  <a:pt x="11191" y="3797"/>
                  <a:pt x="11183" y="3798"/>
                </a:cubicBezTo>
                <a:close/>
                <a:moveTo>
                  <a:pt x="12264" y="1244"/>
                </a:moveTo>
                <a:cubicBezTo>
                  <a:pt x="12258" y="1252"/>
                  <a:pt x="12270" y="1280"/>
                  <a:pt x="12292" y="1282"/>
                </a:cubicBezTo>
                <a:cubicBezTo>
                  <a:pt x="12310" y="1284"/>
                  <a:pt x="12270" y="1236"/>
                  <a:pt x="12264" y="1244"/>
                </a:cubicBezTo>
                <a:close/>
                <a:moveTo>
                  <a:pt x="11128" y="3451"/>
                </a:moveTo>
                <a:cubicBezTo>
                  <a:pt x="11108" y="3453"/>
                  <a:pt x="11112" y="3514"/>
                  <a:pt x="11112" y="3514"/>
                </a:cubicBezTo>
                <a:cubicBezTo>
                  <a:pt x="11115" y="3580"/>
                  <a:pt x="11115" y="3580"/>
                  <a:pt x="11115" y="3580"/>
                </a:cubicBezTo>
                <a:cubicBezTo>
                  <a:pt x="11126" y="3560"/>
                  <a:pt x="11126" y="3560"/>
                  <a:pt x="11126" y="3560"/>
                </a:cubicBezTo>
                <a:cubicBezTo>
                  <a:pt x="11126" y="3492"/>
                  <a:pt x="11126" y="3492"/>
                  <a:pt x="11126" y="3492"/>
                </a:cubicBezTo>
                <a:cubicBezTo>
                  <a:pt x="11126" y="3492"/>
                  <a:pt x="11144" y="3449"/>
                  <a:pt x="11128" y="3451"/>
                </a:cubicBezTo>
                <a:close/>
                <a:moveTo>
                  <a:pt x="13079" y="1781"/>
                </a:moveTo>
                <a:cubicBezTo>
                  <a:pt x="13112" y="1763"/>
                  <a:pt x="13112" y="1763"/>
                  <a:pt x="13112" y="1763"/>
                </a:cubicBezTo>
                <a:cubicBezTo>
                  <a:pt x="13103" y="1747"/>
                  <a:pt x="13103" y="1747"/>
                  <a:pt x="13103" y="1747"/>
                </a:cubicBezTo>
                <a:cubicBezTo>
                  <a:pt x="13100" y="1760"/>
                  <a:pt x="13100" y="1760"/>
                  <a:pt x="13100" y="1760"/>
                </a:cubicBezTo>
                <a:cubicBezTo>
                  <a:pt x="13073" y="1756"/>
                  <a:pt x="13073" y="1756"/>
                  <a:pt x="13073" y="1756"/>
                </a:cubicBezTo>
                <a:cubicBezTo>
                  <a:pt x="13060" y="1803"/>
                  <a:pt x="13060" y="1803"/>
                  <a:pt x="13060" y="1803"/>
                </a:cubicBezTo>
                <a:cubicBezTo>
                  <a:pt x="13067" y="1805"/>
                  <a:pt x="13067" y="1805"/>
                  <a:pt x="13067" y="1805"/>
                </a:cubicBezTo>
                <a:lnTo>
                  <a:pt x="13079" y="1781"/>
                </a:lnTo>
                <a:close/>
                <a:moveTo>
                  <a:pt x="12541" y="1334"/>
                </a:moveTo>
                <a:cubicBezTo>
                  <a:pt x="12536" y="1336"/>
                  <a:pt x="12523" y="1321"/>
                  <a:pt x="12521" y="1336"/>
                </a:cubicBezTo>
                <a:cubicBezTo>
                  <a:pt x="12518" y="1352"/>
                  <a:pt x="12547" y="1381"/>
                  <a:pt x="12547" y="1381"/>
                </a:cubicBezTo>
                <a:cubicBezTo>
                  <a:pt x="12547" y="1381"/>
                  <a:pt x="12554" y="1399"/>
                  <a:pt x="12561" y="1406"/>
                </a:cubicBezTo>
                <a:cubicBezTo>
                  <a:pt x="12568" y="1413"/>
                  <a:pt x="12615" y="1443"/>
                  <a:pt x="12626" y="1457"/>
                </a:cubicBezTo>
                <a:cubicBezTo>
                  <a:pt x="12637" y="1471"/>
                  <a:pt x="12636" y="1493"/>
                  <a:pt x="12649" y="1504"/>
                </a:cubicBezTo>
                <a:cubicBezTo>
                  <a:pt x="12663" y="1515"/>
                  <a:pt x="12695" y="1571"/>
                  <a:pt x="12695" y="1571"/>
                </a:cubicBezTo>
                <a:cubicBezTo>
                  <a:pt x="12695" y="1571"/>
                  <a:pt x="12701" y="1594"/>
                  <a:pt x="12708" y="1594"/>
                </a:cubicBezTo>
                <a:cubicBezTo>
                  <a:pt x="12715" y="1594"/>
                  <a:pt x="12728" y="1604"/>
                  <a:pt x="12735" y="1614"/>
                </a:cubicBezTo>
                <a:cubicBezTo>
                  <a:pt x="12742" y="1623"/>
                  <a:pt x="12742" y="1643"/>
                  <a:pt x="12742" y="1643"/>
                </a:cubicBezTo>
                <a:cubicBezTo>
                  <a:pt x="12770" y="1666"/>
                  <a:pt x="12770" y="1666"/>
                  <a:pt x="12770" y="1666"/>
                </a:cubicBezTo>
                <a:cubicBezTo>
                  <a:pt x="12780" y="1702"/>
                  <a:pt x="12780" y="1702"/>
                  <a:pt x="12780" y="1702"/>
                </a:cubicBezTo>
                <a:cubicBezTo>
                  <a:pt x="12806" y="1730"/>
                  <a:pt x="12806" y="1730"/>
                  <a:pt x="12806" y="1730"/>
                </a:cubicBezTo>
                <a:cubicBezTo>
                  <a:pt x="12806" y="1730"/>
                  <a:pt x="12792" y="1691"/>
                  <a:pt x="12801" y="1688"/>
                </a:cubicBezTo>
                <a:cubicBezTo>
                  <a:pt x="12809" y="1686"/>
                  <a:pt x="12813" y="1695"/>
                  <a:pt x="12813" y="1695"/>
                </a:cubicBezTo>
                <a:cubicBezTo>
                  <a:pt x="12834" y="1695"/>
                  <a:pt x="12834" y="1695"/>
                  <a:pt x="12834" y="1695"/>
                </a:cubicBezTo>
                <a:cubicBezTo>
                  <a:pt x="12856" y="1722"/>
                  <a:pt x="12856" y="1722"/>
                  <a:pt x="12856" y="1722"/>
                </a:cubicBezTo>
                <a:cubicBezTo>
                  <a:pt x="12857" y="1705"/>
                  <a:pt x="12857" y="1705"/>
                  <a:pt x="12857" y="1705"/>
                </a:cubicBezTo>
                <a:cubicBezTo>
                  <a:pt x="12837" y="1680"/>
                  <a:pt x="12837" y="1680"/>
                  <a:pt x="12837" y="1680"/>
                </a:cubicBezTo>
                <a:cubicBezTo>
                  <a:pt x="12821" y="1681"/>
                  <a:pt x="12821" y="1681"/>
                  <a:pt x="12821" y="1681"/>
                </a:cubicBezTo>
                <a:cubicBezTo>
                  <a:pt x="12799" y="1658"/>
                  <a:pt x="12799" y="1658"/>
                  <a:pt x="12799" y="1658"/>
                </a:cubicBezTo>
                <a:cubicBezTo>
                  <a:pt x="12799" y="1658"/>
                  <a:pt x="12777" y="1652"/>
                  <a:pt x="12764" y="1634"/>
                </a:cubicBezTo>
                <a:cubicBezTo>
                  <a:pt x="12752" y="1616"/>
                  <a:pt x="12744" y="1575"/>
                  <a:pt x="12744" y="1575"/>
                </a:cubicBezTo>
                <a:cubicBezTo>
                  <a:pt x="12744" y="1575"/>
                  <a:pt x="12720" y="1561"/>
                  <a:pt x="12733" y="1554"/>
                </a:cubicBezTo>
                <a:cubicBezTo>
                  <a:pt x="12745" y="1547"/>
                  <a:pt x="12821" y="1585"/>
                  <a:pt x="12821" y="1585"/>
                </a:cubicBezTo>
                <a:cubicBezTo>
                  <a:pt x="12771" y="1548"/>
                  <a:pt x="12771" y="1548"/>
                  <a:pt x="12771" y="1548"/>
                </a:cubicBezTo>
                <a:cubicBezTo>
                  <a:pt x="12771" y="1548"/>
                  <a:pt x="12752" y="1518"/>
                  <a:pt x="12742" y="1511"/>
                </a:cubicBezTo>
                <a:cubicBezTo>
                  <a:pt x="12733" y="1504"/>
                  <a:pt x="12717" y="1494"/>
                  <a:pt x="12717" y="1494"/>
                </a:cubicBezTo>
                <a:cubicBezTo>
                  <a:pt x="12665" y="1438"/>
                  <a:pt x="12665" y="1438"/>
                  <a:pt x="12665" y="1438"/>
                </a:cubicBezTo>
                <a:cubicBezTo>
                  <a:pt x="12648" y="1439"/>
                  <a:pt x="12648" y="1439"/>
                  <a:pt x="12648" y="1439"/>
                </a:cubicBezTo>
                <a:cubicBezTo>
                  <a:pt x="12641" y="1420"/>
                  <a:pt x="12641" y="1420"/>
                  <a:pt x="12641" y="1420"/>
                </a:cubicBezTo>
                <a:cubicBezTo>
                  <a:pt x="12641" y="1420"/>
                  <a:pt x="12631" y="1422"/>
                  <a:pt x="12619" y="1410"/>
                </a:cubicBezTo>
                <a:cubicBezTo>
                  <a:pt x="12607" y="1397"/>
                  <a:pt x="12611" y="1381"/>
                  <a:pt x="12611" y="1381"/>
                </a:cubicBezTo>
                <a:cubicBezTo>
                  <a:pt x="12591" y="1356"/>
                  <a:pt x="12591" y="1356"/>
                  <a:pt x="12591" y="1356"/>
                </a:cubicBezTo>
                <a:cubicBezTo>
                  <a:pt x="12577" y="1357"/>
                  <a:pt x="12577" y="1357"/>
                  <a:pt x="12577" y="1357"/>
                </a:cubicBezTo>
                <a:cubicBezTo>
                  <a:pt x="12568" y="1338"/>
                  <a:pt x="12568" y="1338"/>
                  <a:pt x="12568" y="1338"/>
                </a:cubicBezTo>
                <a:cubicBezTo>
                  <a:pt x="12541" y="1318"/>
                  <a:pt x="12541" y="1318"/>
                  <a:pt x="12541" y="1318"/>
                </a:cubicBezTo>
                <a:cubicBezTo>
                  <a:pt x="12533" y="1302"/>
                  <a:pt x="12533" y="1302"/>
                  <a:pt x="12533" y="1302"/>
                </a:cubicBezTo>
                <a:cubicBezTo>
                  <a:pt x="12533" y="1302"/>
                  <a:pt x="12515" y="1289"/>
                  <a:pt x="12508" y="1294"/>
                </a:cubicBezTo>
                <a:cubicBezTo>
                  <a:pt x="12501" y="1298"/>
                  <a:pt x="12547" y="1331"/>
                  <a:pt x="12541" y="1334"/>
                </a:cubicBezTo>
                <a:close/>
                <a:moveTo>
                  <a:pt x="12478" y="2891"/>
                </a:moveTo>
                <a:cubicBezTo>
                  <a:pt x="12490" y="2894"/>
                  <a:pt x="12501" y="2877"/>
                  <a:pt x="12485" y="2875"/>
                </a:cubicBezTo>
                <a:cubicBezTo>
                  <a:pt x="12469" y="2874"/>
                  <a:pt x="12478" y="2891"/>
                  <a:pt x="12478" y="2891"/>
                </a:cubicBezTo>
                <a:close/>
                <a:moveTo>
                  <a:pt x="12587" y="2774"/>
                </a:moveTo>
                <a:cubicBezTo>
                  <a:pt x="12587" y="2782"/>
                  <a:pt x="12598" y="2782"/>
                  <a:pt x="12598" y="2782"/>
                </a:cubicBezTo>
                <a:cubicBezTo>
                  <a:pt x="12605" y="2770"/>
                  <a:pt x="12587" y="2766"/>
                  <a:pt x="12587" y="2774"/>
                </a:cubicBezTo>
                <a:close/>
                <a:moveTo>
                  <a:pt x="12559" y="2866"/>
                </a:moveTo>
                <a:cubicBezTo>
                  <a:pt x="12565" y="2858"/>
                  <a:pt x="12550" y="2858"/>
                  <a:pt x="12550" y="2858"/>
                </a:cubicBezTo>
                <a:cubicBezTo>
                  <a:pt x="12541" y="2841"/>
                  <a:pt x="12541" y="2841"/>
                  <a:pt x="12541" y="2841"/>
                </a:cubicBezTo>
                <a:cubicBezTo>
                  <a:pt x="12541" y="2851"/>
                  <a:pt x="12541" y="2851"/>
                  <a:pt x="12541" y="2851"/>
                </a:cubicBezTo>
                <a:cubicBezTo>
                  <a:pt x="12539" y="2867"/>
                  <a:pt x="12554" y="2874"/>
                  <a:pt x="12559" y="2866"/>
                </a:cubicBezTo>
                <a:close/>
                <a:moveTo>
                  <a:pt x="12523" y="2879"/>
                </a:moveTo>
                <a:cubicBezTo>
                  <a:pt x="12505" y="2870"/>
                  <a:pt x="12505" y="2870"/>
                  <a:pt x="12505" y="2870"/>
                </a:cubicBezTo>
                <a:cubicBezTo>
                  <a:pt x="12505" y="2870"/>
                  <a:pt x="12497" y="2885"/>
                  <a:pt x="12501" y="2885"/>
                </a:cubicBezTo>
                <a:cubicBezTo>
                  <a:pt x="12505" y="2885"/>
                  <a:pt x="12523" y="2879"/>
                  <a:pt x="12523" y="2879"/>
                </a:cubicBezTo>
                <a:close/>
                <a:moveTo>
                  <a:pt x="12471" y="2390"/>
                </a:moveTo>
                <a:cubicBezTo>
                  <a:pt x="12447" y="2398"/>
                  <a:pt x="12457" y="2407"/>
                  <a:pt x="12472" y="2407"/>
                </a:cubicBezTo>
                <a:cubicBezTo>
                  <a:pt x="12491" y="2407"/>
                  <a:pt x="12495" y="2382"/>
                  <a:pt x="12471" y="2390"/>
                </a:cubicBezTo>
                <a:close/>
                <a:moveTo>
                  <a:pt x="11286" y="3255"/>
                </a:moveTo>
                <a:cubicBezTo>
                  <a:pt x="11294" y="3249"/>
                  <a:pt x="11309" y="3276"/>
                  <a:pt x="11309" y="3276"/>
                </a:cubicBezTo>
                <a:cubicBezTo>
                  <a:pt x="11308" y="3297"/>
                  <a:pt x="11308" y="3297"/>
                  <a:pt x="11308" y="3297"/>
                </a:cubicBezTo>
                <a:cubicBezTo>
                  <a:pt x="11308" y="3297"/>
                  <a:pt x="11329" y="3298"/>
                  <a:pt x="11330" y="3315"/>
                </a:cubicBezTo>
                <a:cubicBezTo>
                  <a:pt x="11330" y="3332"/>
                  <a:pt x="11337" y="3344"/>
                  <a:pt x="11339" y="3357"/>
                </a:cubicBezTo>
                <a:cubicBezTo>
                  <a:pt x="11341" y="3371"/>
                  <a:pt x="11344" y="3404"/>
                  <a:pt x="11344" y="3404"/>
                </a:cubicBezTo>
                <a:cubicBezTo>
                  <a:pt x="11344" y="3404"/>
                  <a:pt x="11345" y="3416"/>
                  <a:pt x="11352" y="3425"/>
                </a:cubicBezTo>
                <a:cubicBezTo>
                  <a:pt x="11360" y="3434"/>
                  <a:pt x="11363" y="3447"/>
                  <a:pt x="11363" y="3447"/>
                </a:cubicBezTo>
                <a:cubicBezTo>
                  <a:pt x="11391" y="3508"/>
                  <a:pt x="11391" y="3508"/>
                  <a:pt x="11391" y="3508"/>
                </a:cubicBezTo>
                <a:cubicBezTo>
                  <a:pt x="11401" y="3538"/>
                  <a:pt x="11401" y="3538"/>
                  <a:pt x="11401" y="3538"/>
                </a:cubicBezTo>
                <a:cubicBezTo>
                  <a:pt x="11401" y="3538"/>
                  <a:pt x="11387" y="3535"/>
                  <a:pt x="11386" y="3543"/>
                </a:cubicBezTo>
                <a:cubicBezTo>
                  <a:pt x="11384" y="3552"/>
                  <a:pt x="11378" y="3577"/>
                  <a:pt x="11378" y="3577"/>
                </a:cubicBezTo>
                <a:cubicBezTo>
                  <a:pt x="11407" y="3567"/>
                  <a:pt x="11407" y="3567"/>
                  <a:pt x="11407" y="3567"/>
                </a:cubicBezTo>
                <a:cubicBezTo>
                  <a:pt x="11399" y="3604"/>
                  <a:pt x="11399" y="3604"/>
                  <a:pt x="11399" y="3604"/>
                </a:cubicBezTo>
                <a:cubicBezTo>
                  <a:pt x="11399" y="3604"/>
                  <a:pt x="11395" y="3616"/>
                  <a:pt x="11396" y="3629"/>
                </a:cubicBezTo>
                <a:cubicBezTo>
                  <a:pt x="11397" y="3641"/>
                  <a:pt x="11404" y="3660"/>
                  <a:pt x="11404" y="3660"/>
                </a:cubicBezTo>
                <a:cubicBezTo>
                  <a:pt x="11404" y="3660"/>
                  <a:pt x="11392" y="3692"/>
                  <a:pt x="11390" y="3708"/>
                </a:cubicBezTo>
                <a:cubicBezTo>
                  <a:pt x="11388" y="3724"/>
                  <a:pt x="11390" y="3769"/>
                  <a:pt x="11390" y="3769"/>
                </a:cubicBezTo>
                <a:cubicBezTo>
                  <a:pt x="11390" y="3769"/>
                  <a:pt x="11400" y="3779"/>
                  <a:pt x="11402" y="3769"/>
                </a:cubicBezTo>
                <a:cubicBezTo>
                  <a:pt x="11403" y="3759"/>
                  <a:pt x="11403" y="3735"/>
                  <a:pt x="11407" y="3746"/>
                </a:cubicBezTo>
                <a:cubicBezTo>
                  <a:pt x="11410" y="3758"/>
                  <a:pt x="11402" y="3758"/>
                  <a:pt x="11416" y="3760"/>
                </a:cubicBezTo>
                <a:cubicBezTo>
                  <a:pt x="11430" y="3761"/>
                  <a:pt x="11438" y="3791"/>
                  <a:pt x="11438" y="3791"/>
                </a:cubicBezTo>
                <a:cubicBezTo>
                  <a:pt x="11461" y="3811"/>
                  <a:pt x="11461" y="3811"/>
                  <a:pt x="11461" y="3811"/>
                </a:cubicBezTo>
                <a:cubicBezTo>
                  <a:pt x="11461" y="3811"/>
                  <a:pt x="11456" y="3822"/>
                  <a:pt x="11465" y="3836"/>
                </a:cubicBezTo>
                <a:cubicBezTo>
                  <a:pt x="11471" y="3847"/>
                  <a:pt x="11479" y="3855"/>
                  <a:pt x="11483" y="3859"/>
                </a:cubicBezTo>
                <a:cubicBezTo>
                  <a:pt x="11484" y="3859"/>
                  <a:pt x="11484" y="3860"/>
                  <a:pt x="11484" y="3860"/>
                </a:cubicBezTo>
                <a:cubicBezTo>
                  <a:pt x="11489" y="3921"/>
                  <a:pt x="11489" y="3921"/>
                  <a:pt x="11489" y="3921"/>
                </a:cubicBezTo>
                <a:cubicBezTo>
                  <a:pt x="11489" y="3921"/>
                  <a:pt x="11521" y="3909"/>
                  <a:pt x="11521" y="3929"/>
                </a:cubicBezTo>
                <a:cubicBezTo>
                  <a:pt x="11520" y="3949"/>
                  <a:pt x="11511" y="3971"/>
                  <a:pt x="11522" y="3983"/>
                </a:cubicBezTo>
                <a:cubicBezTo>
                  <a:pt x="11533" y="3996"/>
                  <a:pt x="11545" y="3983"/>
                  <a:pt x="11545" y="3983"/>
                </a:cubicBezTo>
                <a:cubicBezTo>
                  <a:pt x="11545" y="3983"/>
                  <a:pt x="11538" y="4024"/>
                  <a:pt x="11548" y="4033"/>
                </a:cubicBezTo>
                <a:cubicBezTo>
                  <a:pt x="11558" y="4042"/>
                  <a:pt x="11597" y="4066"/>
                  <a:pt x="11597" y="4066"/>
                </a:cubicBezTo>
                <a:cubicBezTo>
                  <a:pt x="11597" y="4066"/>
                  <a:pt x="11599" y="4086"/>
                  <a:pt x="11604" y="4088"/>
                </a:cubicBezTo>
                <a:cubicBezTo>
                  <a:pt x="11609" y="4089"/>
                  <a:pt x="11636" y="4101"/>
                  <a:pt x="11636" y="4101"/>
                </a:cubicBezTo>
                <a:cubicBezTo>
                  <a:pt x="11652" y="4123"/>
                  <a:pt x="11652" y="4123"/>
                  <a:pt x="11652" y="4123"/>
                </a:cubicBezTo>
                <a:cubicBezTo>
                  <a:pt x="11685" y="4120"/>
                  <a:pt x="11685" y="4120"/>
                  <a:pt x="11685" y="4120"/>
                </a:cubicBezTo>
                <a:cubicBezTo>
                  <a:pt x="11685" y="4120"/>
                  <a:pt x="11690" y="4100"/>
                  <a:pt x="11688" y="4082"/>
                </a:cubicBezTo>
                <a:cubicBezTo>
                  <a:pt x="11686" y="4065"/>
                  <a:pt x="11656" y="4045"/>
                  <a:pt x="11655" y="4040"/>
                </a:cubicBezTo>
                <a:cubicBezTo>
                  <a:pt x="11654" y="4035"/>
                  <a:pt x="11660" y="4023"/>
                  <a:pt x="11653" y="4014"/>
                </a:cubicBezTo>
                <a:cubicBezTo>
                  <a:pt x="11645" y="4005"/>
                  <a:pt x="11651" y="4003"/>
                  <a:pt x="11651" y="3990"/>
                </a:cubicBezTo>
                <a:cubicBezTo>
                  <a:pt x="11652" y="3978"/>
                  <a:pt x="11655" y="3939"/>
                  <a:pt x="11650" y="3917"/>
                </a:cubicBezTo>
                <a:cubicBezTo>
                  <a:pt x="11646" y="3895"/>
                  <a:pt x="11604" y="3880"/>
                  <a:pt x="11598" y="3871"/>
                </a:cubicBezTo>
                <a:cubicBezTo>
                  <a:pt x="11596" y="3868"/>
                  <a:pt x="11591" y="3864"/>
                  <a:pt x="11586" y="3861"/>
                </a:cubicBezTo>
                <a:cubicBezTo>
                  <a:pt x="11586" y="3861"/>
                  <a:pt x="11586" y="3861"/>
                  <a:pt x="11586" y="3861"/>
                </a:cubicBezTo>
                <a:cubicBezTo>
                  <a:pt x="11577" y="3854"/>
                  <a:pt x="11567" y="3848"/>
                  <a:pt x="11567" y="3848"/>
                </a:cubicBezTo>
                <a:cubicBezTo>
                  <a:pt x="11567" y="3848"/>
                  <a:pt x="11562" y="3824"/>
                  <a:pt x="11559" y="3814"/>
                </a:cubicBezTo>
                <a:cubicBezTo>
                  <a:pt x="11556" y="3804"/>
                  <a:pt x="11529" y="3824"/>
                  <a:pt x="11521" y="3820"/>
                </a:cubicBezTo>
                <a:cubicBezTo>
                  <a:pt x="11514" y="3816"/>
                  <a:pt x="11507" y="3779"/>
                  <a:pt x="11502" y="3782"/>
                </a:cubicBezTo>
                <a:cubicBezTo>
                  <a:pt x="11497" y="3786"/>
                  <a:pt x="11502" y="3797"/>
                  <a:pt x="11496" y="3798"/>
                </a:cubicBezTo>
                <a:cubicBezTo>
                  <a:pt x="11490" y="3799"/>
                  <a:pt x="11475" y="3776"/>
                  <a:pt x="11483" y="3768"/>
                </a:cubicBezTo>
                <a:cubicBezTo>
                  <a:pt x="11491" y="3760"/>
                  <a:pt x="11488" y="3775"/>
                  <a:pt x="11496" y="3772"/>
                </a:cubicBezTo>
                <a:cubicBezTo>
                  <a:pt x="11504" y="3769"/>
                  <a:pt x="11486" y="3738"/>
                  <a:pt x="11484" y="3732"/>
                </a:cubicBezTo>
                <a:cubicBezTo>
                  <a:pt x="11482" y="3726"/>
                  <a:pt x="11471" y="3728"/>
                  <a:pt x="11471" y="3728"/>
                </a:cubicBezTo>
                <a:cubicBezTo>
                  <a:pt x="11472" y="3691"/>
                  <a:pt x="11472" y="3691"/>
                  <a:pt x="11472" y="3691"/>
                </a:cubicBezTo>
                <a:cubicBezTo>
                  <a:pt x="11437" y="3701"/>
                  <a:pt x="11437" y="3701"/>
                  <a:pt x="11437" y="3701"/>
                </a:cubicBezTo>
                <a:cubicBezTo>
                  <a:pt x="11437" y="3701"/>
                  <a:pt x="11433" y="3642"/>
                  <a:pt x="11432" y="3635"/>
                </a:cubicBezTo>
                <a:cubicBezTo>
                  <a:pt x="11431" y="3627"/>
                  <a:pt x="11426" y="3617"/>
                  <a:pt x="11426" y="3617"/>
                </a:cubicBezTo>
                <a:cubicBezTo>
                  <a:pt x="11426" y="3617"/>
                  <a:pt x="11442" y="3609"/>
                  <a:pt x="11443" y="3591"/>
                </a:cubicBezTo>
                <a:cubicBezTo>
                  <a:pt x="11444" y="3572"/>
                  <a:pt x="11444" y="3549"/>
                  <a:pt x="11444" y="3549"/>
                </a:cubicBezTo>
                <a:cubicBezTo>
                  <a:pt x="11444" y="3549"/>
                  <a:pt x="11458" y="3542"/>
                  <a:pt x="11459" y="3518"/>
                </a:cubicBezTo>
                <a:cubicBezTo>
                  <a:pt x="11460" y="3493"/>
                  <a:pt x="11453" y="3489"/>
                  <a:pt x="11453" y="3489"/>
                </a:cubicBezTo>
                <a:cubicBezTo>
                  <a:pt x="11457" y="3467"/>
                  <a:pt x="11457" y="3467"/>
                  <a:pt x="11457" y="3467"/>
                </a:cubicBezTo>
                <a:cubicBezTo>
                  <a:pt x="11464" y="3467"/>
                  <a:pt x="11464" y="3467"/>
                  <a:pt x="11464" y="3467"/>
                </a:cubicBezTo>
                <a:cubicBezTo>
                  <a:pt x="11464" y="3467"/>
                  <a:pt x="11465" y="3459"/>
                  <a:pt x="11477" y="3460"/>
                </a:cubicBezTo>
                <a:cubicBezTo>
                  <a:pt x="11488" y="3460"/>
                  <a:pt x="11507" y="3474"/>
                  <a:pt x="11507" y="3474"/>
                </a:cubicBezTo>
                <a:cubicBezTo>
                  <a:pt x="11499" y="3480"/>
                  <a:pt x="11499" y="3480"/>
                  <a:pt x="11499" y="3480"/>
                </a:cubicBezTo>
                <a:cubicBezTo>
                  <a:pt x="11499" y="3480"/>
                  <a:pt x="11494" y="3512"/>
                  <a:pt x="11505" y="3512"/>
                </a:cubicBezTo>
                <a:cubicBezTo>
                  <a:pt x="11517" y="3513"/>
                  <a:pt x="11553" y="3496"/>
                  <a:pt x="11553" y="3496"/>
                </a:cubicBezTo>
                <a:cubicBezTo>
                  <a:pt x="11571" y="3550"/>
                  <a:pt x="11571" y="3550"/>
                  <a:pt x="11571" y="3550"/>
                </a:cubicBezTo>
                <a:cubicBezTo>
                  <a:pt x="11571" y="3550"/>
                  <a:pt x="11579" y="3538"/>
                  <a:pt x="11590" y="3543"/>
                </a:cubicBezTo>
                <a:cubicBezTo>
                  <a:pt x="11593" y="3544"/>
                  <a:pt x="11596" y="3546"/>
                  <a:pt x="11599" y="3549"/>
                </a:cubicBezTo>
                <a:cubicBezTo>
                  <a:pt x="11614" y="3566"/>
                  <a:pt x="11600" y="3578"/>
                  <a:pt x="11600" y="3578"/>
                </a:cubicBezTo>
                <a:cubicBezTo>
                  <a:pt x="11600" y="3578"/>
                  <a:pt x="11609" y="3600"/>
                  <a:pt x="11619" y="3601"/>
                </a:cubicBezTo>
                <a:cubicBezTo>
                  <a:pt x="11629" y="3601"/>
                  <a:pt x="11632" y="3588"/>
                  <a:pt x="11632" y="3588"/>
                </a:cubicBezTo>
                <a:cubicBezTo>
                  <a:pt x="11632" y="3588"/>
                  <a:pt x="11631" y="3612"/>
                  <a:pt x="11641" y="3614"/>
                </a:cubicBezTo>
                <a:cubicBezTo>
                  <a:pt x="11652" y="3616"/>
                  <a:pt x="11662" y="3608"/>
                  <a:pt x="11664" y="3618"/>
                </a:cubicBezTo>
                <a:cubicBezTo>
                  <a:pt x="11665" y="3622"/>
                  <a:pt x="11668" y="3628"/>
                  <a:pt x="11670" y="3633"/>
                </a:cubicBezTo>
                <a:cubicBezTo>
                  <a:pt x="11683" y="3634"/>
                  <a:pt x="11683" y="3634"/>
                  <a:pt x="11683" y="3634"/>
                </a:cubicBezTo>
                <a:cubicBezTo>
                  <a:pt x="11682" y="3636"/>
                  <a:pt x="11683" y="3638"/>
                  <a:pt x="11684" y="3640"/>
                </a:cubicBezTo>
                <a:cubicBezTo>
                  <a:pt x="11690" y="3648"/>
                  <a:pt x="11713" y="3660"/>
                  <a:pt x="11713" y="3660"/>
                </a:cubicBezTo>
                <a:cubicBezTo>
                  <a:pt x="11700" y="3671"/>
                  <a:pt x="11700" y="3671"/>
                  <a:pt x="11700" y="3671"/>
                </a:cubicBezTo>
                <a:cubicBezTo>
                  <a:pt x="11700" y="3671"/>
                  <a:pt x="11714" y="3706"/>
                  <a:pt x="11707" y="3712"/>
                </a:cubicBezTo>
                <a:cubicBezTo>
                  <a:pt x="11703" y="3715"/>
                  <a:pt x="11700" y="3721"/>
                  <a:pt x="11698" y="3726"/>
                </a:cubicBezTo>
                <a:cubicBezTo>
                  <a:pt x="11699" y="3726"/>
                  <a:pt x="11699" y="3726"/>
                  <a:pt x="11699" y="3726"/>
                </a:cubicBezTo>
                <a:cubicBezTo>
                  <a:pt x="11708" y="3732"/>
                  <a:pt x="11722" y="3732"/>
                  <a:pt x="11732" y="3720"/>
                </a:cubicBezTo>
                <a:cubicBezTo>
                  <a:pt x="11743" y="3709"/>
                  <a:pt x="11756" y="3705"/>
                  <a:pt x="11756" y="3705"/>
                </a:cubicBezTo>
                <a:cubicBezTo>
                  <a:pt x="11759" y="3689"/>
                  <a:pt x="11759" y="3689"/>
                  <a:pt x="11759" y="3689"/>
                </a:cubicBezTo>
                <a:cubicBezTo>
                  <a:pt x="11759" y="3673"/>
                  <a:pt x="11759" y="3673"/>
                  <a:pt x="11759" y="3673"/>
                </a:cubicBezTo>
                <a:cubicBezTo>
                  <a:pt x="11759" y="3673"/>
                  <a:pt x="11784" y="3684"/>
                  <a:pt x="11789" y="3672"/>
                </a:cubicBezTo>
                <a:cubicBezTo>
                  <a:pt x="11793" y="3660"/>
                  <a:pt x="11773" y="3648"/>
                  <a:pt x="11777" y="3645"/>
                </a:cubicBezTo>
                <a:cubicBezTo>
                  <a:pt x="11781" y="3641"/>
                  <a:pt x="11804" y="3630"/>
                  <a:pt x="11804" y="3630"/>
                </a:cubicBezTo>
                <a:cubicBezTo>
                  <a:pt x="11804" y="3630"/>
                  <a:pt x="11815" y="3639"/>
                  <a:pt x="11838" y="3627"/>
                </a:cubicBezTo>
                <a:cubicBezTo>
                  <a:pt x="11860" y="3616"/>
                  <a:pt x="11891" y="3593"/>
                  <a:pt x="11895" y="3576"/>
                </a:cubicBezTo>
                <a:cubicBezTo>
                  <a:pt x="11898" y="3559"/>
                  <a:pt x="11911" y="3514"/>
                  <a:pt x="11909" y="3504"/>
                </a:cubicBezTo>
                <a:cubicBezTo>
                  <a:pt x="11907" y="3494"/>
                  <a:pt x="11889" y="3476"/>
                  <a:pt x="11889" y="3476"/>
                </a:cubicBezTo>
                <a:cubicBezTo>
                  <a:pt x="11899" y="3472"/>
                  <a:pt x="11899" y="3472"/>
                  <a:pt x="11899" y="3472"/>
                </a:cubicBezTo>
                <a:cubicBezTo>
                  <a:pt x="11899" y="3472"/>
                  <a:pt x="11899" y="3435"/>
                  <a:pt x="11894" y="3422"/>
                </a:cubicBezTo>
                <a:cubicBezTo>
                  <a:pt x="11888" y="3408"/>
                  <a:pt x="11872" y="3385"/>
                  <a:pt x="11872" y="3385"/>
                </a:cubicBezTo>
                <a:cubicBezTo>
                  <a:pt x="11872" y="3385"/>
                  <a:pt x="11883" y="3371"/>
                  <a:pt x="11867" y="3355"/>
                </a:cubicBezTo>
                <a:cubicBezTo>
                  <a:pt x="11851" y="3340"/>
                  <a:pt x="11806" y="3298"/>
                  <a:pt x="11792" y="3291"/>
                </a:cubicBezTo>
                <a:cubicBezTo>
                  <a:pt x="11778" y="3285"/>
                  <a:pt x="11763" y="3277"/>
                  <a:pt x="11760" y="3269"/>
                </a:cubicBezTo>
                <a:cubicBezTo>
                  <a:pt x="11756" y="3262"/>
                  <a:pt x="11764" y="3256"/>
                  <a:pt x="11758" y="3246"/>
                </a:cubicBezTo>
                <a:cubicBezTo>
                  <a:pt x="11752" y="3236"/>
                  <a:pt x="11704" y="3195"/>
                  <a:pt x="11697" y="3172"/>
                </a:cubicBezTo>
                <a:cubicBezTo>
                  <a:pt x="11691" y="3148"/>
                  <a:pt x="11686" y="3122"/>
                  <a:pt x="11692" y="3117"/>
                </a:cubicBezTo>
                <a:cubicBezTo>
                  <a:pt x="11699" y="3113"/>
                  <a:pt x="11701" y="3097"/>
                  <a:pt x="11701" y="3097"/>
                </a:cubicBezTo>
                <a:cubicBezTo>
                  <a:pt x="11701" y="3097"/>
                  <a:pt x="11719" y="3084"/>
                  <a:pt x="11724" y="3080"/>
                </a:cubicBezTo>
                <a:cubicBezTo>
                  <a:pt x="11730" y="3077"/>
                  <a:pt x="11733" y="3066"/>
                  <a:pt x="11733" y="3066"/>
                </a:cubicBezTo>
                <a:cubicBezTo>
                  <a:pt x="11733" y="3066"/>
                  <a:pt x="11752" y="3069"/>
                  <a:pt x="11758" y="3064"/>
                </a:cubicBezTo>
                <a:cubicBezTo>
                  <a:pt x="11763" y="3059"/>
                  <a:pt x="11763" y="3037"/>
                  <a:pt x="11763" y="3037"/>
                </a:cubicBezTo>
                <a:cubicBezTo>
                  <a:pt x="11770" y="3032"/>
                  <a:pt x="11770" y="3032"/>
                  <a:pt x="11770" y="3032"/>
                </a:cubicBezTo>
                <a:cubicBezTo>
                  <a:pt x="11799" y="3013"/>
                  <a:pt x="11799" y="3013"/>
                  <a:pt x="11799" y="3013"/>
                </a:cubicBezTo>
                <a:cubicBezTo>
                  <a:pt x="11811" y="3021"/>
                  <a:pt x="11811" y="3021"/>
                  <a:pt x="11811" y="3021"/>
                </a:cubicBezTo>
                <a:cubicBezTo>
                  <a:pt x="11811" y="3021"/>
                  <a:pt x="11856" y="3021"/>
                  <a:pt x="11862" y="3032"/>
                </a:cubicBezTo>
                <a:cubicBezTo>
                  <a:pt x="11867" y="3044"/>
                  <a:pt x="11852" y="3066"/>
                  <a:pt x="11859" y="3077"/>
                </a:cubicBezTo>
                <a:cubicBezTo>
                  <a:pt x="11867" y="3088"/>
                  <a:pt x="11888" y="3103"/>
                  <a:pt x="11888" y="3103"/>
                </a:cubicBezTo>
                <a:cubicBezTo>
                  <a:pt x="11902" y="3101"/>
                  <a:pt x="11902" y="3101"/>
                  <a:pt x="11902" y="3101"/>
                </a:cubicBezTo>
                <a:cubicBezTo>
                  <a:pt x="11902" y="3089"/>
                  <a:pt x="11902" y="3089"/>
                  <a:pt x="11902" y="3089"/>
                </a:cubicBezTo>
                <a:cubicBezTo>
                  <a:pt x="11902" y="3089"/>
                  <a:pt x="11893" y="3057"/>
                  <a:pt x="11905" y="3040"/>
                </a:cubicBezTo>
                <a:cubicBezTo>
                  <a:pt x="11917" y="3024"/>
                  <a:pt x="11944" y="3026"/>
                  <a:pt x="11958" y="3023"/>
                </a:cubicBezTo>
                <a:cubicBezTo>
                  <a:pt x="11971" y="3020"/>
                  <a:pt x="12014" y="3011"/>
                  <a:pt x="12014" y="3001"/>
                </a:cubicBezTo>
                <a:cubicBezTo>
                  <a:pt x="12015" y="2991"/>
                  <a:pt x="12015" y="2961"/>
                  <a:pt x="12024" y="2959"/>
                </a:cubicBezTo>
                <a:cubicBezTo>
                  <a:pt x="12033" y="2957"/>
                  <a:pt x="12040" y="2991"/>
                  <a:pt x="12049" y="2987"/>
                </a:cubicBezTo>
                <a:cubicBezTo>
                  <a:pt x="12059" y="2984"/>
                  <a:pt x="12079" y="2953"/>
                  <a:pt x="12079" y="2953"/>
                </a:cubicBezTo>
                <a:cubicBezTo>
                  <a:pt x="12090" y="2963"/>
                  <a:pt x="12090" y="2963"/>
                  <a:pt x="12090" y="2963"/>
                </a:cubicBezTo>
                <a:cubicBezTo>
                  <a:pt x="12112" y="2956"/>
                  <a:pt x="12112" y="2956"/>
                  <a:pt x="12112" y="2956"/>
                </a:cubicBezTo>
                <a:cubicBezTo>
                  <a:pt x="12112" y="2956"/>
                  <a:pt x="12137" y="2963"/>
                  <a:pt x="12149" y="2956"/>
                </a:cubicBezTo>
                <a:cubicBezTo>
                  <a:pt x="12162" y="2949"/>
                  <a:pt x="12167" y="2946"/>
                  <a:pt x="12174" y="2941"/>
                </a:cubicBezTo>
                <a:cubicBezTo>
                  <a:pt x="12180" y="2936"/>
                  <a:pt x="12209" y="2911"/>
                  <a:pt x="12214" y="2901"/>
                </a:cubicBezTo>
                <a:cubicBezTo>
                  <a:pt x="12218" y="2891"/>
                  <a:pt x="12205" y="2871"/>
                  <a:pt x="12205" y="2871"/>
                </a:cubicBezTo>
                <a:cubicBezTo>
                  <a:pt x="12218" y="2871"/>
                  <a:pt x="12218" y="2871"/>
                  <a:pt x="12218" y="2871"/>
                </a:cubicBezTo>
                <a:cubicBezTo>
                  <a:pt x="12224" y="2851"/>
                  <a:pt x="12224" y="2851"/>
                  <a:pt x="12224" y="2851"/>
                </a:cubicBezTo>
                <a:cubicBezTo>
                  <a:pt x="12239" y="2852"/>
                  <a:pt x="12239" y="2852"/>
                  <a:pt x="12239" y="2852"/>
                </a:cubicBezTo>
                <a:cubicBezTo>
                  <a:pt x="12246" y="2827"/>
                  <a:pt x="12246" y="2827"/>
                  <a:pt x="12246" y="2827"/>
                </a:cubicBezTo>
                <a:cubicBezTo>
                  <a:pt x="12254" y="2827"/>
                  <a:pt x="12254" y="2827"/>
                  <a:pt x="12254" y="2827"/>
                </a:cubicBezTo>
                <a:cubicBezTo>
                  <a:pt x="12258" y="2800"/>
                  <a:pt x="12258" y="2800"/>
                  <a:pt x="12258" y="2800"/>
                </a:cubicBezTo>
                <a:cubicBezTo>
                  <a:pt x="12258" y="2800"/>
                  <a:pt x="12272" y="2805"/>
                  <a:pt x="12272" y="2783"/>
                </a:cubicBezTo>
                <a:cubicBezTo>
                  <a:pt x="12272" y="2761"/>
                  <a:pt x="12259" y="2764"/>
                  <a:pt x="12264" y="2756"/>
                </a:cubicBezTo>
                <a:cubicBezTo>
                  <a:pt x="12268" y="2747"/>
                  <a:pt x="12287" y="2750"/>
                  <a:pt x="12287" y="2732"/>
                </a:cubicBezTo>
                <a:cubicBezTo>
                  <a:pt x="12288" y="2715"/>
                  <a:pt x="12276" y="2715"/>
                  <a:pt x="12277" y="2708"/>
                </a:cubicBezTo>
                <a:cubicBezTo>
                  <a:pt x="12277" y="2700"/>
                  <a:pt x="12288" y="2697"/>
                  <a:pt x="12288" y="2697"/>
                </a:cubicBezTo>
                <a:cubicBezTo>
                  <a:pt x="12289" y="2671"/>
                  <a:pt x="12289" y="2671"/>
                  <a:pt x="12289" y="2671"/>
                </a:cubicBezTo>
                <a:cubicBezTo>
                  <a:pt x="12289" y="2671"/>
                  <a:pt x="12316" y="2663"/>
                  <a:pt x="12323" y="2647"/>
                </a:cubicBezTo>
                <a:cubicBezTo>
                  <a:pt x="12330" y="2631"/>
                  <a:pt x="12313" y="2630"/>
                  <a:pt x="12313" y="2630"/>
                </a:cubicBezTo>
                <a:cubicBezTo>
                  <a:pt x="12313" y="2630"/>
                  <a:pt x="12345" y="2625"/>
                  <a:pt x="12345" y="2616"/>
                </a:cubicBezTo>
                <a:cubicBezTo>
                  <a:pt x="12346" y="2607"/>
                  <a:pt x="12327" y="2602"/>
                  <a:pt x="12327" y="2602"/>
                </a:cubicBezTo>
                <a:cubicBezTo>
                  <a:pt x="12327" y="2602"/>
                  <a:pt x="12365" y="2568"/>
                  <a:pt x="12348" y="2558"/>
                </a:cubicBezTo>
                <a:cubicBezTo>
                  <a:pt x="12331" y="2549"/>
                  <a:pt x="12251" y="2571"/>
                  <a:pt x="12251" y="2571"/>
                </a:cubicBezTo>
                <a:cubicBezTo>
                  <a:pt x="12241" y="2560"/>
                  <a:pt x="12241" y="2560"/>
                  <a:pt x="12241" y="2560"/>
                </a:cubicBezTo>
                <a:cubicBezTo>
                  <a:pt x="12266" y="2559"/>
                  <a:pt x="12266" y="2559"/>
                  <a:pt x="12266" y="2559"/>
                </a:cubicBezTo>
                <a:cubicBezTo>
                  <a:pt x="12266" y="2559"/>
                  <a:pt x="12266" y="2544"/>
                  <a:pt x="12276" y="2540"/>
                </a:cubicBezTo>
                <a:cubicBezTo>
                  <a:pt x="12286" y="2536"/>
                  <a:pt x="12305" y="2534"/>
                  <a:pt x="12305" y="2534"/>
                </a:cubicBezTo>
                <a:cubicBezTo>
                  <a:pt x="12305" y="2534"/>
                  <a:pt x="12292" y="2510"/>
                  <a:pt x="12288" y="2509"/>
                </a:cubicBezTo>
                <a:cubicBezTo>
                  <a:pt x="12284" y="2508"/>
                  <a:pt x="12261" y="2502"/>
                  <a:pt x="12261" y="2502"/>
                </a:cubicBezTo>
                <a:cubicBezTo>
                  <a:pt x="12253" y="2491"/>
                  <a:pt x="12253" y="2491"/>
                  <a:pt x="12253" y="2491"/>
                </a:cubicBezTo>
                <a:cubicBezTo>
                  <a:pt x="12244" y="2492"/>
                  <a:pt x="12244" y="2492"/>
                  <a:pt x="12244" y="2492"/>
                </a:cubicBezTo>
                <a:cubicBezTo>
                  <a:pt x="12244" y="2492"/>
                  <a:pt x="12235" y="2480"/>
                  <a:pt x="12228" y="2479"/>
                </a:cubicBezTo>
                <a:cubicBezTo>
                  <a:pt x="12221" y="2478"/>
                  <a:pt x="12203" y="2484"/>
                  <a:pt x="12203" y="2484"/>
                </a:cubicBezTo>
                <a:cubicBezTo>
                  <a:pt x="12180" y="2453"/>
                  <a:pt x="12180" y="2453"/>
                  <a:pt x="12180" y="2453"/>
                </a:cubicBezTo>
                <a:cubicBezTo>
                  <a:pt x="12180" y="2453"/>
                  <a:pt x="12201" y="2474"/>
                  <a:pt x="12207" y="2472"/>
                </a:cubicBezTo>
                <a:cubicBezTo>
                  <a:pt x="12213" y="2470"/>
                  <a:pt x="12220" y="2466"/>
                  <a:pt x="12220" y="2466"/>
                </a:cubicBezTo>
                <a:cubicBezTo>
                  <a:pt x="12239" y="2471"/>
                  <a:pt x="12239" y="2471"/>
                  <a:pt x="12239" y="2471"/>
                </a:cubicBezTo>
                <a:cubicBezTo>
                  <a:pt x="12249" y="2482"/>
                  <a:pt x="12249" y="2482"/>
                  <a:pt x="12249" y="2482"/>
                </a:cubicBezTo>
                <a:cubicBezTo>
                  <a:pt x="12258" y="2478"/>
                  <a:pt x="12258" y="2478"/>
                  <a:pt x="12258" y="2478"/>
                </a:cubicBezTo>
                <a:cubicBezTo>
                  <a:pt x="12289" y="2488"/>
                  <a:pt x="12289" y="2488"/>
                  <a:pt x="12289" y="2488"/>
                </a:cubicBezTo>
                <a:cubicBezTo>
                  <a:pt x="12276" y="2471"/>
                  <a:pt x="12276" y="2471"/>
                  <a:pt x="12276" y="2471"/>
                </a:cubicBezTo>
                <a:cubicBezTo>
                  <a:pt x="12265" y="2469"/>
                  <a:pt x="12265" y="2469"/>
                  <a:pt x="12265" y="2469"/>
                </a:cubicBezTo>
                <a:cubicBezTo>
                  <a:pt x="12265" y="2469"/>
                  <a:pt x="12264" y="2447"/>
                  <a:pt x="12256" y="2446"/>
                </a:cubicBezTo>
                <a:cubicBezTo>
                  <a:pt x="12248" y="2445"/>
                  <a:pt x="12236" y="2442"/>
                  <a:pt x="12231" y="2438"/>
                </a:cubicBezTo>
                <a:cubicBezTo>
                  <a:pt x="12226" y="2434"/>
                  <a:pt x="12224" y="2415"/>
                  <a:pt x="12224" y="2415"/>
                </a:cubicBezTo>
                <a:cubicBezTo>
                  <a:pt x="12170" y="2349"/>
                  <a:pt x="12170" y="2349"/>
                  <a:pt x="12170" y="2349"/>
                </a:cubicBezTo>
                <a:cubicBezTo>
                  <a:pt x="12148" y="2343"/>
                  <a:pt x="12148" y="2343"/>
                  <a:pt x="12148" y="2343"/>
                </a:cubicBezTo>
                <a:cubicBezTo>
                  <a:pt x="12125" y="2325"/>
                  <a:pt x="12125" y="2325"/>
                  <a:pt x="12125" y="2325"/>
                </a:cubicBezTo>
                <a:cubicBezTo>
                  <a:pt x="12110" y="2327"/>
                  <a:pt x="12110" y="2327"/>
                  <a:pt x="12110" y="2327"/>
                </a:cubicBezTo>
                <a:cubicBezTo>
                  <a:pt x="12110" y="2327"/>
                  <a:pt x="12097" y="2302"/>
                  <a:pt x="12103" y="2298"/>
                </a:cubicBezTo>
                <a:cubicBezTo>
                  <a:pt x="12109" y="2294"/>
                  <a:pt x="12127" y="2282"/>
                  <a:pt x="12127" y="2273"/>
                </a:cubicBezTo>
                <a:cubicBezTo>
                  <a:pt x="12127" y="2264"/>
                  <a:pt x="12120" y="2246"/>
                  <a:pt x="12120" y="2246"/>
                </a:cubicBezTo>
                <a:cubicBezTo>
                  <a:pt x="12120" y="2246"/>
                  <a:pt x="12137" y="2263"/>
                  <a:pt x="12145" y="2257"/>
                </a:cubicBezTo>
                <a:cubicBezTo>
                  <a:pt x="12153" y="2251"/>
                  <a:pt x="12144" y="2224"/>
                  <a:pt x="12144" y="2224"/>
                </a:cubicBezTo>
                <a:cubicBezTo>
                  <a:pt x="12159" y="2225"/>
                  <a:pt x="12159" y="2225"/>
                  <a:pt x="12159" y="2225"/>
                </a:cubicBezTo>
                <a:cubicBezTo>
                  <a:pt x="12184" y="2206"/>
                  <a:pt x="12184" y="2206"/>
                  <a:pt x="12184" y="2206"/>
                </a:cubicBezTo>
                <a:cubicBezTo>
                  <a:pt x="12184" y="2206"/>
                  <a:pt x="12204" y="2212"/>
                  <a:pt x="12209" y="2211"/>
                </a:cubicBezTo>
                <a:cubicBezTo>
                  <a:pt x="12214" y="2210"/>
                  <a:pt x="12205" y="2196"/>
                  <a:pt x="12205" y="2196"/>
                </a:cubicBezTo>
                <a:cubicBezTo>
                  <a:pt x="12209" y="2180"/>
                  <a:pt x="12209" y="2180"/>
                  <a:pt x="12209" y="2180"/>
                </a:cubicBezTo>
                <a:cubicBezTo>
                  <a:pt x="12187" y="2180"/>
                  <a:pt x="12187" y="2180"/>
                  <a:pt x="12187" y="2180"/>
                </a:cubicBezTo>
                <a:cubicBezTo>
                  <a:pt x="12179" y="2173"/>
                  <a:pt x="12179" y="2173"/>
                  <a:pt x="12179" y="2173"/>
                </a:cubicBezTo>
                <a:cubicBezTo>
                  <a:pt x="12174" y="2181"/>
                  <a:pt x="12174" y="2181"/>
                  <a:pt x="12174" y="2181"/>
                </a:cubicBezTo>
                <a:cubicBezTo>
                  <a:pt x="12153" y="2178"/>
                  <a:pt x="12153" y="2178"/>
                  <a:pt x="12153" y="2178"/>
                </a:cubicBezTo>
                <a:cubicBezTo>
                  <a:pt x="12153" y="2178"/>
                  <a:pt x="12137" y="2160"/>
                  <a:pt x="12124" y="2160"/>
                </a:cubicBezTo>
                <a:cubicBezTo>
                  <a:pt x="12111" y="2160"/>
                  <a:pt x="12093" y="2183"/>
                  <a:pt x="12092" y="2188"/>
                </a:cubicBezTo>
                <a:cubicBezTo>
                  <a:pt x="12091" y="2193"/>
                  <a:pt x="12087" y="2202"/>
                  <a:pt x="12077" y="2200"/>
                </a:cubicBezTo>
                <a:cubicBezTo>
                  <a:pt x="12067" y="2198"/>
                  <a:pt x="12045" y="2192"/>
                  <a:pt x="12043" y="2178"/>
                </a:cubicBezTo>
                <a:cubicBezTo>
                  <a:pt x="12041" y="2164"/>
                  <a:pt x="12033" y="2147"/>
                  <a:pt x="12027" y="2143"/>
                </a:cubicBezTo>
                <a:cubicBezTo>
                  <a:pt x="12021" y="2139"/>
                  <a:pt x="12017" y="2146"/>
                  <a:pt x="12017" y="2146"/>
                </a:cubicBezTo>
                <a:cubicBezTo>
                  <a:pt x="12017" y="2155"/>
                  <a:pt x="12017" y="2155"/>
                  <a:pt x="12017" y="2155"/>
                </a:cubicBezTo>
                <a:cubicBezTo>
                  <a:pt x="12009" y="2143"/>
                  <a:pt x="12009" y="2143"/>
                  <a:pt x="12009" y="2143"/>
                </a:cubicBezTo>
                <a:cubicBezTo>
                  <a:pt x="12009" y="2143"/>
                  <a:pt x="11981" y="2146"/>
                  <a:pt x="11972" y="2137"/>
                </a:cubicBezTo>
                <a:cubicBezTo>
                  <a:pt x="11963" y="2128"/>
                  <a:pt x="11952" y="2109"/>
                  <a:pt x="11955" y="2103"/>
                </a:cubicBezTo>
                <a:cubicBezTo>
                  <a:pt x="11958" y="2097"/>
                  <a:pt x="11957" y="2087"/>
                  <a:pt x="11957" y="2087"/>
                </a:cubicBezTo>
                <a:cubicBezTo>
                  <a:pt x="11968" y="2086"/>
                  <a:pt x="11968" y="2086"/>
                  <a:pt x="11968" y="2086"/>
                </a:cubicBezTo>
                <a:cubicBezTo>
                  <a:pt x="11968" y="2086"/>
                  <a:pt x="11974" y="2095"/>
                  <a:pt x="11978" y="2094"/>
                </a:cubicBezTo>
                <a:cubicBezTo>
                  <a:pt x="11982" y="2093"/>
                  <a:pt x="11988" y="2085"/>
                  <a:pt x="11988" y="2085"/>
                </a:cubicBezTo>
                <a:cubicBezTo>
                  <a:pt x="11988" y="2085"/>
                  <a:pt x="12001" y="2093"/>
                  <a:pt x="12010" y="2085"/>
                </a:cubicBezTo>
                <a:cubicBezTo>
                  <a:pt x="12019" y="2077"/>
                  <a:pt x="12011" y="2069"/>
                  <a:pt x="12011" y="2069"/>
                </a:cubicBezTo>
                <a:cubicBezTo>
                  <a:pt x="12011" y="2069"/>
                  <a:pt x="12010" y="2045"/>
                  <a:pt x="12016" y="2041"/>
                </a:cubicBezTo>
                <a:cubicBezTo>
                  <a:pt x="12022" y="2037"/>
                  <a:pt x="12041" y="2045"/>
                  <a:pt x="12045" y="2034"/>
                </a:cubicBezTo>
                <a:cubicBezTo>
                  <a:pt x="12049" y="2023"/>
                  <a:pt x="12050" y="2010"/>
                  <a:pt x="12050" y="2010"/>
                </a:cubicBezTo>
                <a:cubicBezTo>
                  <a:pt x="12062" y="2003"/>
                  <a:pt x="12062" y="2003"/>
                  <a:pt x="12062" y="2003"/>
                </a:cubicBezTo>
                <a:cubicBezTo>
                  <a:pt x="12056" y="1995"/>
                  <a:pt x="12056" y="1995"/>
                  <a:pt x="12056" y="1995"/>
                </a:cubicBezTo>
                <a:cubicBezTo>
                  <a:pt x="12081" y="2002"/>
                  <a:pt x="12081" y="2002"/>
                  <a:pt x="12081" y="2002"/>
                </a:cubicBezTo>
                <a:cubicBezTo>
                  <a:pt x="12092" y="1992"/>
                  <a:pt x="12092" y="1992"/>
                  <a:pt x="12092" y="1992"/>
                </a:cubicBezTo>
                <a:cubicBezTo>
                  <a:pt x="12092" y="1992"/>
                  <a:pt x="12123" y="2015"/>
                  <a:pt x="12121" y="2029"/>
                </a:cubicBezTo>
                <a:cubicBezTo>
                  <a:pt x="12119" y="2043"/>
                  <a:pt x="12101" y="2046"/>
                  <a:pt x="12100" y="2055"/>
                </a:cubicBezTo>
                <a:cubicBezTo>
                  <a:pt x="12099" y="2064"/>
                  <a:pt x="12104" y="2079"/>
                  <a:pt x="12111" y="2079"/>
                </a:cubicBezTo>
                <a:cubicBezTo>
                  <a:pt x="12118" y="2079"/>
                  <a:pt x="12127" y="2076"/>
                  <a:pt x="12127" y="2076"/>
                </a:cubicBezTo>
                <a:cubicBezTo>
                  <a:pt x="12122" y="2094"/>
                  <a:pt x="12122" y="2094"/>
                  <a:pt x="12122" y="2094"/>
                </a:cubicBezTo>
                <a:cubicBezTo>
                  <a:pt x="12122" y="2094"/>
                  <a:pt x="12103" y="2111"/>
                  <a:pt x="12112" y="2113"/>
                </a:cubicBezTo>
                <a:cubicBezTo>
                  <a:pt x="12121" y="2115"/>
                  <a:pt x="12135" y="2101"/>
                  <a:pt x="12135" y="2101"/>
                </a:cubicBezTo>
                <a:cubicBezTo>
                  <a:pt x="12135" y="2101"/>
                  <a:pt x="12139" y="2102"/>
                  <a:pt x="12144" y="2097"/>
                </a:cubicBezTo>
                <a:cubicBezTo>
                  <a:pt x="12149" y="2092"/>
                  <a:pt x="12148" y="2077"/>
                  <a:pt x="12148" y="2077"/>
                </a:cubicBezTo>
                <a:cubicBezTo>
                  <a:pt x="12148" y="2077"/>
                  <a:pt x="12189" y="2056"/>
                  <a:pt x="12193" y="2053"/>
                </a:cubicBezTo>
                <a:cubicBezTo>
                  <a:pt x="12197" y="2050"/>
                  <a:pt x="12218" y="2052"/>
                  <a:pt x="12218" y="2052"/>
                </a:cubicBezTo>
                <a:cubicBezTo>
                  <a:pt x="12226" y="2039"/>
                  <a:pt x="12226" y="2039"/>
                  <a:pt x="12226" y="2039"/>
                </a:cubicBezTo>
                <a:cubicBezTo>
                  <a:pt x="12232" y="2053"/>
                  <a:pt x="12232" y="2053"/>
                  <a:pt x="12232" y="2053"/>
                </a:cubicBezTo>
                <a:cubicBezTo>
                  <a:pt x="12244" y="2067"/>
                  <a:pt x="12244" y="2067"/>
                  <a:pt x="12244" y="2067"/>
                </a:cubicBezTo>
                <a:cubicBezTo>
                  <a:pt x="12251" y="2055"/>
                  <a:pt x="12251" y="2055"/>
                  <a:pt x="12251" y="2055"/>
                </a:cubicBezTo>
                <a:cubicBezTo>
                  <a:pt x="12251" y="2055"/>
                  <a:pt x="12260" y="2068"/>
                  <a:pt x="12265" y="2068"/>
                </a:cubicBezTo>
                <a:cubicBezTo>
                  <a:pt x="12270" y="2068"/>
                  <a:pt x="12278" y="2062"/>
                  <a:pt x="12282" y="2069"/>
                </a:cubicBezTo>
                <a:cubicBezTo>
                  <a:pt x="12286" y="2076"/>
                  <a:pt x="12286" y="2110"/>
                  <a:pt x="12286" y="2110"/>
                </a:cubicBezTo>
                <a:cubicBezTo>
                  <a:pt x="12311" y="2110"/>
                  <a:pt x="12311" y="2110"/>
                  <a:pt x="12311" y="2110"/>
                </a:cubicBezTo>
                <a:cubicBezTo>
                  <a:pt x="12314" y="2120"/>
                  <a:pt x="12314" y="2120"/>
                  <a:pt x="12314" y="2120"/>
                </a:cubicBezTo>
                <a:cubicBezTo>
                  <a:pt x="12314" y="2120"/>
                  <a:pt x="12291" y="2108"/>
                  <a:pt x="12287" y="2121"/>
                </a:cubicBezTo>
                <a:cubicBezTo>
                  <a:pt x="12283" y="2134"/>
                  <a:pt x="12298" y="2150"/>
                  <a:pt x="12298" y="2150"/>
                </a:cubicBezTo>
                <a:cubicBezTo>
                  <a:pt x="12305" y="2161"/>
                  <a:pt x="12305" y="2161"/>
                  <a:pt x="12305" y="2161"/>
                </a:cubicBezTo>
                <a:cubicBezTo>
                  <a:pt x="12324" y="2153"/>
                  <a:pt x="12324" y="2153"/>
                  <a:pt x="12324" y="2153"/>
                </a:cubicBezTo>
                <a:cubicBezTo>
                  <a:pt x="12324" y="2153"/>
                  <a:pt x="12344" y="2167"/>
                  <a:pt x="12353" y="2166"/>
                </a:cubicBezTo>
                <a:cubicBezTo>
                  <a:pt x="12362" y="2165"/>
                  <a:pt x="12371" y="2162"/>
                  <a:pt x="12371" y="2162"/>
                </a:cubicBezTo>
                <a:cubicBezTo>
                  <a:pt x="12371" y="2162"/>
                  <a:pt x="12372" y="2173"/>
                  <a:pt x="12379" y="2179"/>
                </a:cubicBezTo>
                <a:cubicBezTo>
                  <a:pt x="12386" y="2185"/>
                  <a:pt x="12401" y="2187"/>
                  <a:pt x="12401" y="2187"/>
                </a:cubicBezTo>
                <a:cubicBezTo>
                  <a:pt x="12412" y="2212"/>
                  <a:pt x="12412" y="2212"/>
                  <a:pt x="12412" y="2212"/>
                </a:cubicBezTo>
                <a:cubicBezTo>
                  <a:pt x="12412" y="2212"/>
                  <a:pt x="12378" y="2198"/>
                  <a:pt x="12377" y="2205"/>
                </a:cubicBezTo>
                <a:cubicBezTo>
                  <a:pt x="12376" y="2212"/>
                  <a:pt x="12398" y="2225"/>
                  <a:pt x="12398" y="2225"/>
                </a:cubicBezTo>
                <a:cubicBezTo>
                  <a:pt x="12408" y="2253"/>
                  <a:pt x="12408" y="2253"/>
                  <a:pt x="12408" y="2253"/>
                </a:cubicBezTo>
                <a:cubicBezTo>
                  <a:pt x="12431" y="2257"/>
                  <a:pt x="12431" y="2257"/>
                  <a:pt x="12431" y="2257"/>
                </a:cubicBezTo>
                <a:cubicBezTo>
                  <a:pt x="12431" y="2276"/>
                  <a:pt x="12431" y="2276"/>
                  <a:pt x="12431" y="2276"/>
                </a:cubicBezTo>
                <a:cubicBezTo>
                  <a:pt x="12431" y="2276"/>
                  <a:pt x="12420" y="2284"/>
                  <a:pt x="12425" y="2303"/>
                </a:cubicBezTo>
                <a:cubicBezTo>
                  <a:pt x="12430" y="2322"/>
                  <a:pt x="12445" y="2322"/>
                  <a:pt x="12445" y="2322"/>
                </a:cubicBezTo>
                <a:cubicBezTo>
                  <a:pt x="12445" y="2322"/>
                  <a:pt x="12432" y="2348"/>
                  <a:pt x="12451" y="2345"/>
                </a:cubicBezTo>
                <a:cubicBezTo>
                  <a:pt x="12470" y="2342"/>
                  <a:pt x="12471" y="2326"/>
                  <a:pt x="12471" y="2326"/>
                </a:cubicBezTo>
                <a:cubicBezTo>
                  <a:pt x="12504" y="2311"/>
                  <a:pt x="12504" y="2311"/>
                  <a:pt x="12504" y="2311"/>
                </a:cubicBezTo>
                <a:cubicBezTo>
                  <a:pt x="12521" y="2316"/>
                  <a:pt x="12521" y="2316"/>
                  <a:pt x="12521" y="2316"/>
                </a:cubicBezTo>
                <a:cubicBezTo>
                  <a:pt x="12526" y="2304"/>
                  <a:pt x="12526" y="2304"/>
                  <a:pt x="12526" y="2304"/>
                </a:cubicBezTo>
                <a:cubicBezTo>
                  <a:pt x="12526" y="2304"/>
                  <a:pt x="12562" y="2307"/>
                  <a:pt x="12556" y="2288"/>
                </a:cubicBezTo>
                <a:cubicBezTo>
                  <a:pt x="12550" y="2269"/>
                  <a:pt x="12537" y="2255"/>
                  <a:pt x="12537" y="2255"/>
                </a:cubicBezTo>
                <a:cubicBezTo>
                  <a:pt x="12537" y="2255"/>
                  <a:pt x="12542" y="2238"/>
                  <a:pt x="12533" y="2224"/>
                </a:cubicBezTo>
                <a:cubicBezTo>
                  <a:pt x="12524" y="2210"/>
                  <a:pt x="12482" y="2173"/>
                  <a:pt x="12482" y="2173"/>
                </a:cubicBezTo>
                <a:cubicBezTo>
                  <a:pt x="12469" y="2168"/>
                  <a:pt x="12469" y="2168"/>
                  <a:pt x="12469" y="2168"/>
                </a:cubicBezTo>
                <a:cubicBezTo>
                  <a:pt x="12469" y="2168"/>
                  <a:pt x="12465" y="2157"/>
                  <a:pt x="12453" y="2144"/>
                </a:cubicBezTo>
                <a:cubicBezTo>
                  <a:pt x="12447" y="2137"/>
                  <a:pt x="12440" y="2129"/>
                  <a:pt x="12435" y="2123"/>
                </a:cubicBezTo>
                <a:cubicBezTo>
                  <a:pt x="12430" y="2116"/>
                  <a:pt x="12426" y="2111"/>
                  <a:pt x="12426" y="2111"/>
                </a:cubicBezTo>
                <a:cubicBezTo>
                  <a:pt x="12395" y="2094"/>
                  <a:pt x="12395" y="2094"/>
                  <a:pt x="12395" y="2094"/>
                </a:cubicBezTo>
                <a:cubicBezTo>
                  <a:pt x="12395" y="2094"/>
                  <a:pt x="12373" y="2102"/>
                  <a:pt x="12380" y="2089"/>
                </a:cubicBezTo>
                <a:cubicBezTo>
                  <a:pt x="12387" y="2076"/>
                  <a:pt x="12387" y="2076"/>
                  <a:pt x="12387" y="2076"/>
                </a:cubicBezTo>
                <a:cubicBezTo>
                  <a:pt x="12387" y="2076"/>
                  <a:pt x="12362" y="2065"/>
                  <a:pt x="12372" y="2054"/>
                </a:cubicBezTo>
                <a:cubicBezTo>
                  <a:pt x="12382" y="2043"/>
                  <a:pt x="12403" y="2047"/>
                  <a:pt x="12408" y="2033"/>
                </a:cubicBezTo>
                <a:cubicBezTo>
                  <a:pt x="12413" y="2019"/>
                  <a:pt x="12418" y="2004"/>
                  <a:pt x="12418" y="2004"/>
                </a:cubicBezTo>
                <a:cubicBezTo>
                  <a:pt x="12434" y="1996"/>
                  <a:pt x="12434" y="1996"/>
                  <a:pt x="12434" y="1996"/>
                </a:cubicBezTo>
                <a:cubicBezTo>
                  <a:pt x="12429" y="1975"/>
                  <a:pt x="12429" y="1975"/>
                  <a:pt x="12429" y="1975"/>
                </a:cubicBezTo>
                <a:cubicBezTo>
                  <a:pt x="12429" y="1975"/>
                  <a:pt x="12413" y="1964"/>
                  <a:pt x="12414" y="1947"/>
                </a:cubicBezTo>
                <a:cubicBezTo>
                  <a:pt x="12415" y="1930"/>
                  <a:pt x="12438" y="1925"/>
                  <a:pt x="12438" y="1925"/>
                </a:cubicBezTo>
                <a:cubicBezTo>
                  <a:pt x="12429" y="1910"/>
                  <a:pt x="12429" y="1910"/>
                  <a:pt x="12429" y="1910"/>
                </a:cubicBezTo>
                <a:cubicBezTo>
                  <a:pt x="12452" y="1911"/>
                  <a:pt x="12452" y="1911"/>
                  <a:pt x="12452" y="1911"/>
                </a:cubicBezTo>
                <a:cubicBezTo>
                  <a:pt x="12452" y="1911"/>
                  <a:pt x="12446" y="1870"/>
                  <a:pt x="12455" y="1866"/>
                </a:cubicBezTo>
                <a:cubicBezTo>
                  <a:pt x="12464" y="1862"/>
                  <a:pt x="12471" y="1875"/>
                  <a:pt x="12471" y="1875"/>
                </a:cubicBezTo>
                <a:cubicBezTo>
                  <a:pt x="12480" y="1867"/>
                  <a:pt x="12480" y="1867"/>
                  <a:pt x="12480" y="1867"/>
                </a:cubicBezTo>
                <a:cubicBezTo>
                  <a:pt x="12480" y="1867"/>
                  <a:pt x="12496" y="1899"/>
                  <a:pt x="12504" y="1897"/>
                </a:cubicBezTo>
                <a:cubicBezTo>
                  <a:pt x="12512" y="1895"/>
                  <a:pt x="12531" y="1889"/>
                  <a:pt x="12531" y="1889"/>
                </a:cubicBezTo>
                <a:cubicBezTo>
                  <a:pt x="12531" y="1901"/>
                  <a:pt x="12531" y="1901"/>
                  <a:pt x="12531" y="1901"/>
                </a:cubicBezTo>
                <a:cubicBezTo>
                  <a:pt x="12531" y="1901"/>
                  <a:pt x="12586" y="1881"/>
                  <a:pt x="12588" y="1861"/>
                </a:cubicBezTo>
                <a:cubicBezTo>
                  <a:pt x="12590" y="1841"/>
                  <a:pt x="12593" y="1813"/>
                  <a:pt x="12593" y="1813"/>
                </a:cubicBezTo>
                <a:cubicBezTo>
                  <a:pt x="12607" y="1806"/>
                  <a:pt x="12607" y="1806"/>
                  <a:pt x="12607" y="1806"/>
                </a:cubicBezTo>
                <a:cubicBezTo>
                  <a:pt x="12607" y="1806"/>
                  <a:pt x="12605" y="1763"/>
                  <a:pt x="12614" y="1756"/>
                </a:cubicBezTo>
                <a:cubicBezTo>
                  <a:pt x="12623" y="1749"/>
                  <a:pt x="12625" y="1725"/>
                  <a:pt x="12627" y="1709"/>
                </a:cubicBezTo>
                <a:cubicBezTo>
                  <a:pt x="12629" y="1693"/>
                  <a:pt x="12618" y="1666"/>
                  <a:pt x="12618" y="1666"/>
                </a:cubicBezTo>
                <a:cubicBezTo>
                  <a:pt x="12618" y="1666"/>
                  <a:pt x="12632" y="1644"/>
                  <a:pt x="12632" y="1639"/>
                </a:cubicBezTo>
                <a:cubicBezTo>
                  <a:pt x="12632" y="1634"/>
                  <a:pt x="12624" y="1624"/>
                  <a:pt x="12624" y="1624"/>
                </a:cubicBezTo>
                <a:cubicBezTo>
                  <a:pt x="12624" y="1624"/>
                  <a:pt x="12641" y="1600"/>
                  <a:pt x="12637" y="1591"/>
                </a:cubicBezTo>
                <a:cubicBezTo>
                  <a:pt x="12633" y="1582"/>
                  <a:pt x="12621" y="1555"/>
                  <a:pt x="12621" y="1555"/>
                </a:cubicBezTo>
                <a:cubicBezTo>
                  <a:pt x="12621" y="1555"/>
                  <a:pt x="12613" y="1527"/>
                  <a:pt x="12606" y="1524"/>
                </a:cubicBezTo>
                <a:cubicBezTo>
                  <a:pt x="12599" y="1521"/>
                  <a:pt x="12594" y="1517"/>
                  <a:pt x="12594" y="1517"/>
                </a:cubicBezTo>
                <a:cubicBezTo>
                  <a:pt x="12598" y="1510"/>
                  <a:pt x="12598" y="1510"/>
                  <a:pt x="12598" y="1510"/>
                </a:cubicBezTo>
                <a:cubicBezTo>
                  <a:pt x="12598" y="1510"/>
                  <a:pt x="12579" y="1502"/>
                  <a:pt x="12573" y="1487"/>
                </a:cubicBezTo>
                <a:cubicBezTo>
                  <a:pt x="12567" y="1472"/>
                  <a:pt x="12565" y="1460"/>
                  <a:pt x="12565" y="1460"/>
                </a:cubicBezTo>
                <a:cubicBezTo>
                  <a:pt x="12556" y="1454"/>
                  <a:pt x="12556" y="1454"/>
                  <a:pt x="12556" y="1454"/>
                </a:cubicBezTo>
                <a:cubicBezTo>
                  <a:pt x="12556" y="1454"/>
                  <a:pt x="12563" y="1424"/>
                  <a:pt x="12556" y="1415"/>
                </a:cubicBezTo>
                <a:cubicBezTo>
                  <a:pt x="12549" y="1406"/>
                  <a:pt x="12544" y="1399"/>
                  <a:pt x="12544" y="1399"/>
                </a:cubicBezTo>
                <a:cubicBezTo>
                  <a:pt x="12532" y="1395"/>
                  <a:pt x="12532" y="1395"/>
                  <a:pt x="12532" y="1395"/>
                </a:cubicBezTo>
                <a:cubicBezTo>
                  <a:pt x="12532" y="1395"/>
                  <a:pt x="12528" y="1381"/>
                  <a:pt x="12521" y="1376"/>
                </a:cubicBezTo>
                <a:cubicBezTo>
                  <a:pt x="12514" y="1371"/>
                  <a:pt x="12497" y="1363"/>
                  <a:pt x="12497" y="1363"/>
                </a:cubicBezTo>
                <a:cubicBezTo>
                  <a:pt x="12483" y="1359"/>
                  <a:pt x="12483" y="1359"/>
                  <a:pt x="12483" y="1359"/>
                </a:cubicBezTo>
                <a:cubicBezTo>
                  <a:pt x="12480" y="1350"/>
                  <a:pt x="12480" y="1350"/>
                  <a:pt x="12480" y="1350"/>
                </a:cubicBezTo>
                <a:cubicBezTo>
                  <a:pt x="12480" y="1350"/>
                  <a:pt x="12508" y="1363"/>
                  <a:pt x="12511" y="1357"/>
                </a:cubicBezTo>
                <a:cubicBezTo>
                  <a:pt x="12514" y="1351"/>
                  <a:pt x="12493" y="1345"/>
                  <a:pt x="12493" y="1345"/>
                </a:cubicBezTo>
                <a:cubicBezTo>
                  <a:pt x="12438" y="1319"/>
                  <a:pt x="12438" y="1319"/>
                  <a:pt x="12438" y="1319"/>
                </a:cubicBezTo>
                <a:cubicBezTo>
                  <a:pt x="12438" y="1319"/>
                  <a:pt x="12410" y="1302"/>
                  <a:pt x="12402" y="1297"/>
                </a:cubicBezTo>
                <a:cubicBezTo>
                  <a:pt x="12394" y="1292"/>
                  <a:pt x="12380" y="1302"/>
                  <a:pt x="12380" y="1302"/>
                </a:cubicBezTo>
                <a:cubicBezTo>
                  <a:pt x="12354" y="1295"/>
                  <a:pt x="12354" y="1295"/>
                  <a:pt x="12354" y="1295"/>
                </a:cubicBezTo>
                <a:cubicBezTo>
                  <a:pt x="12379" y="1323"/>
                  <a:pt x="12379" y="1323"/>
                  <a:pt x="12379" y="1323"/>
                </a:cubicBezTo>
                <a:cubicBezTo>
                  <a:pt x="12375" y="1340"/>
                  <a:pt x="12375" y="1340"/>
                  <a:pt x="12375" y="1340"/>
                </a:cubicBezTo>
                <a:cubicBezTo>
                  <a:pt x="12367" y="1338"/>
                  <a:pt x="12367" y="1338"/>
                  <a:pt x="12367" y="1338"/>
                </a:cubicBezTo>
                <a:cubicBezTo>
                  <a:pt x="12366" y="1318"/>
                  <a:pt x="12366" y="1318"/>
                  <a:pt x="12366" y="1318"/>
                </a:cubicBezTo>
                <a:cubicBezTo>
                  <a:pt x="12356" y="1311"/>
                  <a:pt x="12356" y="1311"/>
                  <a:pt x="12356" y="1311"/>
                </a:cubicBezTo>
                <a:cubicBezTo>
                  <a:pt x="12354" y="1330"/>
                  <a:pt x="12354" y="1330"/>
                  <a:pt x="12354" y="1330"/>
                </a:cubicBezTo>
                <a:cubicBezTo>
                  <a:pt x="12325" y="1332"/>
                  <a:pt x="12325" y="1332"/>
                  <a:pt x="12325" y="1332"/>
                </a:cubicBezTo>
                <a:cubicBezTo>
                  <a:pt x="12325" y="1332"/>
                  <a:pt x="12332" y="1322"/>
                  <a:pt x="12327" y="1316"/>
                </a:cubicBezTo>
                <a:cubicBezTo>
                  <a:pt x="12322" y="1310"/>
                  <a:pt x="12309" y="1312"/>
                  <a:pt x="12309" y="1312"/>
                </a:cubicBezTo>
                <a:cubicBezTo>
                  <a:pt x="12304" y="1319"/>
                  <a:pt x="12304" y="1319"/>
                  <a:pt x="12304" y="1319"/>
                </a:cubicBezTo>
                <a:cubicBezTo>
                  <a:pt x="12289" y="1320"/>
                  <a:pt x="12289" y="1320"/>
                  <a:pt x="12289" y="1320"/>
                </a:cubicBezTo>
                <a:cubicBezTo>
                  <a:pt x="12280" y="1295"/>
                  <a:pt x="12280" y="1295"/>
                  <a:pt x="12280" y="1295"/>
                </a:cubicBezTo>
                <a:cubicBezTo>
                  <a:pt x="12276" y="1294"/>
                  <a:pt x="12276" y="1294"/>
                  <a:pt x="12276" y="1294"/>
                </a:cubicBezTo>
                <a:cubicBezTo>
                  <a:pt x="12268" y="1281"/>
                  <a:pt x="12268" y="1281"/>
                  <a:pt x="12268" y="1281"/>
                </a:cubicBezTo>
                <a:cubicBezTo>
                  <a:pt x="12220" y="1283"/>
                  <a:pt x="12220" y="1283"/>
                  <a:pt x="12220" y="1283"/>
                </a:cubicBezTo>
                <a:cubicBezTo>
                  <a:pt x="12214" y="1277"/>
                  <a:pt x="12214" y="1277"/>
                  <a:pt x="12214" y="1277"/>
                </a:cubicBezTo>
                <a:cubicBezTo>
                  <a:pt x="12214" y="1277"/>
                  <a:pt x="12188" y="1281"/>
                  <a:pt x="12188" y="1264"/>
                </a:cubicBezTo>
                <a:cubicBezTo>
                  <a:pt x="12188" y="1247"/>
                  <a:pt x="12210" y="1245"/>
                  <a:pt x="12210" y="1245"/>
                </a:cubicBezTo>
                <a:cubicBezTo>
                  <a:pt x="12210" y="1229"/>
                  <a:pt x="12210" y="1229"/>
                  <a:pt x="12210" y="1229"/>
                </a:cubicBezTo>
                <a:cubicBezTo>
                  <a:pt x="12210" y="1229"/>
                  <a:pt x="12229" y="1228"/>
                  <a:pt x="12230" y="1217"/>
                </a:cubicBezTo>
                <a:cubicBezTo>
                  <a:pt x="12231" y="1206"/>
                  <a:pt x="12241" y="1191"/>
                  <a:pt x="12241" y="1191"/>
                </a:cubicBezTo>
                <a:cubicBezTo>
                  <a:pt x="12231" y="1182"/>
                  <a:pt x="12231" y="1182"/>
                  <a:pt x="12231" y="1182"/>
                </a:cubicBezTo>
                <a:cubicBezTo>
                  <a:pt x="12238" y="1169"/>
                  <a:pt x="12238" y="1169"/>
                  <a:pt x="12238" y="1169"/>
                </a:cubicBezTo>
                <a:cubicBezTo>
                  <a:pt x="12231" y="1159"/>
                  <a:pt x="12231" y="1159"/>
                  <a:pt x="12231" y="1159"/>
                </a:cubicBezTo>
                <a:cubicBezTo>
                  <a:pt x="12245" y="1148"/>
                  <a:pt x="12245" y="1148"/>
                  <a:pt x="12245" y="1148"/>
                </a:cubicBezTo>
                <a:cubicBezTo>
                  <a:pt x="12259" y="1145"/>
                  <a:pt x="12259" y="1145"/>
                  <a:pt x="12259" y="1145"/>
                </a:cubicBezTo>
                <a:cubicBezTo>
                  <a:pt x="12253" y="1123"/>
                  <a:pt x="12253" y="1123"/>
                  <a:pt x="12253" y="1123"/>
                </a:cubicBezTo>
                <a:cubicBezTo>
                  <a:pt x="12268" y="1118"/>
                  <a:pt x="12268" y="1118"/>
                  <a:pt x="12268" y="1118"/>
                </a:cubicBezTo>
                <a:cubicBezTo>
                  <a:pt x="12250" y="1095"/>
                  <a:pt x="12250" y="1095"/>
                  <a:pt x="12250" y="1095"/>
                </a:cubicBezTo>
                <a:cubicBezTo>
                  <a:pt x="12272" y="1086"/>
                  <a:pt x="12272" y="1086"/>
                  <a:pt x="12272" y="1086"/>
                </a:cubicBezTo>
                <a:cubicBezTo>
                  <a:pt x="12272" y="1086"/>
                  <a:pt x="12265" y="1056"/>
                  <a:pt x="12281" y="1046"/>
                </a:cubicBezTo>
                <a:cubicBezTo>
                  <a:pt x="12297" y="1036"/>
                  <a:pt x="12303" y="1035"/>
                  <a:pt x="12303" y="1035"/>
                </a:cubicBezTo>
                <a:cubicBezTo>
                  <a:pt x="12303" y="1035"/>
                  <a:pt x="12328" y="1039"/>
                  <a:pt x="12340" y="1038"/>
                </a:cubicBezTo>
                <a:cubicBezTo>
                  <a:pt x="12352" y="1037"/>
                  <a:pt x="12404" y="1041"/>
                  <a:pt x="12404" y="1041"/>
                </a:cubicBezTo>
                <a:cubicBezTo>
                  <a:pt x="12415" y="1052"/>
                  <a:pt x="12415" y="1052"/>
                  <a:pt x="12415" y="1052"/>
                </a:cubicBezTo>
                <a:cubicBezTo>
                  <a:pt x="12428" y="1047"/>
                  <a:pt x="12428" y="1047"/>
                  <a:pt x="12428" y="1047"/>
                </a:cubicBezTo>
                <a:cubicBezTo>
                  <a:pt x="12423" y="1035"/>
                  <a:pt x="12423" y="1035"/>
                  <a:pt x="12423" y="1035"/>
                </a:cubicBezTo>
                <a:cubicBezTo>
                  <a:pt x="12473" y="1048"/>
                  <a:pt x="12473" y="1048"/>
                  <a:pt x="12473" y="1048"/>
                </a:cubicBezTo>
                <a:cubicBezTo>
                  <a:pt x="12493" y="1036"/>
                  <a:pt x="12493" y="1036"/>
                  <a:pt x="12493" y="1036"/>
                </a:cubicBezTo>
                <a:cubicBezTo>
                  <a:pt x="12512" y="1051"/>
                  <a:pt x="12512" y="1051"/>
                  <a:pt x="12512" y="1051"/>
                </a:cubicBezTo>
                <a:cubicBezTo>
                  <a:pt x="12517" y="1027"/>
                  <a:pt x="12517" y="1027"/>
                  <a:pt x="12517" y="1027"/>
                </a:cubicBezTo>
                <a:cubicBezTo>
                  <a:pt x="12517" y="1027"/>
                  <a:pt x="12540" y="1025"/>
                  <a:pt x="12556" y="1026"/>
                </a:cubicBezTo>
                <a:cubicBezTo>
                  <a:pt x="12572" y="1027"/>
                  <a:pt x="12578" y="1041"/>
                  <a:pt x="12584" y="1039"/>
                </a:cubicBezTo>
                <a:cubicBezTo>
                  <a:pt x="12590" y="1037"/>
                  <a:pt x="12608" y="1026"/>
                  <a:pt x="12608" y="1026"/>
                </a:cubicBezTo>
                <a:cubicBezTo>
                  <a:pt x="12624" y="1040"/>
                  <a:pt x="12624" y="1040"/>
                  <a:pt x="12624" y="1040"/>
                </a:cubicBezTo>
                <a:cubicBezTo>
                  <a:pt x="12652" y="1045"/>
                  <a:pt x="12652" y="1045"/>
                  <a:pt x="12652" y="1045"/>
                </a:cubicBezTo>
                <a:cubicBezTo>
                  <a:pt x="12616" y="1052"/>
                  <a:pt x="12616" y="1052"/>
                  <a:pt x="12616" y="1052"/>
                </a:cubicBezTo>
                <a:cubicBezTo>
                  <a:pt x="12616" y="1052"/>
                  <a:pt x="12627" y="1073"/>
                  <a:pt x="12638" y="1068"/>
                </a:cubicBezTo>
                <a:cubicBezTo>
                  <a:pt x="12649" y="1063"/>
                  <a:pt x="12669" y="1055"/>
                  <a:pt x="12669" y="1055"/>
                </a:cubicBezTo>
                <a:cubicBezTo>
                  <a:pt x="12687" y="1064"/>
                  <a:pt x="12687" y="1064"/>
                  <a:pt x="12687" y="1064"/>
                </a:cubicBezTo>
                <a:cubicBezTo>
                  <a:pt x="12702" y="1052"/>
                  <a:pt x="12702" y="1052"/>
                  <a:pt x="12702" y="1052"/>
                </a:cubicBezTo>
                <a:cubicBezTo>
                  <a:pt x="12702" y="1052"/>
                  <a:pt x="12729" y="1061"/>
                  <a:pt x="12737" y="1057"/>
                </a:cubicBezTo>
                <a:cubicBezTo>
                  <a:pt x="12745" y="1053"/>
                  <a:pt x="12739" y="1045"/>
                  <a:pt x="12739" y="1045"/>
                </a:cubicBezTo>
                <a:cubicBezTo>
                  <a:pt x="12763" y="1047"/>
                  <a:pt x="12763" y="1047"/>
                  <a:pt x="12763" y="1047"/>
                </a:cubicBezTo>
                <a:cubicBezTo>
                  <a:pt x="12730" y="1029"/>
                  <a:pt x="12730" y="1029"/>
                  <a:pt x="12730" y="1029"/>
                </a:cubicBezTo>
                <a:cubicBezTo>
                  <a:pt x="12712" y="1036"/>
                  <a:pt x="12712" y="1036"/>
                  <a:pt x="12712" y="1036"/>
                </a:cubicBezTo>
                <a:cubicBezTo>
                  <a:pt x="12707" y="1024"/>
                  <a:pt x="12707" y="1024"/>
                  <a:pt x="12707" y="1024"/>
                </a:cubicBezTo>
                <a:cubicBezTo>
                  <a:pt x="12707" y="1024"/>
                  <a:pt x="12692" y="1001"/>
                  <a:pt x="12694" y="996"/>
                </a:cubicBezTo>
                <a:cubicBezTo>
                  <a:pt x="12696" y="991"/>
                  <a:pt x="12713" y="977"/>
                  <a:pt x="12713" y="977"/>
                </a:cubicBezTo>
                <a:cubicBezTo>
                  <a:pt x="12709" y="957"/>
                  <a:pt x="12709" y="957"/>
                  <a:pt x="12709" y="957"/>
                </a:cubicBezTo>
                <a:cubicBezTo>
                  <a:pt x="12718" y="949"/>
                  <a:pt x="12718" y="949"/>
                  <a:pt x="12718" y="949"/>
                </a:cubicBezTo>
                <a:cubicBezTo>
                  <a:pt x="12718" y="949"/>
                  <a:pt x="12692" y="936"/>
                  <a:pt x="12709" y="925"/>
                </a:cubicBezTo>
                <a:cubicBezTo>
                  <a:pt x="12726" y="914"/>
                  <a:pt x="12762" y="925"/>
                  <a:pt x="12762" y="925"/>
                </a:cubicBezTo>
                <a:cubicBezTo>
                  <a:pt x="12776" y="911"/>
                  <a:pt x="12776" y="911"/>
                  <a:pt x="12776" y="911"/>
                </a:cubicBezTo>
                <a:cubicBezTo>
                  <a:pt x="12798" y="930"/>
                  <a:pt x="12798" y="930"/>
                  <a:pt x="12798" y="930"/>
                </a:cubicBezTo>
                <a:cubicBezTo>
                  <a:pt x="12817" y="919"/>
                  <a:pt x="12817" y="919"/>
                  <a:pt x="12817" y="919"/>
                </a:cubicBezTo>
                <a:cubicBezTo>
                  <a:pt x="12817" y="919"/>
                  <a:pt x="12830" y="952"/>
                  <a:pt x="12837" y="955"/>
                </a:cubicBezTo>
                <a:cubicBezTo>
                  <a:pt x="12844" y="958"/>
                  <a:pt x="12865" y="954"/>
                  <a:pt x="12865" y="954"/>
                </a:cubicBezTo>
                <a:cubicBezTo>
                  <a:pt x="12865" y="954"/>
                  <a:pt x="12865" y="985"/>
                  <a:pt x="12876" y="981"/>
                </a:cubicBezTo>
                <a:cubicBezTo>
                  <a:pt x="12887" y="977"/>
                  <a:pt x="12902" y="937"/>
                  <a:pt x="12902" y="937"/>
                </a:cubicBezTo>
                <a:cubicBezTo>
                  <a:pt x="12918" y="928"/>
                  <a:pt x="12918" y="928"/>
                  <a:pt x="12918" y="928"/>
                </a:cubicBezTo>
                <a:cubicBezTo>
                  <a:pt x="12938" y="935"/>
                  <a:pt x="12938" y="935"/>
                  <a:pt x="12938" y="935"/>
                </a:cubicBezTo>
                <a:cubicBezTo>
                  <a:pt x="12937" y="926"/>
                  <a:pt x="12937" y="926"/>
                  <a:pt x="12937" y="926"/>
                </a:cubicBezTo>
                <a:cubicBezTo>
                  <a:pt x="12918" y="916"/>
                  <a:pt x="12918" y="916"/>
                  <a:pt x="12918" y="916"/>
                </a:cubicBezTo>
                <a:cubicBezTo>
                  <a:pt x="12918" y="916"/>
                  <a:pt x="12871" y="882"/>
                  <a:pt x="12882" y="881"/>
                </a:cubicBezTo>
                <a:cubicBezTo>
                  <a:pt x="12893" y="880"/>
                  <a:pt x="12947" y="882"/>
                  <a:pt x="12947" y="882"/>
                </a:cubicBezTo>
                <a:cubicBezTo>
                  <a:pt x="12981" y="882"/>
                  <a:pt x="12981" y="882"/>
                  <a:pt x="12981" y="882"/>
                </a:cubicBezTo>
                <a:cubicBezTo>
                  <a:pt x="12981" y="882"/>
                  <a:pt x="12984" y="896"/>
                  <a:pt x="12980" y="895"/>
                </a:cubicBezTo>
                <a:cubicBezTo>
                  <a:pt x="12976" y="894"/>
                  <a:pt x="12937" y="882"/>
                  <a:pt x="12939" y="896"/>
                </a:cubicBezTo>
                <a:cubicBezTo>
                  <a:pt x="12941" y="910"/>
                  <a:pt x="12964" y="923"/>
                  <a:pt x="12964" y="923"/>
                </a:cubicBezTo>
                <a:cubicBezTo>
                  <a:pt x="12966" y="940"/>
                  <a:pt x="12966" y="940"/>
                  <a:pt x="12966" y="940"/>
                </a:cubicBezTo>
                <a:cubicBezTo>
                  <a:pt x="12986" y="943"/>
                  <a:pt x="12986" y="943"/>
                  <a:pt x="12986" y="943"/>
                </a:cubicBezTo>
                <a:cubicBezTo>
                  <a:pt x="12982" y="956"/>
                  <a:pt x="12982" y="956"/>
                  <a:pt x="12982" y="956"/>
                </a:cubicBezTo>
                <a:cubicBezTo>
                  <a:pt x="12995" y="967"/>
                  <a:pt x="12995" y="967"/>
                  <a:pt x="12995" y="967"/>
                </a:cubicBezTo>
                <a:cubicBezTo>
                  <a:pt x="12977" y="970"/>
                  <a:pt x="12977" y="970"/>
                  <a:pt x="12977" y="970"/>
                </a:cubicBezTo>
                <a:cubicBezTo>
                  <a:pt x="12972" y="981"/>
                  <a:pt x="12972" y="981"/>
                  <a:pt x="12972" y="981"/>
                </a:cubicBezTo>
                <a:cubicBezTo>
                  <a:pt x="12960" y="985"/>
                  <a:pt x="12960" y="985"/>
                  <a:pt x="12960" y="985"/>
                </a:cubicBezTo>
                <a:cubicBezTo>
                  <a:pt x="12960" y="985"/>
                  <a:pt x="12973" y="1007"/>
                  <a:pt x="12966" y="1019"/>
                </a:cubicBezTo>
                <a:cubicBezTo>
                  <a:pt x="12959" y="1031"/>
                  <a:pt x="12948" y="1051"/>
                  <a:pt x="12948" y="1058"/>
                </a:cubicBezTo>
                <a:cubicBezTo>
                  <a:pt x="12948" y="1065"/>
                  <a:pt x="12966" y="1071"/>
                  <a:pt x="12953" y="1088"/>
                </a:cubicBezTo>
                <a:cubicBezTo>
                  <a:pt x="12940" y="1105"/>
                  <a:pt x="12918" y="1110"/>
                  <a:pt x="12918" y="1110"/>
                </a:cubicBezTo>
                <a:cubicBezTo>
                  <a:pt x="12921" y="1122"/>
                  <a:pt x="12921" y="1122"/>
                  <a:pt x="12921" y="1122"/>
                </a:cubicBezTo>
                <a:cubicBezTo>
                  <a:pt x="12908" y="1122"/>
                  <a:pt x="12908" y="1122"/>
                  <a:pt x="12908" y="1122"/>
                </a:cubicBezTo>
                <a:cubicBezTo>
                  <a:pt x="12908" y="1122"/>
                  <a:pt x="12932" y="1132"/>
                  <a:pt x="12930" y="1149"/>
                </a:cubicBezTo>
                <a:cubicBezTo>
                  <a:pt x="12928" y="1166"/>
                  <a:pt x="12921" y="1177"/>
                  <a:pt x="12928" y="1194"/>
                </a:cubicBezTo>
                <a:cubicBezTo>
                  <a:pt x="12935" y="1211"/>
                  <a:pt x="13000" y="1265"/>
                  <a:pt x="13000" y="1265"/>
                </a:cubicBezTo>
                <a:cubicBezTo>
                  <a:pt x="13040" y="1306"/>
                  <a:pt x="13040" y="1306"/>
                  <a:pt x="13040" y="1306"/>
                </a:cubicBezTo>
                <a:cubicBezTo>
                  <a:pt x="13049" y="1303"/>
                  <a:pt x="13049" y="1303"/>
                  <a:pt x="13049" y="1303"/>
                </a:cubicBezTo>
                <a:cubicBezTo>
                  <a:pt x="13102" y="1367"/>
                  <a:pt x="13102" y="1367"/>
                  <a:pt x="13102" y="1367"/>
                </a:cubicBezTo>
                <a:cubicBezTo>
                  <a:pt x="13137" y="1378"/>
                  <a:pt x="13137" y="1378"/>
                  <a:pt x="13137" y="1378"/>
                </a:cubicBezTo>
                <a:cubicBezTo>
                  <a:pt x="13152" y="1396"/>
                  <a:pt x="13152" y="1396"/>
                  <a:pt x="13152" y="1396"/>
                </a:cubicBezTo>
                <a:cubicBezTo>
                  <a:pt x="13152" y="1396"/>
                  <a:pt x="13191" y="1444"/>
                  <a:pt x="13198" y="1448"/>
                </a:cubicBezTo>
                <a:cubicBezTo>
                  <a:pt x="13205" y="1452"/>
                  <a:pt x="13216" y="1452"/>
                  <a:pt x="13216" y="1452"/>
                </a:cubicBezTo>
                <a:cubicBezTo>
                  <a:pt x="13216" y="1452"/>
                  <a:pt x="13210" y="1470"/>
                  <a:pt x="13225" y="1464"/>
                </a:cubicBezTo>
                <a:cubicBezTo>
                  <a:pt x="13240" y="1458"/>
                  <a:pt x="13238" y="1445"/>
                  <a:pt x="13238" y="1445"/>
                </a:cubicBezTo>
                <a:cubicBezTo>
                  <a:pt x="13231" y="1437"/>
                  <a:pt x="13231" y="1437"/>
                  <a:pt x="13231" y="1437"/>
                </a:cubicBezTo>
                <a:cubicBezTo>
                  <a:pt x="13231" y="1437"/>
                  <a:pt x="13246" y="1417"/>
                  <a:pt x="13243" y="1408"/>
                </a:cubicBezTo>
                <a:cubicBezTo>
                  <a:pt x="13240" y="1399"/>
                  <a:pt x="13209" y="1382"/>
                  <a:pt x="13216" y="1369"/>
                </a:cubicBezTo>
                <a:cubicBezTo>
                  <a:pt x="13223" y="1356"/>
                  <a:pt x="13232" y="1348"/>
                  <a:pt x="13235" y="1347"/>
                </a:cubicBezTo>
                <a:cubicBezTo>
                  <a:pt x="13238" y="1346"/>
                  <a:pt x="13258" y="1354"/>
                  <a:pt x="13258" y="1354"/>
                </a:cubicBezTo>
                <a:cubicBezTo>
                  <a:pt x="13258" y="1354"/>
                  <a:pt x="13236" y="1328"/>
                  <a:pt x="13230" y="1324"/>
                </a:cubicBezTo>
                <a:cubicBezTo>
                  <a:pt x="13224" y="1320"/>
                  <a:pt x="13209" y="1314"/>
                  <a:pt x="13212" y="1299"/>
                </a:cubicBezTo>
                <a:cubicBezTo>
                  <a:pt x="13215" y="1284"/>
                  <a:pt x="13233" y="1279"/>
                  <a:pt x="13233" y="1279"/>
                </a:cubicBezTo>
                <a:cubicBezTo>
                  <a:pt x="13233" y="1279"/>
                  <a:pt x="13262" y="1291"/>
                  <a:pt x="13260" y="1276"/>
                </a:cubicBezTo>
                <a:cubicBezTo>
                  <a:pt x="13258" y="1261"/>
                  <a:pt x="13245" y="1257"/>
                  <a:pt x="13229" y="1249"/>
                </a:cubicBezTo>
                <a:cubicBezTo>
                  <a:pt x="13213" y="1241"/>
                  <a:pt x="13199" y="1222"/>
                  <a:pt x="13198" y="1211"/>
                </a:cubicBezTo>
                <a:cubicBezTo>
                  <a:pt x="13197" y="1200"/>
                  <a:pt x="13191" y="1188"/>
                  <a:pt x="13191" y="1188"/>
                </a:cubicBezTo>
                <a:cubicBezTo>
                  <a:pt x="13198" y="1185"/>
                  <a:pt x="13198" y="1185"/>
                  <a:pt x="13198" y="1185"/>
                </a:cubicBezTo>
                <a:cubicBezTo>
                  <a:pt x="13198" y="1185"/>
                  <a:pt x="13224" y="1210"/>
                  <a:pt x="13230" y="1205"/>
                </a:cubicBezTo>
                <a:cubicBezTo>
                  <a:pt x="13236" y="1200"/>
                  <a:pt x="13212" y="1173"/>
                  <a:pt x="13212" y="1173"/>
                </a:cubicBezTo>
                <a:cubicBezTo>
                  <a:pt x="13189" y="1170"/>
                  <a:pt x="13189" y="1170"/>
                  <a:pt x="13189" y="1170"/>
                </a:cubicBezTo>
                <a:cubicBezTo>
                  <a:pt x="13156" y="1142"/>
                  <a:pt x="13156" y="1142"/>
                  <a:pt x="13156" y="1142"/>
                </a:cubicBezTo>
                <a:cubicBezTo>
                  <a:pt x="13156" y="1142"/>
                  <a:pt x="13160" y="1121"/>
                  <a:pt x="13144" y="1114"/>
                </a:cubicBezTo>
                <a:cubicBezTo>
                  <a:pt x="13128" y="1107"/>
                  <a:pt x="13116" y="1107"/>
                  <a:pt x="13116" y="1107"/>
                </a:cubicBezTo>
                <a:cubicBezTo>
                  <a:pt x="13117" y="1119"/>
                  <a:pt x="13117" y="1119"/>
                  <a:pt x="13117" y="1119"/>
                </a:cubicBezTo>
                <a:cubicBezTo>
                  <a:pt x="13117" y="1119"/>
                  <a:pt x="13073" y="1109"/>
                  <a:pt x="13072" y="1093"/>
                </a:cubicBezTo>
                <a:cubicBezTo>
                  <a:pt x="13071" y="1077"/>
                  <a:pt x="13079" y="1066"/>
                  <a:pt x="13071" y="1051"/>
                </a:cubicBezTo>
                <a:cubicBezTo>
                  <a:pt x="13063" y="1036"/>
                  <a:pt x="13047" y="1028"/>
                  <a:pt x="13047" y="1028"/>
                </a:cubicBezTo>
                <a:cubicBezTo>
                  <a:pt x="13047" y="1028"/>
                  <a:pt x="13049" y="1012"/>
                  <a:pt x="13053" y="1010"/>
                </a:cubicBezTo>
                <a:cubicBezTo>
                  <a:pt x="13057" y="1008"/>
                  <a:pt x="13066" y="1015"/>
                  <a:pt x="13066" y="1015"/>
                </a:cubicBezTo>
                <a:cubicBezTo>
                  <a:pt x="13075" y="1004"/>
                  <a:pt x="13075" y="1004"/>
                  <a:pt x="13075" y="1004"/>
                </a:cubicBezTo>
                <a:cubicBezTo>
                  <a:pt x="13100" y="1023"/>
                  <a:pt x="13100" y="1023"/>
                  <a:pt x="13100" y="1023"/>
                </a:cubicBezTo>
                <a:cubicBezTo>
                  <a:pt x="13105" y="1018"/>
                  <a:pt x="13105" y="1018"/>
                  <a:pt x="13105" y="1018"/>
                </a:cubicBezTo>
                <a:cubicBezTo>
                  <a:pt x="13097" y="1010"/>
                  <a:pt x="13097" y="1010"/>
                  <a:pt x="13097" y="1010"/>
                </a:cubicBezTo>
                <a:cubicBezTo>
                  <a:pt x="13097" y="1010"/>
                  <a:pt x="13103" y="978"/>
                  <a:pt x="13114" y="984"/>
                </a:cubicBezTo>
                <a:cubicBezTo>
                  <a:pt x="13125" y="990"/>
                  <a:pt x="13152" y="1023"/>
                  <a:pt x="13152" y="1023"/>
                </a:cubicBezTo>
                <a:cubicBezTo>
                  <a:pt x="13159" y="990"/>
                  <a:pt x="13159" y="990"/>
                  <a:pt x="13159" y="990"/>
                </a:cubicBezTo>
                <a:cubicBezTo>
                  <a:pt x="13159" y="990"/>
                  <a:pt x="13216" y="983"/>
                  <a:pt x="13225" y="983"/>
                </a:cubicBezTo>
                <a:cubicBezTo>
                  <a:pt x="13234" y="983"/>
                  <a:pt x="13271" y="1003"/>
                  <a:pt x="13271" y="1003"/>
                </a:cubicBezTo>
                <a:cubicBezTo>
                  <a:pt x="13299" y="1014"/>
                  <a:pt x="13299" y="1014"/>
                  <a:pt x="13299" y="1014"/>
                </a:cubicBezTo>
                <a:cubicBezTo>
                  <a:pt x="13279" y="974"/>
                  <a:pt x="13279" y="974"/>
                  <a:pt x="13279" y="974"/>
                </a:cubicBezTo>
                <a:cubicBezTo>
                  <a:pt x="13279" y="974"/>
                  <a:pt x="13311" y="975"/>
                  <a:pt x="13313" y="964"/>
                </a:cubicBezTo>
                <a:cubicBezTo>
                  <a:pt x="13315" y="953"/>
                  <a:pt x="13305" y="935"/>
                  <a:pt x="13305" y="935"/>
                </a:cubicBezTo>
                <a:cubicBezTo>
                  <a:pt x="13318" y="936"/>
                  <a:pt x="13318" y="936"/>
                  <a:pt x="13318" y="936"/>
                </a:cubicBezTo>
                <a:cubicBezTo>
                  <a:pt x="13321" y="920"/>
                  <a:pt x="13321" y="920"/>
                  <a:pt x="13321" y="920"/>
                </a:cubicBezTo>
                <a:cubicBezTo>
                  <a:pt x="13321" y="920"/>
                  <a:pt x="13360" y="929"/>
                  <a:pt x="13366" y="914"/>
                </a:cubicBezTo>
                <a:cubicBezTo>
                  <a:pt x="13372" y="899"/>
                  <a:pt x="13392" y="887"/>
                  <a:pt x="13392" y="887"/>
                </a:cubicBezTo>
                <a:cubicBezTo>
                  <a:pt x="13378" y="870"/>
                  <a:pt x="13378" y="870"/>
                  <a:pt x="13378" y="870"/>
                </a:cubicBezTo>
                <a:cubicBezTo>
                  <a:pt x="13399" y="872"/>
                  <a:pt x="13399" y="872"/>
                  <a:pt x="13399" y="872"/>
                </a:cubicBezTo>
                <a:cubicBezTo>
                  <a:pt x="13402" y="884"/>
                  <a:pt x="13402" y="884"/>
                  <a:pt x="13402" y="884"/>
                </a:cubicBezTo>
                <a:cubicBezTo>
                  <a:pt x="13443" y="887"/>
                  <a:pt x="13443" y="887"/>
                  <a:pt x="13443" y="887"/>
                </a:cubicBezTo>
                <a:cubicBezTo>
                  <a:pt x="13443" y="887"/>
                  <a:pt x="13485" y="897"/>
                  <a:pt x="13485" y="891"/>
                </a:cubicBezTo>
                <a:cubicBezTo>
                  <a:pt x="13485" y="885"/>
                  <a:pt x="13481" y="873"/>
                  <a:pt x="13481" y="873"/>
                </a:cubicBezTo>
                <a:cubicBezTo>
                  <a:pt x="13456" y="870"/>
                  <a:pt x="13456" y="870"/>
                  <a:pt x="13456" y="870"/>
                </a:cubicBezTo>
                <a:cubicBezTo>
                  <a:pt x="13452" y="856"/>
                  <a:pt x="13452" y="856"/>
                  <a:pt x="13452" y="856"/>
                </a:cubicBezTo>
                <a:cubicBezTo>
                  <a:pt x="13452" y="856"/>
                  <a:pt x="13415" y="843"/>
                  <a:pt x="13403" y="839"/>
                </a:cubicBezTo>
                <a:cubicBezTo>
                  <a:pt x="13391" y="835"/>
                  <a:pt x="13382" y="841"/>
                  <a:pt x="13382" y="841"/>
                </a:cubicBezTo>
                <a:cubicBezTo>
                  <a:pt x="13386" y="829"/>
                  <a:pt x="13386" y="829"/>
                  <a:pt x="13386" y="829"/>
                </a:cubicBezTo>
                <a:cubicBezTo>
                  <a:pt x="13338" y="795"/>
                  <a:pt x="13338" y="795"/>
                  <a:pt x="13338" y="795"/>
                </a:cubicBezTo>
                <a:cubicBezTo>
                  <a:pt x="13327" y="806"/>
                  <a:pt x="13327" y="806"/>
                  <a:pt x="13327" y="806"/>
                </a:cubicBezTo>
                <a:cubicBezTo>
                  <a:pt x="13327" y="806"/>
                  <a:pt x="13307" y="801"/>
                  <a:pt x="13299" y="798"/>
                </a:cubicBezTo>
                <a:cubicBezTo>
                  <a:pt x="13291" y="795"/>
                  <a:pt x="13280" y="786"/>
                  <a:pt x="13280" y="786"/>
                </a:cubicBezTo>
                <a:cubicBezTo>
                  <a:pt x="13257" y="791"/>
                  <a:pt x="13257" y="791"/>
                  <a:pt x="13257" y="791"/>
                </a:cubicBezTo>
                <a:cubicBezTo>
                  <a:pt x="13238" y="789"/>
                  <a:pt x="13238" y="789"/>
                  <a:pt x="13238" y="789"/>
                </a:cubicBezTo>
                <a:cubicBezTo>
                  <a:pt x="13238" y="789"/>
                  <a:pt x="13207" y="771"/>
                  <a:pt x="13219" y="768"/>
                </a:cubicBezTo>
                <a:cubicBezTo>
                  <a:pt x="13231" y="765"/>
                  <a:pt x="13243" y="772"/>
                  <a:pt x="13252" y="774"/>
                </a:cubicBezTo>
                <a:cubicBezTo>
                  <a:pt x="13261" y="776"/>
                  <a:pt x="13305" y="783"/>
                  <a:pt x="13305" y="783"/>
                </a:cubicBezTo>
                <a:cubicBezTo>
                  <a:pt x="13305" y="783"/>
                  <a:pt x="13357" y="768"/>
                  <a:pt x="13357" y="761"/>
                </a:cubicBezTo>
                <a:cubicBezTo>
                  <a:pt x="13357" y="754"/>
                  <a:pt x="13327" y="738"/>
                  <a:pt x="13324" y="736"/>
                </a:cubicBezTo>
                <a:cubicBezTo>
                  <a:pt x="13321" y="734"/>
                  <a:pt x="13272" y="717"/>
                  <a:pt x="13287" y="708"/>
                </a:cubicBezTo>
                <a:cubicBezTo>
                  <a:pt x="13302" y="699"/>
                  <a:pt x="13327" y="719"/>
                  <a:pt x="13327" y="719"/>
                </a:cubicBezTo>
                <a:cubicBezTo>
                  <a:pt x="13327" y="719"/>
                  <a:pt x="13374" y="748"/>
                  <a:pt x="13388" y="746"/>
                </a:cubicBezTo>
                <a:cubicBezTo>
                  <a:pt x="13402" y="744"/>
                  <a:pt x="13407" y="730"/>
                  <a:pt x="13446" y="743"/>
                </a:cubicBezTo>
                <a:cubicBezTo>
                  <a:pt x="13485" y="756"/>
                  <a:pt x="13519" y="770"/>
                  <a:pt x="13530" y="772"/>
                </a:cubicBezTo>
                <a:cubicBezTo>
                  <a:pt x="13541" y="774"/>
                  <a:pt x="13584" y="786"/>
                  <a:pt x="13584" y="786"/>
                </a:cubicBezTo>
                <a:cubicBezTo>
                  <a:pt x="13584" y="786"/>
                  <a:pt x="13643" y="821"/>
                  <a:pt x="13639" y="803"/>
                </a:cubicBezTo>
                <a:cubicBezTo>
                  <a:pt x="13635" y="785"/>
                  <a:pt x="13615" y="774"/>
                  <a:pt x="13615" y="774"/>
                </a:cubicBezTo>
                <a:cubicBezTo>
                  <a:pt x="13627" y="765"/>
                  <a:pt x="13627" y="765"/>
                  <a:pt x="13627" y="765"/>
                </a:cubicBezTo>
                <a:cubicBezTo>
                  <a:pt x="13597" y="752"/>
                  <a:pt x="13597" y="752"/>
                  <a:pt x="13597" y="752"/>
                </a:cubicBezTo>
                <a:cubicBezTo>
                  <a:pt x="13603" y="748"/>
                  <a:pt x="13603" y="748"/>
                  <a:pt x="13603" y="748"/>
                </a:cubicBezTo>
                <a:cubicBezTo>
                  <a:pt x="13570" y="731"/>
                  <a:pt x="13570" y="731"/>
                  <a:pt x="13570" y="731"/>
                </a:cubicBezTo>
                <a:cubicBezTo>
                  <a:pt x="13606" y="738"/>
                  <a:pt x="13606" y="738"/>
                  <a:pt x="13606" y="738"/>
                </a:cubicBezTo>
                <a:cubicBezTo>
                  <a:pt x="13602" y="725"/>
                  <a:pt x="13602" y="725"/>
                  <a:pt x="13602" y="725"/>
                </a:cubicBezTo>
                <a:cubicBezTo>
                  <a:pt x="13602" y="725"/>
                  <a:pt x="13653" y="737"/>
                  <a:pt x="13642" y="723"/>
                </a:cubicBezTo>
                <a:cubicBezTo>
                  <a:pt x="13631" y="709"/>
                  <a:pt x="13601" y="704"/>
                  <a:pt x="13601" y="704"/>
                </a:cubicBezTo>
                <a:cubicBezTo>
                  <a:pt x="13570" y="690"/>
                  <a:pt x="13570" y="690"/>
                  <a:pt x="13570" y="690"/>
                </a:cubicBezTo>
                <a:cubicBezTo>
                  <a:pt x="13543" y="691"/>
                  <a:pt x="13543" y="691"/>
                  <a:pt x="13543" y="691"/>
                </a:cubicBezTo>
                <a:cubicBezTo>
                  <a:pt x="13523" y="678"/>
                  <a:pt x="13523" y="678"/>
                  <a:pt x="13523" y="678"/>
                </a:cubicBezTo>
                <a:cubicBezTo>
                  <a:pt x="13462" y="674"/>
                  <a:pt x="13462" y="674"/>
                  <a:pt x="13462" y="674"/>
                </a:cubicBezTo>
                <a:cubicBezTo>
                  <a:pt x="13437" y="662"/>
                  <a:pt x="13437" y="662"/>
                  <a:pt x="13437" y="662"/>
                </a:cubicBezTo>
                <a:cubicBezTo>
                  <a:pt x="13413" y="664"/>
                  <a:pt x="13413" y="664"/>
                  <a:pt x="13413" y="664"/>
                </a:cubicBezTo>
                <a:cubicBezTo>
                  <a:pt x="13446" y="689"/>
                  <a:pt x="13446" y="689"/>
                  <a:pt x="13446" y="689"/>
                </a:cubicBezTo>
                <a:cubicBezTo>
                  <a:pt x="13482" y="705"/>
                  <a:pt x="13482" y="705"/>
                  <a:pt x="13482" y="705"/>
                </a:cubicBezTo>
                <a:cubicBezTo>
                  <a:pt x="13482" y="705"/>
                  <a:pt x="13442" y="711"/>
                  <a:pt x="13430" y="701"/>
                </a:cubicBezTo>
                <a:cubicBezTo>
                  <a:pt x="13418" y="691"/>
                  <a:pt x="13417" y="669"/>
                  <a:pt x="13364" y="651"/>
                </a:cubicBezTo>
                <a:cubicBezTo>
                  <a:pt x="13311" y="633"/>
                  <a:pt x="13295" y="626"/>
                  <a:pt x="13241" y="617"/>
                </a:cubicBezTo>
                <a:cubicBezTo>
                  <a:pt x="13187" y="608"/>
                  <a:pt x="13074" y="582"/>
                  <a:pt x="13020" y="569"/>
                </a:cubicBezTo>
                <a:cubicBezTo>
                  <a:pt x="12966" y="556"/>
                  <a:pt x="12905" y="547"/>
                  <a:pt x="12905" y="547"/>
                </a:cubicBezTo>
                <a:cubicBezTo>
                  <a:pt x="12783" y="549"/>
                  <a:pt x="12783" y="549"/>
                  <a:pt x="12783" y="549"/>
                </a:cubicBezTo>
                <a:cubicBezTo>
                  <a:pt x="12774" y="537"/>
                  <a:pt x="12774" y="537"/>
                  <a:pt x="12774" y="537"/>
                </a:cubicBezTo>
                <a:cubicBezTo>
                  <a:pt x="12743" y="539"/>
                  <a:pt x="12743" y="539"/>
                  <a:pt x="12743" y="539"/>
                </a:cubicBezTo>
                <a:cubicBezTo>
                  <a:pt x="12732" y="531"/>
                  <a:pt x="12732" y="531"/>
                  <a:pt x="12732" y="531"/>
                </a:cubicBezTo>
                <a:cubicBezTo>
                  <a:pt x="12696" y="530"/>
                  <a:pt x="12696" y="530"/>
                  <a:pt x="12696" y="530"/>
                </a:cubicBezTo>
                <a:cubicBezTo>
                  <a:pt x="12713" y="542"/>
                  <a:pt x="12713" y="542"/>
                  <a:pt x="12713" y="542"/>
                </a:cubicBezTo>
                <a:cubicBezTo>
                  <a:pt x="12708" y="556"/>
                  <a:pt x="12708" y="556"/>
                  <a:pt x="12708" y="556"/>
                </a:cubicBezTo>
                <a:cubicBezTo>
                  <a:pt x="12708" y="556"/>
                  <a:pt x="12807" y="579"/>
                  <a:pt x="12778" y="592"/>
                </a:cubicBezTo>
                <a:cubicBezTo>
                  <a:pt x="12749" y="605"/>
                  <a:pt x="12731" y="588"/>
                  <a:pt x="12731" y="588"/>
                </a:cubicBezTo>
                <a:cubicBezTo>
                  <a:pt x="12714" y="574"/>
                  <a:pt x="12714" y="574"/>
                  <a:pt x="12714" y="574"/>
                </a:cubicBezTo>
                <a:cubicBezTo>
                  <a:pt x="12669" y="574"/>
                  <a:pt x="12669" y="574"/>
                  <a:pt x="12669" y="574"/>
                </a:cubicBezTo>
                <a:cubicBezTo>
                  <a:pt x="12632" y="551"/>
                  <a:pt x="12632" y="551"/>
                  <a:pt x="12632" y="551"/>
                </a:cubicBezTo>
                <a:cubicBezTo>
                  <a:pt x="12632" y="551"/>
                  <a:pt x="12614" y="555"/>
                  <a:pt x="12610" y="558"/>
                </a:cubicBezTo>
                <a:cubicBezTo>
                  <a:pt x="12606" y="561"/>
                  <a:pt x="12574" y="560"/>
                  <a:pt x="12574" y="560"/>
                </a:cubicBezTo>
                <a:cubicBezTo>
                  <a:pt x="12570" y="552"/>
                  <a:pt x="12570" y="552"/>
                  <a:pt x="12570" y="552"/>
                </a:cubicBezTo>
                <a:cubicBezTo>
                  <a:pt x="12508" y="555"/>
                  <a:pt x="12508" y="555"/>
                  <a:pt x="12508" y="555"/>
                </a:cubicBezTo>
                <a:cubicBezTo>
                  <a:pt x="12492" y="543"/>
                  <a:pt x="12492" y="543"/>
                  <a:pt x="12492" y="543"/>
                </a:cubicBezTo>
                <a:cubicBezTo>
                  <a:pt x="12487" y="549"/>
                  <a:pt x="12487" y="549"/>
                  <a:pt x="12487" y="549"/>
                </a:cubicBezTo>
                <a:cubicBezTo>
                  <a:pt x="12487" y="549"/>
                  <a:pt x="12409" y="542"/>
                  <a:pt x="12414" y="552"/>
                </a:cubicBezTo>
                <a:cubicBezTo>
                  <a:pt x="12419" y="562"/>
                  <a:pt x="12448" y="586"/>
                  <a:pt x="12448" y="586"/>
                </a:cubicBezTo>
                <a:cubicBezTo>
                  <a:pt x="12448" y="586"/>
                  <a:pt x="12412" y="565"/>
                  <a:pt x="12407" y="560"/>
                </a:cubicBezTo>
                <a:cubicBezTo>
                  <a:pt x="12402" y="555"/>
                  <a:pt x="12336" y="547"/>
                  <a:pt x="12336" y="547"/>
                </a:cubicBezTo>
                <a:cubicBezTo>
                  <a:pt x="12336" y="547"/>
                  <a:pt x="12326" y="529"/>
                  <a:pt x="12301" y="516"/>
                </a:cubicBezTo>
                <a:cubicBezTo>
                  <a:pt x="12276" y="503"/>
                  <a:pt x="12238" y="497"/>
                  <a:pt x="12221" y="496"/>
                </a:cubicBezTo>
                <a:cubicBezTo>
                  <a:pt x="12204" y="495"/>
                  <a:pt x="12169" y="491"/>
                  <a:pt x="12169" y="491"/>
                </a:cubicBezTo>
                <a:cubicBezTo>
                  <a:pt x="12135" y="484"/>
                  <a:pt x="12135" y="484"/>
                  <a:pt x="12135" y="484"/>
                </a:cubicBezTo>
                <a:cubicBezTo>
                  <a:pt x="12126" y="488"/>
                  <a:pt x="12126" y="488"/>
                  <a:pt x="12126" y="488"/>
                </a:cubicBezTo>
                <a:cubicBezTo>
                  <a:pt x="12086" y="486"/>
                  <a:pt x="12086" y="486"/>
                  <a:pt x="12086" y="486"/>
                </a:cubicBezTo>
                <a:cubicBezTo>
                  <a:pt x="12086" y="486"/>
                  <a:pt x="12081" y="506"/>
                  <a:pt x="12059" y="503"/>
                </a:cubicBezTo>
                <a:cubicBezTo>
                  <a:pt x="12037" y="500"/>
                  <a:pt x="12008" y="498"/>
                  <a:pt x="12008" y="498"/>
                </a:cubicBezTo>
                <a:cubicBezTo>
                  <a:pt x="12008" y="498"/>
                  <a:pt x="11978" y="478"/>
                  <a:pt x="11961" y="477"/>
                </a:cubicBezTo>
                <a:cubicBezTo>
                  <a:pt x="11944" y="476"/>
                  <a:pt x="11935" y="479"/>
                  <a:pt x="11935" y="479"/>
                </a:cubicBezTo>
                <a:cubicBezTo>
                  <a:pt x="11929" y="468"/>
                  <a:pt x="11929" y="468"/>
                  <a:pt x="11929" y="468"/>
                </a:cubicBezTo>
                <a:cubicBezTo>
                  <a:pt x="11904" y="466"/>
                  <a:pt x="11904" y="466"/>
                  <a:pt x="11904" y="466"/>
                </a:cubicBezTo>
                <a:cubicBezTo>
                  <a:pt x="11861" y="462"/>
                  <a:pt x="11861" y="462"/>
                  <a:pt x="11861" y="462"/>
                </a:cubicBezTo>
                <a:cubicBezTo>
                  <a:pt x="11885" y="454"/>
                  <a:pt x="11885" y="454"/>
                  <a:pt x="11885" y="454"/>
                </a:cubicBezTo>
                <a:cubicBezTo>
                  <a:pt x="11859" y="441"/>
                  <a:pt x="11859" y="441"/>
                  <a:pt x="11859" y="441"/>
                </a:cubicBezTo>
                <a:cubicBezTo>
                  <a:pt x="11859" y="441"/>
                  <a:pt x="11766" y="428"/>
                  <a:pt x="11763" y="434"/>
                </a:cubicBezTo>
                <a:cubicBezTo>
                  <a:pt x="11760" y="440"/>
                  <a:pt x="11772" y="459"/>
                  <a:pt x="11757" y="460"/>
                </a:cubicBezTo>
                <a:cubicBezTo>
                  <a:pt x="11742" y="461"/>
                  <a:pt x="11722" y="457"/>
                  <a:pt x="11722" y="457"/>
                </a:cubicBezTo>
                <a:cubicBezTo>
                  <a:pt x="11734" y="449"/>
                  <a:pt x="11734" y="449"/>
                  <a:pt x="11734" y="449"/>
                </a:cubicBezTo>
                <a:cubicBezTo>
                  <a:pt x="11724" y="439"/>
                  <a:pt x="11724" y="439"/>
                  <a:pt x="11724" y="439"/>
                </a:cubicBezTo>
                <a:cubicBezTo>
                  <a:pt x="11724" y="439"/>
                  <a:pt x="11718" y="439"/>
                  <a:pt x="11704" y="441"/>
                </a:cubicBezTo>
                <a:cubicBezTo>
                  <a:pt x="11690" y="443"/>
                  <a:pt x="11676" y="438"/>
                  <a:pt x="11676" y="438"/>
                </a:cubicBezTo>
                <a:cubicBezTo>
                  <a:pt x="11687" y="433"/>
                  <a:pt x="11687" y="433"/>
                  <a:pt x="11687" y="433"/>
                </a:cubicBezTo>
                <a:cubicBezTo>
                  <a:pt x="11717" y="430"/>
                  <a:pt x="11717" y="430"/>
                  <a:pt x="11717" y="430"/>
                </a:cubicBezTo>
                <a:cubicBezTo>
                  <a:pt x="11755" y="453"/>
                  <a:pt x="11755" y="453"/>
                  <a:pt x="11755" y="453"/>
                </a:cubicBezTo>
                <a:cubicBezTo>
                  <a:pt x="11757" y="434"/>
                  <a:pt x="11757" y="434"/>
                  <a:pt x="11757" y="434"/>
                </a:cubicBezTo>
                <a:cubicBezTo>
                  <a:pt x="11718" y="421"/>
                  <a:pt x="11718" y="421"/>
                  <a:pt x="11718" y="421"/>
                </a:cubicBezTo>
                <a:cubicBezTo>
                  <a:pt x="11645" y="425"/>
                  <a:pt x="11645" y="425"/>
                  <a:pt x="11645" y="425"/>
                </a:cubicBezTo>
                <a:cubicBezTo>
                  <a:pt x="11644" y="416"/>
                  <a:pt x="11644" y="416"/>
                  <a:pt x="11644" y="416"/>
                </a:cubicBezTo>
                <a:cubicBezTo>
                  <a:pt x="11563" y="421"/>
                  <a:pt x="11563" y="421"/>
                  <a:pt x="11563" y="421"/>
                </a:cubicBezTo>
                <a:cubicBezTo>
                  <a:pt x="11532" y="408"/>
                  <a:pt x="11532" y="408"/>
                  <a:pt x="11532" y="408"/>
                </a:cubicBezTo>
                <a:cubicBezTo>
                  <a:pt x="11519" y="408"/>
                  <a:pt x="11519" y="408"/>
                  <a:pt x="11519" y="408"/>
                </a:cubicBezTo>
                <a:cubicBezTo>
                  <a:pt x="11544" y="424"/>
                  <a:pt x="11544" y="424"/>
                  <a:pt x="11544" y="424"/>
                </a:cubicBezTo>
                <a:cubicBezTo>
                  <a:pt x="11544" y="424"/>
                  <a:pt x="11492" y="423"/>
                  <a:pt x="11500" y="431"/>
                </a:cubicBezTo>
                <a:cubicBezTo>
                  <a:pt x="11508" y="439"/>
                  <a:pt x="11518" y="444"/>
                  <a:pt x="11518" y="444"/>
                </a:cubicBezTo>
                <a:cubicBezTo>
                  <a:pt x="11539" y="442"/>
                  <a:pt x="11539" y="442"/>
                  <a:pt x="11539" y="442"/>
                </a:cubicBezTo>
                <a:cubicBezTo>
                  <a:pt x="11539" y="447"/>
                  <a:pt x="11539" y="447"/>
                  <a:pt x="11539" y="447"/>
                </a:cubicBezTo>
                <a:cubicBezTo>
                  <a:pt x="11578" y="473"/>
                  <a:pt x="11578" y="473"/>
                  <a:pt x="11578" y="473"/>
                </a:cubicBezTo>
                <a:cubicBezTo>
                  <a:pt x="11578" y="473"/>
                  <a:pt x="11572" y="474"/>
                  <a:pt x="11557" y="473"/>
                </a:cubicBezTo>
                <a:cubicBezTo>
                  <a:pt x="11542" y="472"/>
                  <a:pt x="11522" y="457"/>
                  <a:pt x="11517" y="462"/>
                </a:cubicBezTo>
                <a:cubicBezTo>
                  <a:pt x="11512" y="467"/>
                  <a:pt x="11508" y="470"/>
                  <a:pt x="11508" y="470"/>
                </a:cubicBezTo>
                <a:cubicBezTo>
                  <a:pt x="11525" y="484"/>
                  <a:pt x="11525" y="484"/>
                  <a:pt x="11525" y="484"/>
                </a:cubicBezTo>
                <a:cubicBezTo>
                  <a:pt x="11489" y="479"/>
                  <a:pt x="11489" y="479"/>
                  <a:pt x="11489" y="479"/>
                </a:cubicBezTo>
                <a:cubicBezTo>
                  <a:pt x="11489" y="479"/>
                  <a:pt x="11440" y="463"/>
                  <a:pt x="11432" y="464"/>
                </a:cubicBezTo>
                <a:cubicBezTo>
                  <a:pt x="11424" y="465"/>
                  <a:pt x="11396" y="477"/>
                  <a:pt x="11396" y="477"/>
                </a:cubicBezTo>
                <a:cubicBezTo>
                  <a:pt x="11351" y="473"/>
                  <a:pt x="11351" y="473"/>
                  <a:pt x="11351" y="473"/>
                </a:cubicBezTo>
                <a:cubicBezTo>
                  <a:pt x="11351" y="473"/>
                  <a:pt x="11313" y="455"/>
                  <a:pt x="11310" y="451"/>
                </a:cubicBezTo>
                <a:cubicBezTo>
                  <a:pt x="11307" y="447"/>
                  <a:pt x="11300" y="457"/>
                  <a:pt x="11303" y="465"/>
                </a:cubicBezTo>
                <a:cubicBezTo>
                  <a:pt x="11306" y="473"/>
                  <a:pt x="11333" y="501"/>
                  <a:pt x="11317" y="502"/>
                </a:cubicBezTo>
                <a:cubicBezTo>
                  <a:pt x="11301" y="503"/>
                  <a:pt x="11222" y="474"/>
                  <a:pt x="11219" y="472"/>
                </a:cubicBezTo>
                <a:cubicBezTo>
                  <a:pt x="11216" y="470"/>
                  <a:pt x="11197" y="453"/>
                  <a:pt x="11197" y="453"/>
                </a:cubicBezTo>
                <a:cubicBezTo>
                  <a:pt x="11195" y="463"/>
                  <a:pt x="11195" y="463"/>
                  <a:pt x="11195" y="463"/>
                </a:cubicBezTo>
                <a:cubicBezTo>
                  <a:pt x="11158" y="452"/>
                  <a:pt x="11158" y="452"/>
                  <a:pt x="11158" y="452"/>
                </a:cubicBezTo>
                <a:cubicBezTo>
                  <a:pt x="11141" y="440"/>
                  <a:pt x="11141" y="440"/>
                  <a:pt x="11141" y="440"/>
                </a:cubicBezTo>
                <a:cubicBezTo>
                  <a:pt x="11141" y="440"/>
                  <a:pt x="11179" y="450"/>
                  <a:pt x="11185" y="445"/>
                </a:cubicBezTo>
                <a:cubicBezTo>
                  <a:pt x="11191" y="440"/>
                  <a:pt x="11162" y="426"/>
                  <a:pt x="11162" y="426"/>
                </a:cubicBezTo>
                <a:cubicBezTo>
                  <a:pt x="11139" y="426"/>
                  <a:pt x="11139" y="426"/>
                  <a:pt x="11139" y="426"/>
                </a:cubicBezTo>
                <a:cubicBezTo>
                  <a:pt x="11139" y="426"/>
                  <a:pt x="11150" y="420"/>
                  <a:pt x="11143" y="415"/>
                </a:cubicBezTo>
                <a:cubicBezTo>
                  <a:pt x="11136" y="410"/>
                  <a:pt x="11116" y="410"/>
                  <a:pt x="11116" y="410"/>
                </a:cubicBezTo>
                <a:cubicBezTo>
                  <a:pt x="11124" y="401"/>
                  <a:pt x="11124" y="401"/>
                  <a:pt x="11124" y="401"/>
                </a:cubicBezTo>
                <a:cubicBezTo>
                  <a:pt x="11124" y="401"/>
                  <a:pt x="11092" y="392"/>
                  <a:pt x="11088" y="392"/>
                </a:cubicBezTo>
                <a:cubicBezTo>
                  <a:pt x="11084" y="392"/>
                  <a:pt x="11069" y="382"/>
                  <a:pt x="11069" y="382"/>
                </a:cubicBezTo>
                <a:cubicBezTo>
                  <a:pt x="11038" y="382"/>
                  <a:pt x="11038" y="382"/>
                  <a:pt x="11038" y="382"/>
                </a:cubicBezTo>
                <a:cubicBezTo>
                  <a:pt x="11038" y="382"/>
                  <a:pt x="11047" y="385"/>
                  <a:pt x="11024" y="386"/>
                </a:cubicBezTo>
                <a:cubicBezTo>
                  <a:pt x="11001" y="387"/>
                  <a:pt x="10986" y="379"/>
                  <a:pt x="10986" y="379"/>
                </a:cubicBezTo>
                <a:cubicBezTo>
                  <a:pt x="10972" y="385"/>
                  <a:pt x="10972" y="385"/>
                  <a:pt x="10972" y="385"/>
                </a:cubicBezTo>
                <a:cubicBezTo>
                  <a:pt x="10970" y="376"/>
                  <a:pt x="10970" y="376"/>
                  <a:pt x="10970" y="376"/>
                </a:cubicBezTo>
                <a:cubicBezTo>
                  <a:pt x="10938" y="370"/>
                  <a:pt x="10938" y="370"/>
                  <a:pt x="10938" y="370"/>
                </a:cubicBezTo>
                <a:cubicBezTo>
                  <a:pt x="10931" y="364"/>
                  <a:pt x="10931" y="364"/>
                  <a:pt x="10931" y="364"/>
                </a:cubicBezTo>
                <a:cubicBezTo>
                  <a:pt x="10926" y="377"/>
                  <a:pt x="10926" y="377"/>
                  <a:pt x="10926" y="377"/>
                </a:cubicBezTo>
                <a:cubicBezTo>
                  <a:pt x="10917" y="378"/>
                  <a:pt x="10917" y="378"/>
                  <a:pt x="10917" y="378"/>
                </a:cubicBezTo>
                <a:cubicBezTo>
                  <a:pt x="10935" y="393"/>
                  <a:pt x="10935" y="393"/>
                  <a:pt x="10935" y="393"/>
                </a:cubicBezTo>
                <a:cubicBezTo>
                  <a:pt x="10952" y="413"/>
                  <a:pt x="10952" y="413"/>
                  <a:pt x="10952" y="413"/>
                </a:cubicBezTo>
                <a:cubicBezTo>
                  <a:pt x="10918" y="409"/>
                  <a:pt x="10918" y="409"/>
                  <a:pt x="10918" y="409"/>
                </a:cubicBezTo>
                <a:cubicBezTo>
                  <a:pt x="10914" y="403"/>
                  <a:pt x="10914" y="403"/>
                  <a:pt x="10914" y="403"/>
                </a:cubicBezTo>
                <a:cubicBezTo>
                  <a:pt x="10870" y="406"/>
                  <a:pt x="10870" y="406"/>
                  <a:pt x="10870" y="406"/>
                </a:cubicBezTo>
                <a:cubicBezTo>
                  <a:pt x="10859" y="410"/>
                  <a:pt x="10859" y="410"/>
                  <a:pt x="10859" y="410"/>
                </a:cubicBezTo>
                <a:cubicBezTo>
                  <a:pt x="10858" y="402"/>
                  <a:pt x="10858" y="402"/>
                  <a:pt x="10858" y="402"/>
                </a:cubicBezTo>
                <a:cubicBezTo>
                  <a:pt x="10829" y="408"/>
                  <a:pt x="10829" y="408"/>
                  <a:pt x="10829" y="408"/>
                </a:cubicBezTo>
                <a:cubicBezTo>
                  <a:pt x="10824" y="400"/>
                  <a:pt x="10824" y="400"/>
                  <a:pt x="10824" y="400"/>
                </a:cubicBezTo>
                <a:cubicBezTo>
                  <a:pt x="10786" y="401"/>
                  <a:pt x="10786" y="401"/>
                  <a:pt x="10786" y="401"/>
                </a:cubicBezTo>
                <a:cubicBezTo>
                  <a:pt x="10764" y="394"/>
                  <a:pt x="10764" y="394"/>
                  <a:pt x="10764" y="394"/>
                </a:cubicBezTo>
                <a:cubicBezTo>
                  <a:pt x="10775" y="380"/>
                  <a:pt x="10775" y="380"/>
                  <a:pt x="10775" y="380"/>
                </a:cubicBezTo>
                <a:cubicBezTo>
                  <a:pt x="10690" y="379"/>
                  <a:pt x="10690" y="379"/>
                  <a:pt x="10690" y="379"/>
                </a:cubicBezTo>
                <a:cubicBezTo>
                  <a:pt x="10685" y="373"/>
                  <a:pt x="10685" y="373"/>
                  <a:pt x="10685" y="373"/>
                </a:cubicBezTo>
                <a:cubicBezTo>
                  <a:pt x="10679" y="376"/>
                  <a:pt x="10679" y="376"/>
                  <a:pt x="10679" y="376"/>
                </a:cubicBezTo>
                <a:cubicBezTo>
                  <a:pt x="10673" y="372"/>
                  <a:pt x="10673" y="372"/>
                  <a:pt x="10673" y="372"/>
                </a:cubicBezTo>
                <a:cubicBezTo>
                  <a:pt x="10638" y="374"/>
                  <a:pt x="10638" y="374"/>
                  <a:pt x="10638" y="374"/>
                </a:cubicBezTo>
                <a:cubicBezTo>
                  <a:pt x="10642" y="382"/>
                  <a:pt x="10642" y="382"/>
                  <a:pt x="10642" y="382"/>
                </a:cubicBezTo>
                <a:cubicBezTo>
                  <a:pt x="10605" y="378"/>
                  <a:pt x="10605" y="378"/>
                  <a:pt x="10605" y="378"/>
                </a:cubicBezTo>
                <a:cubicBezTo>
                  <a:pt x="10595" y="383"/>
                  <a:pt x="10595" y="383"/>
                  <a:pt x="10595" y="383"/>
                </a:cubicBezTo>
                <a:cubicBezTo>
                  <a:pt x="10616" y="390"/>
                  <a:pt x="10616" y="390"/>
                  <a:pt x="10616" y="390"/>
                </a:cubicBezTo>
                <a:cubicBezTo>
                  <a:pt x="10589" y="389"/>
                  <a:pt x="10589" y="389"/>
                  <a:pt x="10589" y="389"/>
                </a:cubicBezTo>
                <a:cubicBezTo>
                  <a:pt x="10586" y="377"/>
                  <a:pt x="10586" y="377"/>
                  <a:pt x="10586" y="377"/>
                </a:cubicBezTo>
                <a:cubicBezTo>
                  <a:pt x="10569" y="362"/>
                  <a:pt x="10569" y="362"/>
                  <a:pt x="10569" y="362"/>
                </a:cubicBezTo>
                <a:cubicBezTo>
                  <a:pt x="10555" y="362"/>
                  <a:pt x="10555" y="362"/>
                  <a:pt x="10555" y="362"/>
                </a:cubicBezTo>
                <a:cubicBezTo>
                  <a:pt x="10562" y="377"/>
                  <a:pt x="10562" y="377"/>
                  <a:pt x="10562" y="377"/>
                </a:cubicBezTo>
                <a:cubicBezTo>
                  <a:pt x="10527" y="377"/>
                  <a:pt x="10527" y="377"/>
                  <a:pt x="10527" y="377"/>
                </a:cubicBezTo>
                <a:cubicBezTo>
                  <a:pt x="10523" y="372"/>
                  <a:pt x="10523" y="372"/>
                  <a:pt x="10523" y="372"/>
                </a:cubicBezTo>
                <a:cubicBezTo>
                  <a:pt x="10514" y="372"/>
                  <a:pt x="10514" y="372"/>
                  <a:pt x="10514" y="372"/>
                </a:cubicBezTo>
                <a:cubicBezTo>
                  <a:pt x="10510" y="362"/>
                  <a:pt x="10510" y="362"/>
                  <a:pt x="10510" y="362"/>
                </a:cubicBezTo>
                <a:cubicBezTo>
                  <a:pt x="10501" y="362"/>
                  <a:pt x="10501" y="362"/>
                  <a:pt x="10501" y="362"/>
                </a:cubicBezTo>
                <a:cubicBezTo>
                  <a:pt x="10490" y="365"/>
                  <a:pt x="10490" y="365"/>
                  <a:pt x="10490" y="365"/>
                </a:cubicBezTo>
                <a:cubicBezTo>
                  <a:pt x="10474" y="357"/>
                  <a:pt x="10474" y="357"/>
                  <a:pt x="10474" y="357"/>
                </a:cubicBezTo>
                <a:cubicBezTo>
                  <a:pt x="10454" y="371"/>
                  <a:pt x="10454" y="371"/>
                  <a:pt x="10454" y="371"/>
                </a:cubicBezTo>
                <a:cubicBezTo>
                  <a:pt x="10490" y="375"/>
                  <a:pt x="10490" y="375"/>
                  <a:pt x="10490" y="375"/>
                </a:cubicBezTo>
                <a:cubicBezTo>
                  <a:pt x="10498" y="376"/>
                  <a:pt x="10498" y="376"/>
                  <a:pt x="10498" y="376"/>
                </a:cubicBezTo>
                <a:cubicBezTo>
                  <a:pt x="10498" y="376"/>
                  <a:pt x="10485" y="387"/>
                  <a:pt x="10478" y="387"/>
                </a:cubicBezTo>
                <a:cubicBezTo>
                  <a:pt x="10471" y="387"/>
                  <a:pt x="10466" y="386"/>
                  <a:pt x="10460" y="388"/>
                </a:cubicBezTo>
                <a:cubicBezTo>
                  <a:pt x="10454" y="390"/>
                  <a:pt x="10452" y="396"/>
                  <a:pt x="10447" y="396"/>
                </a:cubicBezTo>
                <a:cubicBezTo>
                  <a:pt x="10442" y="396"/>
                  <a:pt x="10398" y="397"/>
                  <a:pt x="10398" y="397"/>
                </a:cubicBezTo>
                <a:cubicBezTo>
                  <a:pt x="10376" y="400"/>
                  <a:pt x="10376" y="400"/>
                  <a:pt x="10376" y="400"/>
                </a:cubicBezTo>
                <a:cubicBezTo>
                  <a:pt x="10366" y="417"/>
                  <a:pt x="10366" y="417"/>
                  <a:pt x="10366" y="417"/>
                </a:cubicBezTo>
                <a:cubicBezTo>
                  <a:pt x="10350" y="413"/>
                  <a:pt x="10350" y="413"/>
                  <a:pt x="10350" y="413"/>
                </a:cubicBezTo>
                <a:cubicBezTo>
                  <a:pt x="10350" y="413"/>
                  <a:pt x="10353" y="397"/>
                  <a:pt x="10361" y="393"/>
                </a:cubicBezTo>
                <a:cubicBezTo>
                  <a:pt x="10369" y="389"/>
                  <a:pt x="10381" y="389"/>
                  <a:pt x="10381" y="389"/>
                </a:cubicBezTo>
                <a:cubicBezTo>
                  <a:pt x="10386" y="378"/>
                  <a:pt x="10386" y="378"/>
                  <a:pt x="10386" y="378"/>
                </a:cubicBezTo>
                <a:cubicBezTo>
                  <a:pt x="10414" y="375"/>
                  <a:pt x="10414" y="375"/>
                  <a:pt x="10414" y="375"/>
                </a:cubicBezTo>
                <a:cubicBezTo>
                  <a:pt x="10444" y="353"/>
                  <a:pt x="10444" y="353"/>
                  <a:pt x="10444" y="353"/>
                </a:cubicBezTo>
                <a:cubicBezTo>
                  <a:pt x="10444" y="353"/>
                  <a:pt x="10443" y="340"/>
                  <a:pt x="10455" y="335"/>
                </a:cubicBezTo>
                <a:cubicBezTo>
                  <a:pt x="10467" y="330"/>
                  <a:pt x="10516" y="331"/>
                  <a:pt x="10514" y="313"/>
                </a:cubicBezTo>
                <a:cubicBezTo>
                  <a:pt x="10512" y="295"/>
                  <a:pt x="10497" y="291"/>
                  <a:pt x="10497" y="291"/>
                </a:cubicBezTo>
                <a:cubicBezTo>
                  <a:pt x="10470" y="293"/>
                  <a:pt x="10470" y="293"/>
                  <a:pt x="10470" y="293"/>
                </a:cubicBezTo>
                <a:cubicBezTo>
                  <a:pt x="10493" y="283"/>
                  <a:pt x="10493" y="283"/>
                  <a:pt x="10493" y="283"/>
                </a:cubicBezTo>
                <a:cubicBezTo>
                  <a:pt x="10493" y="283"/>
                  <a:pt x="10473" y="268"/>
                  <a:pt x="10468" y="269"/>
                </a:cubicBezTo>
                <a:cubicBezTo>
                  <a:pt x="10463" y="270"/>
                  <a:pt x="10446" y="271"/>
                  <a:pt x="10446" y="271"/>
                </a:cubicBezTo>
                <a:cubicBezTo>
                  <a:pt x="10446" y="271"/>
                  <a:pt x="10440" y="255"/>
                  <a:pt x="10427" y="255"/>
                </a:cubicBezTo>
                <a:cubicBezTo>
                  <a:pt x="10414" y="255"/>
                  <a:pt x="10400" y="260"/>
                  <a:pt x="10400" y="260"/>
                </a:cubicBezTo>
                <a:cubicBezTo>
                  <a:pt x="10364" y="251"/>
                  <a:pt x="10364" y="251"/>
                  <a:pt x="10364" y="251"/>
                </a:cubicBezTo>
                <a:cubicBezTo>
                  <a:pt x="10270" y="248"/>
                  <a:pt x="10270" y="248"/>
                  <a:pt x="10270" y="248"/>
                </a:cubicBezTo>
                <a:cubicBezTo>
                  <a:pt x="10273" y="260"/>
                  <a:pt x="10273" y="260"/>
                  <a:pt x="10273" y="260"/>
                </a:cubicBezTo>
                <a:cubicBezTo>
                  <a:pt x="10228" y="260"/>
                  <a:pt x="10228" y="260"/>
                  <a:pt x="10228" y="260"/>
                </a:cubicBezTo>
                <a:cubicBezTo>
                  <a:pt x="10228" y="260"/>
                  <a:pt x="10247" y="243"/>
                  <a:pt x="10235" y="238"/>
                </a:cubicBezTo>
                <a:cubicBezTo>
                  <a:pt x="10223" y="233"/>
                  <a:pt x="10172" y="239"/>
                  <a:pt x="10172" y="239"/>
                </a:cubicBezTo>
                <a:cubicBezTo>
                  <a:pt x="10131" y="235"/>
                  <a:pt x="10131" y="235"/>
                  <a:pt x="10131" y="235"/>
                </a:cubicBezTo>
                <a:cubicBezTo>
                  <a:pt x="10131" y="235"/>
                  <a:pt x="10178" y="233"/>
                  <a:pt x="10172" y="224"/>
                </a:cubicBezTo>
                <a:cubicBezTo>
                  <a:pt x="10166" y="215"/>
                  <a:pt x="10119" y="214"/>
                  <a:pt x="10119" y="214"/>
                </a:cubicBezTo>
                <a:cubicBezTo>
                  <a:pt x="10091" y="210"/>
                  <a:pt x="10091" y="210"/>
                  <a:pt x="10091" y="210"/>
                </a:cubicBezTo>
                <a:cubicBezTo>
                  <a:pt x="10088" y="220"/>
                  <a:pt x="10088" y="220"/>
                  <a:pt x="10088" y="220"/>
                </a:cubicBezTo>
                <a:cubicBezTo>
                  <a:pt x="10088" y="220"/>
                  <a:pt x="10039" y="218"/>
                  <a:pt x="10043" y="232"/>
                </a:cubicBezTo>
                <a:cubicBezTo>
                  <a:pt x="10047" y="246"/>
                  <a:pt x="10093" y="261"/>
                  <a:pt x="10093" y="261"/>
                </a:cubicBezTo>
                <a:cubicBezTo>
                  <a:pt x="9997" y="255"/>
                  <a:pt x="9997" y="255"/>
                  <a:pt x="9997" y="255"/>
                </a:cubicBezTo>
                <a:cubicBezTo>
                  <a:pt x="10031" y="269"/>
                  <a:pt x="10031" y="269"/>
                  <a:pt x="10031" y="269"/>
                </a:cubicBezTo>
                <a:cubicBezTo>
                  <a:pt x="9996" y="274"/>
                  <a:pt x="9996" y="274"/>
                  <a:pt x="9996" y="274"/>
                </a:cubicBezTo>
                <a:cubicBezTo>
                  <a:pt x="9996" y="274"/>
                  <a:pt x="9939" y="292"/>
                  <a:pt x="9929" y="286"/>
                </a:cubicBezTo>
                <a:cubicBezTo>
                  <a:pt x="9919" y="280"/>
                  <a:pt x="9934" y="268"/>
                  <a:pt x="9934" y="268"/>
                </a:cubicBezTo>
                <a:cubicBezTo>
                  <a:pt x="9934" y="268"/>
                  <a:pt x="9886" y="268"/>
                  <a:pt x="9877" y="270"/>
                </a:cubicBezTo>
                <a:cubicBezTo>
                  <a:pt x="9868" y="272"/>
                  <a:pt x="9854" y="284"/>
                  <a:pt x="9854" y="284"/>
                </a:cubicBezTo>
                <a:cubicBezTo>
                  <a:pt x="9854" y="284"/>
                  <a:pt x="9791" y="289"/>
                  <a:pt x="9776" y="292"/>
                </a:cubicBezTo>
                <a:cubicBezTo>
                  <a:pt x="9761" y="295"/>
                  <a:pt x="9728" y="302"/>
                  <a:pt x="9728" y="302"/>
                </a:cubicBezTo>
                <a:cubicBezTo>
                  <a:pt x="9699" y="325"/>
                  <a:pt x="9699" y="325"/>
                  <a:pt x="9699" y="325"/>
                </a:cubicBezTo>
                <a:cubicBezTo>
                  <a:pt x="9699" y="325"/>
                  <a:pt x="9667" y="323"/>
                  <a:pt x="9681" y="337"/>
                </a:cubicBezTo>
                <a:cubicBezTo>
                  <a:pt x="9695" y="351"/>
                  <a:pt x="9720" y="361"/>
                  <a:pt x="9720" y="361"/>
                </a:cubicBezTo>
                <a:cubicBezTo>
                  <a:pt x="9690" y="367"/>
                  <a:pt x="9690" y="367"/>
                  <a:pt x="9690" y="367"/>
                </a:cubicBezTo>
                <a:cubicBezTo>
                  <a:pt x="9676" y="376"/>
                  <a:pt x="9676" y="376"/>
                  <a:pt x="9676" y="376"/>
                </a:cubicBezTo>
                <a:cubicBezTo>
                  <a:pt x="9609" y="374"/>
                  <a:pt x="9609" y="374"/>
                  <a:pt x="9609" y="374"/>
                </a:cubicBezTo>
                <a:cubicBezTo>
                  <a:pt x="9604" y="379"/>
                  <a:pt x="9604" y="379"/>
                  <a:pt x="9604" y="379"/>
                </a:cubicBezTo>
                <a:cubicBezTo>
                  <a:pt x="9579" y="370"/>
                  <a:pt x="9579" y="370"/>
                  <a:pt x="9579" y="370"/>
                </a:cubicBezTo>
                <a:cubicBezTo>
                  <a:pt x="9568" y="377"/>
                  <a:pt x="9568" y="377"/>
                  <a:pt x="9568" y="377"/>
                </a:cubicBezTo>
                <a:cubicBezTo>
                  <a:pt x="9568" y="377"/>
                  <a:pt x="9530" y="373"/>
                  <a:pt x="9528" y="381"/>
                </a:cubicBezTo>
                <a:cubicBezTo>
                  <a:pt x="9526" y="389"/>
                  <a:pt x="9527" y="404"/>
                  <a:pt x="9538" y="406"/>
                </a:cubicBezTo>
                <a:cubicBezTo>
                  <a:pt x="9549" y="408"/>
                  <a:pt x="9555" y="424"/>
                  <a:pt x="9555" y="424"/>
                </a:cubicBezTo>
                <a:cubicBezTo>
                  <a:pt x="9555" y="424"/>
                  <a:pt x="9590" y="434"/>
                  <a:pt x="9599" y="434"/>
                </a:cubicBezTo>
                <a:cubicBezTo>
                  <a:pt x="9608" y="434"/>
                  <a:pt x="9627" y="439"/>
                  <a:pt x="9634" y="442"/>
                </a:cubicBezTo>
                <a:cubicBezTo>
                  <a:pt x="9641" y="445"/>
                  <a:pt x="9657" y="461"/>
                  <a:pt x="9646" y="461"/>
                </a:cubicBezTo>
                <a:cubicBezTo>
                  <a:pt x="9635" y="461"/>
                  <a:pt x="9611" y="463"/>
                  <a:pt x="9611" y="463"/>
                </a:cubicBezTo>
                <a:cubicBezTo>
                  <a:pt x="9611" y="463"/>
                  <a:pt x="9565" y="443"/>
                  <a:pt x="9549" y="439"/>
                </a:cubicBezTo>
                <a:cubicBezTo>
                  <a:pt x="9533" y="435"/>
                  <a:pt x="9509" y="432"/>
                  <a:pt x="9501" y="432"/>
                </a:cubicBezTo>
                <a:cubicBezTo>
                  <a:pt x="9493" y="432"/>
                  <a:pt x="9472" y="430"/>
                  <a:pt x="9474" y="438"/>
                </a:cubicBezTo>
                <a:cubicBezTo>
                  <a:pt x="9476" y="446"/>
                  <a:pt x="9502" y="456"/>
                  <a:pt x="9485" y="457"/>
                </a:cubicBezTo>
                <a:cubicBezTo>
                  <a:pt x="9468" y="458"/>
                  <a:pt x="9462" y="446"/>
                  <a:pt x="9452" y="446"/>
                </a:cubicBezTo>
                <a:cubicBezTo>
                  <a:pt x="9442" y="446"/>
                  <a:pt x="9428" y="436"/>
                  <a:pt x="9427" y="449"/>
                </a:cubicBezTo>
                <a:cubicBezTo>
                  <a:pt x="9426" y="462"/>
                  <a:pt x="9440" y="475"/>
                  <a:pt x="9455" y="474"/>
                </a:cubicBezTo>
                <a:cubicBezTo>
                  <a:pt x="9470" y="473"/>
                  <a:pt x="9493" y="480"/>
                  <a:pt x="9503" y="480"/>
                </a:cubicBezTo>
                <a:cubicBezTo>
                  <a:pt x="9513" y="480"/>
                  <a:pt x="9529" y="496"/>
                  <a:pt x="9529" y="496"/>
                </a:cubicBezTo>
                <a:cubicBezTo>
                  <a:pt x="9508" y="496"/>
                  <a:pt x="9508" y="496"/>
                  <a:pt x="9508" y="496"/>
                </a:cubicBezTo>
                <a:cubicBezTo>
                  <a:pt x="9508" y="496"/>
                  <a:pt x="9502" y="486"/>
                  <a:pt x="9488" y="486"/>
                </a:cubicBezTo>
                <a:cubicBezTo>
                  <a:pt x="9474" y="486"/>
                  <a:pt x="9431" y="484"/>
                  <a:pt x="9431" y="484"/>
                </a:cubicBezTo>
                <a:cubicBezTo>
                  <a:pt x="9428" y="476"/>
                  <a:pt x="9428" y="476"/>
                  <a:pt x="9428" y="476"/>
                </a:cubicBezTo>
                <a:cubicBezTo>
                  <a:pt x="9411" y="476"/>
                  <a:pt x="9411" y="476"/>
                  <a:pt x="9411" y="476"/>
                </a:cubicBezTo>
                <a:cubicBezTo>
                  <a:pt x="9408" y="465"/>
                  <a:pt x="9408" y="465"/>
                  <a:pt x="9408" y="465"/>
                </a:cubicBezTo>
                <a:cubicBezTo>
                  <a:pt x="9386" y="454"/>
                  <a:pt x="9386" y="454"/>
                  <a:pt x="9386" y="454"/>
                </a:cubicBezTo>
                <a:cubicBezTo>
                  <a:pt x="9386" y="454"/>
                  <a:pt x="9411" y="442"/>
                  <a:pt x="9401" y="433"/>
                </a:cubicBezTo>
                <a:cubicBezTo>
                  <a:pt x="9391" y="424"/>
                  <a:pt x="9377" y="413"/>
                  <a:pt x="9377" y="413"/>
                </a:cubicBezTo>
                <a:cubicBezTo>
                  <a:pt x="9356" y="412"/>
                  <a:pt x="9356" y="412"/>
                  <a:pt x="9356" y="412"/>
                </a:cubicBezTo>
                <a:cubicBezTo>
                  <a:pt x="9356" y="412"/>
                  <a:pt x="9386" y="429"/>
                  <a:pt x="9377" y="437"/>
                </a:cubicBezTo>
                <a:cubicBezTo>
                  <a:pt x="9368" y="445"/>
                  <a:pt x="9348" y="448"/>
                  <a:pt x="9348" y="448"/>
                </a:cubicBezTo>
                <a:cubicBezTo>
                  <a:pt x="9335" y="475"/>
                  <a:pt x="9335" y="475"/>
                  <a:pt x="9335" y="475"/>
                </a:cubicBezTo>
                <a:cubicBezTo>
                  <a:pt x="9384" y="500"/>
                  <a:pt x="9384" y="500"/>
                  <a:pt x="9384" y="500"/>
                </a:cubicBezTo>
                <a:cubicBezTo>
                  <a:pt x="9384" y="500"/>
                  <a:pt x="9397" y="495"/>
                  <a:pt x="9397" y="501"/>
                </a:cubicBezTo>
                <a:cubicBezTo>
                  <a:pt x="9397" y="507"/>
                  <a:pt x="9390" y="538"/>
                  <a:pt x="9390" y="538"/>
                </a:cubicBezTo>
                <a:cubicBezTo>
                  <a:pt x="9397" y="551"/>
                  <a:pt x="9397" y="551"/>
                  <a:pt x="9397" y="551"/>
                </a:cubicBezTo>
                <a:cubicBezTo>
                  <a:pt x="9421" y="555"/>
                  <a:pt x="9421" y="555"/>
                  <a:pt x="9421" y="555"/>
                </a:cubicBezTo>
                <a:cubicBezTo>
                  <a:pt x="9420" y="573"/>
                  <a:pt x="9420" y="573"/>
                  <a:pt x="9420" y="573"/>
                </a:cubicBezTo>
                <a:cubicBezTo>
                  <a:pt x="9460" y="581"/>
                  <a:pt x="9460" y="581"/>
                  <a:pt x="9460" y="581"/>
                </a:cubicBezTo>
                <a:cubicBezTo>
                  <a:pt x="9460" y="581"/>
                  <a:pt x="9490" y="569"/>
                  <a:pt x="9504" y="570"/>
                </a:cubicBezTo>
                <a:cubicBezTo>
                  <a:pt x="9518" y="571"/>
                  <a:pt x="9536" y="583"/>
                  <a:pt x="9536" y="583"/>
                </a:cubicBezTo>
                <a:cubicBezTo>
                  <a:pt x="9536" y="583"/>
                  <a:pt x="9565" y="587"/>
                  <a:pt x="9578" y="596"/>
                </a:cubicBezTo>
                <a:cubicBezTo>
                  <a:pt x="9591" y="605"/>
                  <a:pt x="9594" y="616"/>
                  <a:pt x="9594" y="616"/>
                </a:cubicBezTo>
                <a:cubicBezTo>
                  <a:pt x="9594" y="616"/>
                  <a:pt x="9561" y="620"/>
                  <a:pt x="9574" y="628"/>
                </a:cubicBezTo>
                <a:cubicBezTo>
                  <a:pt x="9587" y="636"/>
                  <a:pt x="9601" y="643"/>
                  <a:pt x="9601" y="643"/>
                </a:cubicBezTo>
                <a:cubicBezTo>
                  <a:pt x="9629" y="642"/>
                  <a:pt x="9629" y="642"/>
                  <a:pt x="9629" y="642"/>
                </a:cubicBezTo>
                <a:cubicBezTo>
                  <a:pt x="9629" y="642"/>
                  <a:pt x="9613" y="650"/>
                  <a:pt x="9600" y="650"/>
                </a:cubicBezTo>
                <a:cubicBezTo>
                  <a:pt x="9587" y="650"/>
                  <a:pt x="9571" y="641"/>
                  <a:pt x="9571" y="641"/>
                </a:cubicBezTo>
                <a:cubicBezTo>
                  <a:pt x="9571" y="641"/>
                  <a:pt x="9572" y="618"/>
                  <a:pt x="9557" y="609"/>
                </a:cubicBezTo>
                <a:cubicBezTo>
                  <a:pt x="9542" y="600"/>
                  <a:pt x="9530" y="595"/>
                  <a:pt x="9530" y="595"/>
                </a:cubicBezTo>
                <a:cubicBezTo>
                  <a:pt x="9530" y="595"/>
                  <a:pt x="9526" y="580"/>
                  <a:pt x="9514" y="581"/>
                </a:cubicBezTo>
                <a:cubicBezTo>
                  <a:pt x="9502" y="582"/>
                  <a:pt x="9470" y="588"/>
                  <a:pt x="9470" y="588"/>
                </a:cubicBezTo>
                <a:cubicBezTo>
                  <a:pt x="9470" y="588"/>
                  <a:pt x="9452" y="590"/>
                  <a:pt x="9453" y="601"/>
                </a:cubicBezTo>
                <a:cubicBezTo>
                  <a:pt x="9454" y="612"/>
                  <a:pt x="9486" y="630"/>
                  <a:pt x="9486" y="634"/>
                </a:cubicBezTo>
                <a:cubicBezTo>
                  <a:pt x="9486" y="638"/>
                  <a:pt x="9467" y="650"/>
                  <a:pt x="9467" y="650"/>
                </a:cubicBezTo>
                <a:cubicBezTo>
                  <a:pt x="9465" y="679"/>
                  <a:pt x="9465" y="679"/>
                  <a:pt x="9465" y="679"/>
                </a:cubicBezTo>
                <a:cubicBezTo>
                  <a:pt x="9437" y="693"/>
                  <a:pt x="9437" y="693"/>
                  <a:pt x="9437" y="693"/>
                </a:cubicBezTo>
                <a:cubicBezTo>
                  <a:pt x="9437" y="693"/>
                  <a:pt x="9431" y="714"/>
                  <a:pt x="9418" y="708"/>
                </a:cubicBezTo>
                <a:cubicBezTo>
                  <a:pt x="9405" y="702"/>
                  <a:pt x="9379" y="704"/>
                  <a:pt x="9379" y="704"/>
                </a:cubicBezTo>
                <a:cubicBezTo>
                  <a:pt x="9341" y="700"/>
                  <a:pt x="9341" y="700"/>
                  <a:pt x="9341" y="700"/>
                </a:cubicBezTo>
                <a:cubicBezTo>
                  <a:pt x="9341" y="700"/>
                  <a:pt x="9298" y="685"/>
                  <a:pt x="9309" y="684"/>
                </a:cubicBezTo>
                <a:cubicBezTo>
                  <a:pt x="9320" y="683"/>
                  <a:pt x="9343" y="682"/>
                  <a:pt x="9343" y="682"/>
                </a:cubicBezTo>
                <a:cubicBezTo>
                  <a:pt x="9356" y="686"/>
                  <a:pt x="9356" y="686"/>
                  <a:pt x="9356" y="686"/>
                </a:cubicBezTo>
                <a:cubicBezTo>
                  <a:pt x="9371" y="675"/>
                  <a:pt x="9371" y="675"/>
                  <a:pt x="9371" y="675"/>
                </a:cubicBezTo>
                <a:cubicBezTo>
                  <a:pt x="9371" y="675"/>
                  <a:pt x="9409" y="684"/>
                  <a:pt x="9409" y="673"/>
                </a:cubicBezTo>
                <a:cubicBezTo>
                  <a:pt x="9409" y="662"/>
                  <a:pt x="9411" y="647"/>
                  <a:pt x="9411" y="647"/>
                </a:cubicBezTo>
                <a:cubicBezTo>
                  <a:pt x="9427" y="642"/>
                  <a:pt x="9427" y="642"/>
                  <a:pt x="9427" y="642"/>
                </a:cubicBezTo>
                <a:cubicBezTo>
                  <a:pt x="9429" y="628"/>
                  <a:pt x="9429" y="628"/>
                  <a:pt x="9429" y="628"/>
                </a:cubicBezTo>
                <a:cubicBezTo>
                  <a:pt x="9418" y="626"/>
                  <a:pt x="9418" y="626"/>
                  <a:pt x="9418" y="626"/>
                </a:cubicBezTo>
                <a:cubicBezTo>
                  <a:pt x="9418" y="626"/>
                  <a:pt x="9434" y="606"/>
                  <a:pt x="9424" y="602"/>
                </a:cubicBezTo>
                <a:cubicBezTo>
                  <a:pt x="9414" y="598"/>
                  <a:pt x="9371" y="600"/>
                  <a:pt x="9369" y="584"/>
                </a:cubicBezTo>
                <a:cubicBezTo>
                  <a:pt x="9367" y="568"/>
                  <a:pt x="9369" y="549"/>
                  <a:pt x="9360" y="544"/>
                </a:cubicBezTo>
                <a:cubicBezTo>
                  <a:pt x="9351" y="539"/>
                  <a:pt x="9338" y="523"/>
                  <a:pt x="9338" y="523"/>
                </a:cubicBezTo>
                <a:cubicBezTo>
                  <a:pt x="9334" y="499"/>
                  <a:pt x="9334" y="499"/>
                  <a:pt x="9334" y="499"/>
                </a:cubicBezTo>
                <a:cubicBezTo>
                  <a:pt x="9292" y="476"/>
                  <a:pt x="9292" y="476"/>
                  <a:pt x="9292" y="476"/>
                </a:cubicBezTo>
                <a:cubicBezTo>
                  <a:pt x="9292" y="476"/>
                  <a:pt x="9319" y="455"/>
                  <a:pt x="9305" y="435"/>
                </a:cubicBezTo>
                <a:cubicBezTo>
                  <a:pt x="9291" y="415"/>
                  <a:pt x="9259" y="415"/>
                  <a:pt x="9259" y="415"/>
                </a:cubicBezTo>
                <a:cubicBezTo>
                  <a:pt x="9170" y="407"/>
                  <a:pt x="9170" y="407"/>
                  <a:pt x="9170" y="407"/>
                </a:cubicBezTo>
                <a:cubicBezTo>
                  <a:pt x="9163" y="427"/>
                  <a:pt x="9163" y="427"/>
                  <a:pt x="9163" y="427"/>
                </a:cubicBezTo>
                <a:cubicBezTo>
                  <a:pt x="9174" y="438"/>
                  <a:pt x="9174" y="438"/>
                  <a:pt x="9174" y="438"/>
                </a:cubicBezTo>
                <a:cubicBezTo>
                  <a:pt x="9169" y="461"/>
                  <a:pt x="9169" y="461"/>
                  <a:pt x="9169" y="461"/>
                </a:cubicBezTo>
                <a:cubicBezTo>
                  <a:pt x="9131" y="477"/>
                  <a:pt x="9131" y="477"/>
                  <a:pt x="9131" y="477"/>
                </a:cubicBezTo>
                <a:cubicBezTo>
                  <a:pt x="9125" y="496"/>
                  <a:pt x="9125" y="496"/>
                  <a:pt x="9125" y="496"/>
                </a:cubicBezTo>
                <a:cubicBezTo>
                  <a:pt x="9146" y="498"/>
                  <a:pt x="9146" y="498"/>
                  <a:pt x="9146" y="498"/>
                </a:cubicBezTo>
                <a:cubicBezTo>
                  <a:pt x="9169" y="533"/>
                  <a:pt x="9169" y="533"/>
                  <a:pt x="9169" y="533"/>
                </a:cubicBezTo>
                <a:cubicBezTo>
                  <a:pt x="9160" y="545"/>
                  <a:pt x="9160" y="545"/>
                  <a:pt x="9160" y="545"/>
                </a:cubicBezTo>
                <a:cubicBezTo>
                  <a:pt x="9179" y="560"/>
                  <a:pt x="9179" y="560"/>
                  <a:pt x="9179" y="560"/>
                </a:cubicBezTo>
                <a:cubicBezTo>
                  <a:pt x="9202" y="554"/>
                  <a:pt x="9202" y="554"/>
                  <a:pt x="9202" y="554"/>
                </a:cubicBezTo>
                <a:cubicBezTo>
                  <a:pt x="9202" y="554"/>
                  <a:pt x="9220" y="575"/>
                  <a:pt x="9233" y="578"/>
                </a:cubicBezTo>
                <a:cubicBezTo>
                  <a:pt x="9246" y="581"/>
                  <a:pt x="9259" y="581"/>
                  <a:pt x="9259" y="581"/>
                </a:cubicBezTo>
                <a:cubicBezTo>
                  <a:pt x="9256" y="618"/>
                  <a:pt x="9256" y="618"/>
                  <a:pt x="9256" y="618"/>
                </a:cubicBezTo>
                <a:cubicBezTo>
                  <a:pt x="9243" y="604"/>
                  <a:pt x="9243" y="604"/>
                  <a:pt x="9243" y="604"/>
                </a:cubicBezTo>
                <a:cubicBezTo>
                  <a:pt x="9233" y="610"/>
                  <a:pt x="9233" y="610"/>
                  <a:pt x="9233" y="610"/>
                </a:cubicBezTo>
                <a:cubicBezTo>
                  <a:pt x="9233" y="610"/>
                  <a:pt x="9216" y="601"/>
                  <a:pt x="9198" y="593"/>
                </a:cubicBezTo>
                <a:cubicBezTo>
                  <a:pt x="9185" y="587"/>
                  <a:pt x="9171" y="581"/>
                  <a:pt x="9164" y="580"/>
                </a:cubicBezTo>
                <a:cubicBezTo>
                  <a:pt x="9148" y="577"/>
                  <a:pt x="9124" y="579"/>
                  <a:pt x="9124" y="579"/>
                </a:cubicBezTo>
                <a:cubicBezTo>
                  <a:pt x="9113" y="567"/>
                  <a:pt x="9113" y="567"/>
                  <a:pt x="9113" y="567"/>
                </a:cubicBezTo>
                <a:cubicBezTo>
                  <a:pt x="9107" y="581"/>
                  <a:pt x="9107" y="581"/>
                  <a:pt x="9107" y="581"/>
                </a:cubicBezTo>
                <a:cubicBezTo>
                  <a:pt x="9091" y="563"/>
                  <a:pt x="9091" y="563"/>
                  <a:pt x="9091" y="563"/>
                </a:cubicBezTo>
                <a:cubicBezTo>
                  <a:pt x="9091" y="563"/>
                  <a:pt x="9049" y="549"/>
                  <a:pt x="9042" y="549"/>
                </a:cubicBezTo>
                <a:cubicBezTo>
                  <a:pt x="9035" y="549"/>
                  <a:pt x="9014" y="550"/>
                  <a:pt x="9014" y="550"/>
                </a:cubicBezTo>
                <a:cubicBezTo>
                  <a:pt x="9014" y="550"/>
                  <a:pt x="8965" y="544"/>
                  <a:pt x="8961" y="547"/>
                </a:cubicBezTo>
                <a:cubicBezTo>
                  <a:pt x="8957" y="550"/>
                  <a:pt x="8948" y="550"/>
                  <a:pt x="8948" y="558"/>
                </a:cubicBezTo>
                <a:cubicBezTo>
                  <a:pt x="8948" y="566"/>
                  <a:pt x="8974" y="580"/>
                  <a:pt x="8974" y="580"/>
                </a:cubicBezTo>
                <a:cubicBezTo>
                  <a:pt x="8961" y="600"/>
                  <a:pt x="8961" y="600"/>
                  <a:pt x="8961" y="600"/>
                </a:cubicBezTo>
                <a:cubicBezTo>
                  <a:pt x="8952" y="593"/>
                  <a:pt x="8952" y="593"/>
                  <a:pt x="8952" y="593"/>
                </a:cubicBezTo>
                <a:cubicBezTo>
                  <a:pt x="8952" y="610"/>
                  <a:pt x="8952" y="610"/>
                  <a:pt x="8952" y="610"/>
                </a:cubicBezTo>
                <a:cubicBezTo>
                  <a:pt x="8952" y="610"/>
                  <a:pt x="8928" y="609"/>
                  <a:pt x="8928" y="604"/>
                </a:cubicBezTo>
                <a:cubicBezTo>
                  <a:pt x="8928" y="599"/>
                  <a:pt x="8933" y="577"/>
                  <a:pt x="8919" y="578"/>
                </a:cubicBezTo>
                <a:cubicBezTo>
                  <a:pt x="8905" y="579"/>
                  <a:pt x="8869" y="602"/>
                  <a:pt x="8864" y="605"/>
                </a:cubicBezTo>
                <a:cubicBezTo>
                  <a:pt x="8859" y="608"/>
                  <a:pt x="8848" y="594"/>
                  <a:pt x="8827" y="596"/>
                </a:cubicBezTo>
                <a:cubicBezTo>
                  <a:pt x="8806" y="598"/>
                  <a:pt x="8782" y="609"/>
                  <a:pt x="8780" y="617"/>
                </a:cubicBezTo>
                <a:cubicBezTo>
                  <a:pt x="8778" y="625"/>
                  <a:pt x="8731" y="621"/>
                  <a:pt x="8731" y="621"/>
                </a:cubicBezTo>
                <a:cubicBezTo>
                  <a:pt x="8739" y="604"/>
                  <a:pt x="8739" y="604"/>
                  <a:pt x="8739" y="604"/>
                </a:cubicBezTo>
                <a:cubicBezTo>
                  <a:pt x="8738" y="580"/>
                  <a:pt x="8738" y="580"/>
                  <a:pt x="8738" y="580"/>
                </a:cubicBezTo>
                <a:cubicBezTo>
                  <a:pt x="8738" y="580"/>
                  <a:pt x="8694" y="588"/>
                  <a:pt x="8694" y="597"/>
                </a:cubicBezTo>
                <a:cubicBezTo>
                  <a:pt x="8694" y="606"/>
                  <a:pt x="8700" y="613"/>
                  <a:pt x="8700" y="613"/>
                </a:cubicBezTo>
                <a:cubicBezTo>
                  <a:pt x="8682" y="614"/>
                  <a:pt x="8682" y="614"/>
                  <a:pt x="8682" y="614"/>
                </a:cubicBezTo>
                <a:cubicBezTo>
                  <a:pt x="8682" y="599"/>
                  <a:pt x="8682" y="599"/>
                  <a:pt x="8682" y="599"/>
                </a:cubicBezTo>
                <a:cubicBezTo>
                  <a:pt x="8668" y="604"/>
                  <a:pt x="8668" y="604"/>
                  <a:pt x="8668" y="604"/>
                </a:cubicBezTo>
                <a:cubicBezTo>
                  <a:pt x="8633" y="607"/>
                  <a:pt x="8633" y="607"/>
                  <a:pt x="8633" y="607"/>
                </a:cubicBezTo>
                <a:cubicBezTo>
                  <a:pt x="8604" y="627"/>
                  <a:pt x="8604" y="627"/>
                  <a:pt x="8604" y="627"/>
                </a:cubicBezTo>
                <a:cubicBezTo>
                  <a:pt x="8571" y="630"/>
                  <a:pt x="8571" y="630"/>
                  <a:pt x="8571" y="630"/>
                </a:cubicBezTo>
                <a:cubicBezTo>
                  <a:pt x="8578" y="643"/>
                  <a:pt x="8578" y="643"/>
                  <a:pt x="8578" y="643"/>
                </a:cubicBezTo>
                <a:cubicBezTo>
                  <a:pt x="8578" y="643"/>
                  <a:pt x="8552" y="637"/>
                  <a:pt x="8549" y="648"/>
                </a:cubicBezTo>
                <a:cubicBezTo>
                  <a:pt x="8546" y="659"/>
                  <a:pt x="8549" y="674"/>
                  <a:pt x="8549" y="674"/>
                </a:cubicBezTo>
                <a:cubicBezTo>
                  <a:pt x="8498" y="680"/>
                  <a:pt x="8498" y="680"/>
                  <a:pt x="8498" y="680"/>
                </a:cubicBezTo>
                <a:cubicBezTo>
                  <a:pt x="8498" y="680"/>
                  <a:pt x="8483" y="669"/>
                  <a:pt x="8478" y="668"/>
                </a:cubicBezTo>
                <a:cubicBezTo>
                  <a:pt x="8473" y="667"/>
                  <a:pt x="8451" y="673"/>
                  <a:pt x="8451" y="659"/>
                </a:cubicBezTo>
                <a:cubicBezTo>
                  <a:pt x="8451" y="645"/>
                  <a:pt x="8451" y="628"/>
                  <a:pt x="8468" y="634"/>
                </a:cubicBezTo>
                <a:cubicBezTo>
                  <a:pt x="8485" y="640"/>
                  <a:pt x="8506" y="634"/>
                  <a:pt x="8506" y="634"/>
                </a:cubicBezTo>
                <a:cubicBezTo>
                  <a:pt x="8506" y="634"/>
                  <a:pt x="8468" y="603"/>
                  <a:pt x="8462" y="600"/>
                </a:cubicBezTo>
                <a:cubicBezTo>
                  <a:pt x="8456" y="597"/>
                  <a:pt x="8381" y="598"/>
                  <a:pt x="8381" y="598"/>
                </a:cubicBezTo>
                <a:cubicBezTo>
                  <a:pt x="8387" y="607"/>
                  <a:pt x="8387" y="607"/>
                  <a:pt x="8387" y="607"/>
                </a:cubicBezTo>
                <a:cubicBezTo>
                  <a:pt x="8387" y="607"/>
                  <a:pt x="8418" y="602"/>
                  <a:pt x="8413" y="622"/>
                </a:cubicBezTo>
                <a:cubicBezTo>
                  <a:pt x="8408" y="642"/>
                  <a:pt x="8398" y="671"/>
                  <a:pt x="8405" y="671"/>
                </a:cubicBezTo>
                <a:cubicBezTo>
                  <a:pt x="8412" y="671"/>
                  <a:pt x="8438" y="679"/>
                  <a:pt x="8438" y="679"/>
                </a:cubicBezTo>
                <a:cubicBezTo>
                  <a:pt x="8436" y="704"/>
                  <a:pt x="8436" y="704"/>
                  <a:pt x="8436" y="704"/>
                </a:cubicBezTo>
                <a:cubicBezTo>
                  <a:pt x="8442" y="723"/>
                  <a:pt x="8442" y="723"/>
                  <a:pt x="8442" y="723"/>
                </a:cubicBezTo>
                <a:cubicBezTo>
                  <a:pt x="8421" y="709"/>
                  <a:pt x="8421" y="709"/>
                  <a:pt x="8421" y="709"/>
                </a:cubicBezTo>
                <a:cubicBezTo>
                  <a:pt x="8406" y="725"/>
                  <a:pt x="8406" y="725"/>
                  <a:pt x="8406" y="725"/>
                </a:cubicBezTo>
                <a:cubicBezTo>
                  <a:pt x="8403" y="703"/>
                  <a:pt x="8403" y="703"/>
                  <a:pt x="8403" y="703"/>
                </a:cubicBezTo>
                <a:cubicBezTo>
                  <a:pt x="8357" y="691"/>
                  <a:pt x="8357" y="691"/>
                  <a:pt x="8357" y="691"/>
                </a:cubicBezTo>
                <a:cubicBezTo>
                  <a:pt x="8337" y="716"/>
                  <a:pt x="8337" y="716"/>
                  <a:pt x="8337" y="716"/>
                </a:cubicBezTo>
                <a:cubicBezTo>
                  <a:pt x="8319" y="717"/>
                  <a:pt x="8319" y="717"/>
                  <a:pt x="8319" y="717"/>
                </a:cubicBezTo>
                <a:cubicBezTo>
                  <a:pt x="8319" y="717"/>
                  <a:pt x="8313" y="728"/>
                  <a:pt x="8303" y="732"/>
                </a:cubicBezTo>
                <a:cubicBezTo>
                  <a:pt x="8293" y="736"/>
                  <a:pt x="8273" y="740"/>
                  <a:pt x="8281" y="747"/>
                </a:cubicBezTo>
                <a:cubicBezTo>
                  <a:pt x="8289" y="754"/>
                  <a:pt x="8321" y="777"/>
                  <a:pt x="8321" y="777"/>
                </a:cubicBezTo>
                <a:cubicBezTo>
                  <a:pt x="8333" y="794"/>
                  <a:pt x="8333" y="794"/>
                  <a:pt x="8333" y="794"/>
                </a:cubicBezTo>
                <a:cubicBezTo>
                  <a:pt x="8313" y="785"/>
                  <a:pt x="8313" y="785"/>
                  <a:pt x="8313" y="785"/>
                </a:cubicBezTo>
                <a:cubicBezTo>
                  <a:pt x="8313" y="785"/>
                  <a:pt x="8295" y="795"/>
                  <a:pt x="8282" y="789"/>
                </a:cubicBezTo>
                <a:cubicBezTo>
                  <a:pt x="8269" y="783"/>
                  <a:pt x="8226" y="776"/>
                  <a:pt x="8226" y="776"/>
                </a:cubicBezTo>
                <a:cubicBezTo>
                  <a:pt x="8226" y="776"/>
                  <a:pt x="8220" y="752"/>
                  <a:pt x="8205" y="758"/>
                </a:cubicBezTo>
                <a:cubicBezTo>
                  <a:pt x="8190" y="764"/>
                  <a:pt x="8182" y="770"/>
                  <a:pt x="8182" y="770"/>
                </a:cubicBezTo>
                <a:cubicBezTo>
                  <a:pt x="8170" y="771"/>
                  <a:pt x="8170" y="771"/>
                  <a:pt x="8170" y="771"/>
                </a:cubicBezTo>
                <a:cubicBezTo>
                  <a:pt x="8200" y="797"/>
                  <a:pt x="8200" y="797"/>
                  <a:pt x="8200" y="797"/>
                </a:cubicBezTo>
                <a:cubicBezTo>
                  <a:pt x="8200" y="797"/>
                  <a:pt x="8240" y="798"/>
                  <a:pt x="8240" y="805"/>
                </a:cubicBezTo>
                <a:cubicBezTo>
                  <a:pt x="8240" y="812"/>
                  <a:pt x="8222" y="823"/>
                  <a:pt x="8222" y="823"/>
                </a:cubicBezTo>
                <a:cubicBezTo>
                  <a:pt x="8180" y="813"/>
                  <a:pt x="8180" y="813"/>
                  <a:pt x="8180" y="813"/>
                </a:cubicBezTo>
                <a:cubicBezTo>
                  <a:pt x="8180" y="813"/>
                  <a:pt x="8165" y="799"/>
                  <a:pt x="8155" y="798"/>
                </a:cubicBezTo>
                <a:cubicBezTo>
                  <a:pt x="8145" y="797"/>
                  <a:pt x="8119" y="808"/>
                  <a:pt x="8117" y="794"/>
                </a:cubicBezTo>
                <a:cubicBezTo>
                  <a:pt x="8115" y="780"/>
                  <a:pt x="8116" y="764"/>
                  <a:pt x="8116" y="764"/>
                </a:cubicBezTo>
                <a:cubicBezTo>
                  <a:pt x="8103" y="756"/>
                  <a:pt x="8103" y="756"/>
                  <a:pt x="8103" y="756"/>
                </a:cubicBezTo>
                <a:cubicBezTo>
                  <a:pt x="8103" y="756"/>
                  <a:pt x="8124" y="738"/>
                  <a:pt x="8116" y="729"/>
                </a:cubicBezTo>
                <a:cubicBezTo>
                  <a:pt x="8108" y="720"/>
                  <a:pt x="8052" y="705"/>
                  <a:pt x="8052" y="705"/>
                </a:cubicBezTo>
                <a:cubicBezTo>
                  <a:pt x="8032" y="690"/>
                  <a:pt x="8032" y="690"/>
                  <a:pt x="8032" y="690"/>
                </a:cubicBezTo>
                <a:cubicBezTo>
                  <a:pt x="8016" y="679"/>
                  <a:pt x="8016" y="679"/>
                  <a:pt x="8016" y="679"/>
                </a:cubicBezTo>
                <a:cubicBezTo>
                  <a:pt x="8006" y="669"/>
                  <a:pt x="8006" y="669"/>
                  <a:pt x="8006" y="669"/>
                </a:cubicBezTo>
                <a:cubicBezTo>
                  <a:pt x="8032" y="668"/>
                  <a:pt x="8032" y="668"/>
                  <a:pt x="8032" y="668"/>
                </a:cubicBezTo>
                <a:cubicBezTo>
                  <a:pt x="8032" y="668"/>
                  <a:pt x="8027" y="677"/>
                  <a:pt x="8046" y="681"/>
                </a:cubicBezTo>
                <a:cubicBezTo>
                  <a:pt x="8065" y="685"/>
                  <a:pt x="8090" y="682"/>
                  <a:pt x="8090" y="682"/>
                </a:cubicBezTo>
                <a:cubicBezTo>
                  <a:pt x="8090" y="682"/>
                  <a:pt x="8106" y="700"/>
                  <a:pt x="8118" y="702"/>
                </a:cubicBezTo>
                <a:cubicBezTo>
                  <a:pt x="8130" y="704"/>
                  <a:pt x="8184" y="709"/>
                  <a:pt x="8184" y="709"/>
                </a:cubicBezTo>
                <a:cubicBezTo>
                  <a:pt x="8184" y="709"/>
                  <a:pt x="8221" y="725"/>
                  <a:pt x="8264" y="714"/>
                </a:cubicBezTo>
                <a:cubicBezTo>
                  <a:pt x="8307" y="703"/>
                  <a:pt x="8349" y="688"/>
                  <a:pt x="8327" y="668"/>
                </a:cubicBezTo>
                <a:cubicBezTo>
                  <a:pt x="8305" y="648"/>
                  <a:pt x="8304" y="635"/>
                  <a:pt x="8275" y="629"/>
                </a:cubicBezTo>
                <a:cubicBezTo>
                  <a:pt x="8246" y="623"/>
                  <a:pt x="8206" y="608"/>
                  <a:pt x="8187" y="601"/>
                </a:cubicBezTo>
                <a:cubicBezTo>
                  <a:pt x="8168" y="594"/>
                  <a:pt x="8134" y="577"/>
                  <a:pt x="8114" y="576"/>
                </a:cubicBezTo>
                <a:cubicBezTo>
                  <a:pt x="8094" y="575"/>
                  <a:pt x="8075" y="575"/>
                  <a:pt x="8063" y="575"/>
                </a:cubicBezTo>
                <a:cubicBezTo>
                  <a:pt x="8051" y="575"/>
                  <a:pt x="8029" y="575"/>
                  <a:pt x="8029" y="575"/>
                </a:cubicBezTo>
                <a:cubicBezTo>
                  <a:pt x="8021" y="565"/>
                  <a:pt x="8021" y="565"/>
                  <a:pt x="8021" y="565"/>
                </a:cubicBezTo>
                <a:cubicBezTo>
                  <a:pt x="8002" y="566"/>
                  <a:pt x="8002" y="566"/>
                  <a:pt x="8002" y="566"/>
                </a:cubicBezTo>
                <a:cubicBezTo>
                  <a:pt x="7981" y="557"/>
                  <a:pt x="7981" y="557"/>
                  <a:pt x="7981" y="557"/>
                </a:cubicBezTo>
                <a:cubicBezTo>
                  <a:pt x="8002" y="552"/>
                  <a:pt x="8002" y="552"/>
                  <a:pt x="8002" y="552"/>
                </a:cubicBezTo>
                <a:cubicBezTo>
                  <a:pt x="8014" y="544"/>
                  <a:pt x="8014" y="544"/>
                  <a:pt x="8014" y="544"/>
                </a:cubicBezTo>
                <a:cubicBezTo>
                  <a:pt x="8014" y="544"/>
                  <a:pt x="7971" y="528"/>
                  <a:pt x="7965" y="534"/>
                </a:cubicBezTo>
                <a:cubicBezTo>
                  <a:pt x="7959" y="540"/>
                  <a:pt x="7956" y="549"/>
                  <a:pt x="7956" y="549"/>
                </a:cubicBezTo>
                <a:cubicBezTo>
                  <a:pt x="7939" y="549"/>
                  <a:pt x="7939" y="549"/>
                  <a:pt x="7939" y="549"/>
                </a:cubicBezTo>
                <a:cubicBezTo>
                  <a:pt x="7922" y="552"/>
                  <a:pt x="7922" y="552"/>
                  <a:pt x="7922" y="552"/>
                </a:cubicBezTo>
                <a:cubicBezTo>
                  <a:pt x="7894" y="545"/>
                  <a:pt x="7894" y="545"/>
                  <a:pt x="7894" y="545"/>
                </a:cubicBezTo>
                <a:cubicBezTo>
                  <a:pt x="7874" y="534"/>
                  <a:pt x="7874" y="534"/>
                  <a:pt x="7874" y="534"/>
                </a:cubicBezTo>
                <a:cubicBezTo>
                  <a:pt x="7874" y="534"/>
                  <a:pt x="7900" y="538"/>
                  <a:pt x="7911" y="533"/>
                </a:cubicBezTo>
                <a:cubicBezTo>
                  <a:pt x="7922" y="528"/>
                  <a:pt x="7940" y="522"/>
                  <a:pt x="7940" y="522"/>
                </a:cubicBezTo>
                <a:cubicBezTo>
                  <a:pt x="7940" y="522"/>
                  <a:pt x="7914" y="507"/>
                  <a:pt x="7900" y="507"/>
                </a:cubicBezTo>
                <a:cubicBezTo>
                  <a:pt x="7886" y="507"/>
                  <a:pt x="7865" y="496"/>
                  <a:pt x="7865" y="496"/>
                </a:cubicBezTo>
                <a:cubicBezTo>
                  <a:pt x="7865" y="496"/>
                  <a:pt x="7857" y="522"/>
                  <a:pt x="7841" y="519"/>
                </a:cubicBezTo>
                <a:cubicBezTo>
                  <a:pt x="7825" y="516"/>
                  <a:pt x="7853" y="498"/>
                  <a:pt x="7853" y="498"/>
                </a:cubicBezTo>
                <a:cubicBezTo>
                  <a:pt x="7809" y="483"/>
                  <a:pt x="7809" y="483"/>
                  <a:pt x="7809" y="483"/>
                </a:cubicBezTo>
                <a:cubicBezTo>
                  <a:pt x="7809" y="483"/>
                  <a:pt x="7801" y="532"/>
                  <a:pt x="7787" y="526"/>
                </a:cubicBezTo>
                <a:cubicBezTo>
                  <a:pt x="7773" y="520"/>
                  <a:pt x="7784" y="494"/>
                  <a:pt x="7784" y="494"/>
                </a:cubicBezTo>
                <a:cubicBezTo>
                  <a:pt x="7784" y="494"/>
                  <a:pt x="7746" y="538"/>
                  <a:pt x="7736" y="531"/>
                </a:cubicBezTo>
                <a:cubicBezTo>
                  <a:pt x="7726" y="524"/>
                  <a:pt x="7772" y="488"/>
                  <a:pt x="7772" y="488"/>
                </a:cubicBezTo>
                <a:cubicBezTo>
                  <a:pt x="7749" y="486"/>
                  <a:pt x="7749" y="486"/>
                  <a:pt x="7749" y="486"/>
                </a:cubicBezTo>
                <a:cubicBezTo>
                  <a:pt x="7737" y="496"/>
                  <a:pt x="7737" y="496"/>
                  <a:pt x="7737" y="496"/>
                </a:cubicBezTo>
                <a:cubicBezTo>
                  <a:pt x="7721" y="494"/>
                  <a:pt x="7721" y="494"/>
                  <a:pt x="7721" y="494"/>
                </a:cubicBezTo>
                <a:cubicBezTo>
                  <a:pt x="7691" y="512"/>
                  <a:pt x="7691" y="512"/>
                  <a:pt x="7691" y="512"/>
                </a:cubicBezTo>
                <a:cubicBezTo>
                  <a:pt x="7675" y="513"/>
                  <a:pt x="7675" y="513"/>
                  <a:pt x="7675" y="513"/>
                </a:cubicBezTo>
                <a:cubicBezTo>
                  <a:pt x="7673" y="533"/>
                  <a:pt x="7673" y="533"/>
                  <a:pt x="7673" y="533"/>
                </a:cubicBezTo>
                <a:cubicBezTo>
                  <a:pt x="7649" y="524"/>
                  <a:pt x="7649" y="524"/>
                  <a:pt x="7649" y="524"/>
                </a:cubicBezTo>
                <a:cubicBezTo>
                  <a:pt x="7623" y="529"/>
                  <a:pt x="7623" y="529"/>
                  <a:pt x="7623" y="529"/>
                </a:cubicBezTo>
                <a:cubicBezTo>
                  <a:pt x="7631" y="547"/>
                  <a:pt x="7631" y="547"/>
                  <a:pt x="7631" y="547"/>
                </a:cubicBezTo>
                <a:cubicBezTo>
                  <a:pt x="7600" y="538"/>
                  <a:pt x="7600" y="538"/>
                  <a:pt x="7600" y="538"/>
                </a:cubicBezTo>
                <a:cubicBezTo>
                  <a:pt x="7589" y="544"/>
                  <a:pt x="7589" y="544"/>
                  <a:pt x="7589" y="544"/>
                </a:cubicBezTo>
                <a:cubicBezTo>
                  <a:pt x="7592" y="560"/>
                  <a:pt x="7592" y="560"/>
                  <a:pt x="7592" y="560"/>
                </a:cubicBezTo>
                <a:cubicBezTo>
                  <a:pt x="7562" y="566"/>
                  <a:pt x="7562" y="566"/>
                  <a:pt x="7562" y="566"/>
                </a:cubicBezTo>
                <a:cubicBezTo>
                  <a:pt x="7565" y="545"/>
                  <a:pt x="7565" y="545"/>
                  <a:pt x="7565" y="545"/>
                </a:cubicBezTo>
                <a:cubicBezTo>
                  <a:pt x="7545" y="545"/>
                  <a:pt x="7545" y="545"/>
                  <a:pt x="7545" y="545"/>
                </a:cubicBezTo>
                <a:cubicBezTo>
                  <a:pt x="7551" y="558"/>
                  <a:pt x="7551" y="558"/>
                  <a:pt x="7551" y="558"/>
                </a:cubicBezTo>
                <a:cubicBezTo>
                  <a:pt x="7535" y="548"/>
                  <a:pt x="7535" y="548"/>
                  <a:pt x="7535" y="548"/>
                </a:cubicBezTo>
                <a:cubicBezTo>
                  <a:pt x="7537" y="568"/>
                  <a:pt x="7537" y="568"/>
                  <a:pt x="7537" y="568"/>
                </a:cubicBezTo>
                <a:cubicBezTo>
                  <a:pt x="7520" y="567"/>
                  <a:pt x="7520" y="567"/>
                  <a:pt x="7520" y="567"/>
                </a:cubicBezTo>
                <a:cubicBezTo>
                  <a:pt x="7520" y="567"/>
                  <a:pt x="7517" y="554"/>
                  <a:pt x="7519" y="551"/>
                </a:cubicBezTo>
                <a:cubicBezTo>
                  <a:pt x="7521" y="548"/>
                  <a:pt x="7532" y="538"/>
                  <a:pt x="7532" y="538"/>
                </a:cubicBezTo>
                <a:cubicBezTo>
                  <a:pt x="7509" y="535"/>
                  <a:pt x="7509" y="535"/>
                  <a:pt x="7509" y="535"/>
                </a:cubicBezTo>
                <a:cubicBezTo>
                  <a:pt x="7506" y="564"/>
                  <a:pt x="7506" y="564"/>
                  <a:pt x="7506" y="564"/>
                </a:cubicBezTo>
                <a:cubicBezTo>
                  <a:pt x="7488" y="573"/>
                  <a:pt x="7488" y="573"/>
                  <a:pt x="7488" y="573"/>
                </a:cubicBezTo>
                <a:cubicBezTo>
                  <a:pt x="7498" y="581"/>
                  <a:pt x="7498" y="581"/>
                  <a:pt x="7498" y="581"/>
                </a:cubicBezTo>
                <a:cubicBezTo>
                  <a:pt x="7476" y="584"/>
                  <a:pt x="7476" y="584"/>
                  <a:pt x="7476" y="584"/>
                </a:cubicBezTo>
                <a:cubicBezTo>
                  <a:pt x="7484" y="592"/>
                  <a:pt x="7484" y="592"/>
                  <a:pt x="7484" y="592"/>
                </a:cubicBezTo>
                <a:cubicBezTo>
                  <a:pt x="7456" y="593"/>
                  <a:pt x="7456" y="593"/>
                  <a:pt x="7456" y="593"/>
                </a:cubicBezTo>
                <a:cubicBezTo>
                  <a:pt x="7456" y="601"/>
                  <a:pt x="7456" y="601"/>
                  <a:pt x="7456" y="601"/>
                </a:cubicBezTo>
                <a:cubicBezTo>
                  <a:pt x="7477" y="606"/>
                  <a:pt x="7477" y="606"/>
                  <a:pt x="7477" y="606"/>
                </a:cubicBezTo>
                <a:cubicBezTo>
                  <a:pt x="7470" y="615"/>
                  <a:pt x="7470" y="615"/>
                  <a:pt x="7470" y="615"/>
                </a:cubicBezTo>
                <a:cubicBezTo>
                  <a:pt x="7446" y="605"/>
                  <a:pt x="7446" y="605"/>
                  <a:pt x="7446" y="605"/>
                </a:cubicBezTo>
                <a:cubicBezTo>
                  <a:pt x="7437" y="606"/>
                  <a:pt x="7437" y="606"/>
                  <a:pt x="7437" y="606"/>
                </a:cubicBezTo>
                <a:cubicBezTo>
                  <a:pt x="7453" y="617"/>
                  <a:pt x="7453" y="617"/>
                  <a:pt x="7453" y="617"/>
                </a:cubicBezTo>
                <a:cubicBezTo>
                  <a:pt x="7438" y="628"/>
                  <a:pt x="7438" y="628"/>
                  <a:pt x="7438" y="628"/>
                </a:cubicBezTo>
                <a:cubicBezTo>
                  <a:pt x="7430" y="615"/>
                  <a:pt x="7430" y="615"/>
                  <a:pt x="7430" y="615"/>
                </a:cubicBezTo>
                <a:cubicBezTo>
                  <a:pt x="7420" y="621"/>
                  <a:pt x="7420" y="621"/>
                  <a:pt x="7420" y="621"/>
                </a:cubicBezTo>
                <a:cubicBezTo>
                  <a:pt x="7421" y="626"/>
                  <a:pt x="7421" y="626"/>
                  <a:pt x="7421" y="626"/>
                </a:cubicBezTo>
                <a:cubicBezTo>
                  <a:pt x="7398" y="627"/>
                  <a:pt x="7398" y="627"/>
                  <a:pt x="7398" y="627"/>
                </a:cubicBezTo>
                <a:cubicBezTo>
                  <a:pt x="7395" y="636"/>
                  <a:pt x="7395" y="636"/>
                  <a:pt x="7395" y="636"/>
                </a:cubicBezTo>
                <a:cubicBezTo>
                  <a:pt x="7412" y="645"/>
                  <a:pt x="7412" y="645"/>
                  <a:pt x="7412" y="645"/>
                </a:cubicBezTo>
                <a:cubicBezTo>
                  <a:pt x="7410" y="655"/>
                  <a:pt x="7410" y="655"/>
                  <a:pt x="7410" y="655"/>
                </a:cubicBezTo>
                <a:cubicBezTo>
                  <a:pt x="7388" y="647"/>
                  <a:pt x="7388" y="647"/>
                  <a:pt x="7388" y="647"/>
                </a:cubicBezTo>
                <a:cubicBezTo>
                  <a:pt x="7385" y="657"/>
                  <a:pt x="7385" y="657"/>
                  <a:pt x="7385" y="657"/>
                </a:cubicBezTo>
                <a:cubicBezTo>
                  <a:pt x="7403" y="662"/>
                  <a:pt x="7403" y="662"/>
                  <a:pt x="7403" y="662"/>
                </a:cubicBezTo>
                <a:cubicBezTo>
                  <a:pt x="7403" y="662"/>
                  <a:pt x="7382" y="663"/>
                  <a:pt x="7375" y="664"/>
                </a:cubicBezTo>
                <a:cubicBezTo>
                  <a:pt x="7368" y="665"/>
                  <a:pt x="7372" y="675"/>
                  <a:pt x="7372" y="675"/>
                </a:cubicBezTo>
                <a:cubicBezTo>
                  <a:pt x="7372" y="675"/>
                  <a:pt x="7359" y="668"/>
                  <a:pt x="7351" y="674"/>
                </a:cubicBezTo>
                <a:cubicBezTo>
                  <a:pt x="7343" y="680"/>
                  <a:pt x="7336" y="685"/>
                  <a:pt x="7341" y="688"/>
                </a:cubicBezTo>
                <a:cubicBezTo>
                  <a:pt x="7346" y="691"/>
                  <a:pt x="7335" y="697"/>
                  <a:pt x="7335" y="697"/>
                </a:cubicBezTo>
                <a:cubicBezTo>
                  <a:pt x="7335" y="697"/>
                  <a:pt x="7328" y="706"/>
                  <a:pt x="7331" y="707"/>
                </a:cubicBezTo>
                <a:cubicBezTo>
                  <a:pt x="7334" y="708"/>
                  <a:pt x="7354" y="709"/>
                  <a:pt x="7354" y="709"/>
                </a:cubicBezTo>
                <a:cubicBezTo>
                  <a:pt x="7347" y="717"/>
                  <a:pt x="7347" y="717"/>
                  <a:pt x="7347" y="717"/>
                </a:cubicBezTo>
                <a:cubicBezTo>
                  <a:pt x="7324" y="713"/>
                  <a:pt x="7324" y="713"/>
                  <a:pt x="7324" y="713"/>
                </a:cubicBezTo>
                <a:cubicBezTo>
                  <a:pt x="7324" y="713"/>
                  <a:pt x="7311" y="715"/>
                  <a:pt x="7311" y="723"/>
                </a:cubicBezTo>
                <a:cubicBezTo>
                  <a:pt x="7311" y="731"/>
                  <a:pt x="7321" y="737"/>
                  <a:pt x="7317" y="740"/>
                </a:cubicBezTo>
                <a:cubicBezTo>
                  <a:pt x="7313" y="743"/>
                  <a:pt x="7309" y="743"/>
                  <a:pt x="7304" y="743"/>
                </a:cubicBezTo>
                <a:cubicBezTo>
                  <a:pt x="7299" y="743"/>
                  <a:pt x="7293" y="744"/>
                  <a:pt x="7295" y="751"/>
                </a:cubicBezTo>
                <a:cubicBezTo>
                  <a:pt x="7297" y="758"/>
                  <a:pt x="7305" y="762"/>
                  <a:pt x="7305" y="762"/>
                </a:cubicBezTo>
                <a:cubicBezTo>
                  <a:pt x="7305" y="762"/>
                  <a:pt x="7311" y="773"/>
                  <a:pt x="7304" y="774"/>
                </a:cubicBezTo>
                <a:cubicBezTo>
                  <a:pt x="7297" y="775"/>
                  <a:pt x="7290" y="774"/>
                  <a:pt x="7287" y="774"/>
                </a:cubicBezTo>
                <a:cubicBezTo>
                  <a:pt x="7284" y="774"/>
                  <a:pt x="7281" y="775"/>
                  <a:pt x="7278" y="779"/>
                </a:cubicBezTo>
                <a:cubicBezTo>
                  <a:pt x="7275" y="783"/>
                  <a:pt x="7275" y="790"/>
                  <a:pt x="7275" y="790"/>
                </a:cubicBezTo>
                <a:cubicBezTo>
                  <a:pt x="7275" y="790"/>
                  <a:pt x="7277" y="797"/>
                  <a:pt x="7270" y="797"/>
                </a:cubicBezTo>
                <a:cubicBezTo>
                  <a:pt x="7263" y="797"/>
                  <a:pt x="7260" y="790"/>
                  <a:pt x="7254" y="791"/>
                </a:cubicBezTo>
                <a:cubicBezTo>
                  <a:pt x="7248" y="792"/>
                  <a:pt x="7250" y="792"/>
                  <a:pt x="7245" y="796"/>
                </a:cubicBezTo>
                <a:cubicBezTo>
                  <a:pt x="7240" y="800"/>
                  <a:pt x="7240" y="801"/>
                  <a:pt x="7237" y="805"/>
                </a:cubicBezTo>
                <a:cubicBezTo>
                  <a:pt x="7234" y="809"/>
                  <a:pt x="7225" y="809"/>
                  <a:pt x="7225" y="809"/>
                </a:cubicBezTo>
                <a:cubicBezTo>
                  <a:pt x="7225" y="809"/>
                  <a:pt x="7221" y="810"/>
                  <a:pt x="7218" y="816"/>
                </a:cubicBezTo>
                <a:cubicBezTo>
                  <a:pt x="7215" y="822"/>
                  <a:pt x="7224" y="826"/>
                  <a:pt x="7219" y="829"/>
                </a:cubicBezTo>
                <a:cubicBezTo>
                  <a:pt x="7214" y="832"/>
                  <a:pt x="7213" y="834"/>
                  <a:pt x="7208" y="834"/>
                </a:cubicBezTo>
                <a:cubicBezTo>
                  <a:pt x="7203" y="834"/>
                  <a:pt x="7194" y="829"/>
                  <a:pt x="7191" y="829"/>
                </a:cubicBezTo>
                <a:cubicBezTo>
                  <a:pt x="7188" y="829"/>
                  <a:pt x="7195" y="821"/>
                  <a:pt x="7182" y="828"/>
                </a:cubicBezTo>
                <a:cubicBezTo>
                  <a:pt x="7169" y="835"/>
                  <a:pt x="7168" y="836"/>
                  <a:pt x="7164" y="835"/>
                </a:cubicBezTo>
                <a:cubicBezTo>
                  <a:pt x="7160" y="834"/>
                  <a:pt x="7155" y="832"/>
                  <a:pt x="7156" y="842"/>
                </a:cubicBezTo>
                <a:cubicBezTo>
                  <a:pt x="7157" y="852"/>
                  <a:pt x="7163" y="851"/>
                  <a:pt x="7164" y="854"/>
                </a:cubicBezTo>
                <a:cubicBezTo>
                  <a:pt x="7165" y="857"/>
                  <a:pt x="7168" y="865"/>
                  <a:pt x="7160" y="861"/>
                </a:cubicBezTo>
                <a:cubicBezTo>
                  <a:pt x="7152" y="857"/>
                  <a:pt x="7151" y="848"/>
                  <a:pt x="7146" y="851"/>
                </a:cubicBezTo>
                <a:cubicBezTo>
                  <a:pt x="7141" y="854"/>
                  <a:pt x="7135" y="861"/>
                  <a:pt x="7140" y="864"/>
                </a:cubicBezTo>
                <a:cubicBezTo>
                  <a:pt x="7145" y="867"/>
                  <a:pt x="7160" y="863"/>
                  <a:pt x="7157" y="869"/>
                </a:cubicBezTo>
                <a:cubicBezTo>
                  <a:pt x="7154" y="875"/>
                  <a:pt x="7164" y="878"/>
                  <a:pt x="7149" y="876"/>
                </a:cubicBezTo>
                <a:cubicBezTo>
                  <a:pt x="7134" y="874"/>
                  <a:pt x="7130" y="874"/>
                  <a:pt x="7130" y="874"/>
                </a:cubicBezTo>
                <a:cubicBezTo>
                  <a:pt x="7130" y="874"/>
                  <a:pt x="7132" y="868"/>
                  <a:pt x="7126" y="873"/>
                </a:cubicBezTo>
                <a:cubicBezTo>
                  <a:pt x="7120" y="878"/>
                  <a:pt x="7122" y="887"/>
                  <a:pt x="7122" y="887"/>
                </a:cubicBezTo>
                <a:cubicBezTo>
                  <a:pt x="7122" y="887"/>
                  <a:pt x="7093" y="874"/>
                  <a:pt x="7097" y="882"/>
                </a:cubicBezTo>
                <a:cubicBezTo>
                  <a:pt x="7101" y="890"/>
                  <a:pt x="7123" y="895"/>
                  <a:pt x="7123" y="895"/>
                </a:cubicBezTo>
                <a:cubicBezTo>
                  <a:pt x="7110" y="909"/>
                  <a:pt x="7110" y="909"/>
                  <a:pt x="7110" y="909"/>
                </a:cubicBezTo>
                <a:cubicBezTo>
                  <a:pt x="7110" y="909"/>
                  <a:pt x="7111" y="899"/>
                  <a:pt x="7104" y="898"/>
                </a:cubicBezTo>
                <a:cubicBezTo>
                  <a:pt x="7097" y="897"/>
                  <a:pt x="7091" y="905"/>
                  <a:pt x="7091" y="905"/>
                </a:cubicBezTo>
                <a:cubicBezTo>
                  <a:pt x="7078" y="894"/>
                  <a:pt x="7078" y="894"/>
                  <a:pt x="7078" y="894"/>
                </a:cubicBezTo>
                <a:cubicBezTo>
                  <a:pt x="7072" y="903"/>
                  <a:pt x="7072" y="903"/>
                  <a:pt x="7072" y="903"/>
                </a:cubicBezTo>
                <a:cubicBezTo>
                  <a:pt x="7081" y="906"/>
                  <a:pt x="7081" y="906"/>
                  <a:pt x="7081" y="906"/>
                </a:cubicBezTo>
                <a:cubicBezTo>
                  <a:pt x="7058" y="905"/>
                  <a:pt x="7058" y="905"/>
                  <a:pt x="7058" y="905"/>
                </a:cubicBezTo>
                <a:cubicBezTo>
                  <a:pt x="7057" y="914"/>
                  <a:pt x="7057" y="914"/>
                  <a:pt x="7057" y="914"/>
                </a:cubicBezTo>
                <a:cubicBezTo>
                  <a:pt x="7090" y="916"/>
                  <a:pt x="7090" y="916"/>
                  <a:pt x="7090" y="916"/>
                </a:cubicBezTo>
                <a:cubicBezTo>
                  <a:pt x="7073" y="921"/>
                  <a:pt x="7073" y="921"/>
                  <a:pt x="7073" y="921"/>
                </a:cubicBezTo>
                <a:cubicBezTo>
                  <a:pt x="7049" y="915"/>
                  <a:pt x="7049" y="915"/>
                  <a:pt x="7049" y="915"/>
                </a:cubicBezTo>
                <a:cubicBezTo>
                  <a:pt x="7049" y="915"/>
                  <a:pt x="7041" y="922"/>
                  <a:pt x="7041" y="928"/>
                </a:cubicBezTo>
                <a:cubicBezTo>
                  <a:pt x="7041" y="934"/>
                  <a:pt x="7059" y="935"/>
                  <a:pt x="7059" y="935"/>
                </a:cubicBezTo>
                <a:cubicBezTo>
                  <a:pt x="7048" y="940"/>
                  <a:pt x="7048" y="940"/>
                  <a:pt x="7048" y="940"/>
                </a:cubicBezTo>
                <a:cubicBezTo>
                  <a:pt x="7048" y="940"/>
                  <a:pt x="7039" y="947"/>
                  <a:pt x="7048" y="948"/>
                </a:cubicBezTo>
                <a:cubicBezTo>
                  <a:pt x="7057" y="949"/>
                  <a:pt x="7080" y="949"/>
                  <a:pt x="7080" y="949"/>
                </a:cubicBezTo>
                <a:cubicBezTo>
                  <a:pt x="7090" y="955"/>
                  <a:pt x="7090" y="955"/>
                  <a:pt x="7090" y="955"/>
                </a:cubicBezTo>
                <a:cubicBezTo>
                  <a:pt x="7101" y="947"/>
                  <a:pt x="7101" y="947"/>
                  <a:pt x="7101" y="947"/>
                </a:cubicBezTo>
                <a:cubicBezTo>
                  <a:pt x="7109" y="955"/>
                  <a:pt x="7109" y="955"/>
                  <a:pt x="7109" y="955"/>
                </a:cubicBezTo>
                <a:cubicBezTo>
                  <a:pt x="7127" y="946"/>
                  <a:pt x="7127" y="946"/>
                  <a:pt x="7127" y="946"/>
                </a:cubicBezTo>
                <a:cubicBezTo>
                  <a:pt x="7127" y="946"/>
                  <a:pt x="7124" y="959"/>
                  <a:pt x="7118" y="959"/>
                </a:cubicBezTo>
                <a:cubicBezTo>
                  <a:pt x="7112" y="959"/>
                  <a:pt x="7100" y="958"/>
                  <a:pt x="7100" y="958"/>
                </a:cubicBezTo>
                <a:cubicBezTo>
                  <a:pt x="7082" y="959"/>
                  <a:pt x="7082" y="959"/>
                  <a:pt x="7082" y="959"/>
                </a:cubicBezTo>
                <a:cubicBezTo>
                  <a:pt x="7082" y="959"/>
                  <a:pt x="7066" y="957"/>
                  <a:pt x="7063" y="957"/>
                </a:cubicBezTo>
                <a:cubicBezTo>
                  <a:pt x="7060" y="957"/>
                  <a:pt x="7038" y="959"/>
                  <a:pt x="7038" y="959"/>
                </a:cubicBezTo>
                <a:cubicBezTo>
                  <a:pt x="7038" y="959"/>
                  <a:pt x="7040" y="971"/>
                  <a:pt x="7045" y="973"/>
                </a:cubicBezTo>
                <a:cubicBezTo>
                  <a:pt x="7050" y="975"/>
                  <a:pt x="7058" y="975"/>
                  <a:pt x="7058" y="975"/>
                </a:cubicBezTo>
                <a:cubicBezTo>
                  <a:pt x="7058" y="975"/>
                  <a:pt x="7045" y="985"/>
                  <a:pt x="7051" y="992"/>
                </a:cubicBezTo>
                <a:cubicBezTo>
                  <a:pt x="7057" y="999"/>
                  <a:pt x="7067" y="1000"/>
                  <a:pt x="7067" y="1000"/>
                </a:cubicBezTo>
                <a:cubicBezTo>
                  <a:pt x="7085" y="989"/>
                  <a:pt x="7085" y="989"/>
                  <a:pt x="7085" y="989"/>
                </a:cubicBezTo>
                <a:cubicBezTo>
                  <a:pt x="7103" y="985"/>
                  <a:pt x="7103" y="985"/>
                  <a:pt x="7103" y="985"/>
                </a:cubicBezTo>
                <a:cubicBezTo>
                  <a:pt x="7097" y="999"/>
                  <a:pt x="7097" y="999"/>
                  <a:pt x="7097" y="999"/>
                </a:cubicBezTo>
                <a:cubicBezTo>
                  <a:pt x="7087" y="996"/>
                  <a:pt x="7087" y="996"/>
                  <a:pt x="7087" y="996"/>
                </a:cubicBezTo>
                <a:cubicBezTo>
                  <a:pt x="7081" y="1008"/>
                  <a:pt x="7081" y="1008"/>
                  <a:pt x="7081" y="1008"/>
                </a:cubicBezTo>
                <a:cubicBezTo>
                  <a:pt x="7081" y="1008"/>
                  <a:pt x="7051" y="1002"/>
                  <a:pt x="7055" y="1009"/>
                </a:cubicBezTo>
                <a:cubicBezTo>
                  <a:pt x="7059" y="1016"/>
                  <a:pt x="7068" y="1019"/>
                  <a:pt x="7068" y="1019"/>
                </a:cubicBezTo>
                <a:cubicBezTo>
                  <a:pt x="7052" y="1027"/>
                  <a:pt x="7052" y="1027"/>
                  <a:pt x="7052" y="1027"/>
                </a:cubicBezTo>
                <a:cubicBezTo>
                  <a:pt x="7040" y="1027"/>
                  <a:pt x="7040" y="1027"/>
                  <a:pt x="7040" y="1027"/>
                </a:cubicBezTo>
                <a:cubicBezTo>
                  <a:pt x="7040" y="1027"/>
                  <a:pt x="7042" y="1039"/>
                  <a:pt x="7045" y="1039"/>
                </a:cubicBezTo>
                <a:cubicBezTo>
                  <a:pt x="7048" y="1039"/>
                  <a:pt x="7080" y="1040"/>
                  <a:pt x="7080" y="1040"/>
                </a:cubicBezTo>
                <a:cubicBezTo>
                  <a:pt x="7071" y="1054"/>
                  <a:pt x="7071" y="1054"/>
                  <a:pt x="7071" y="1054"/>
                </a:cubicBezTo>
                <a:cubicBezTo>
                  <a:pt x="7079" y="1056"/>
                  <a:pt x="7079" y="1056"/>
                  <a:pt x="7079" y="1056"/>
                </a:cubicBezTo>
                <a:cubicBezTo>
                  <a:pt x="7074" y="1068"/>
                  <a:pt x="7074" y="1068"/>
                  <a:pt x="7074" y="1068"/>
                </a:cubicBezTo>
                <a:cubicBezTo>
                  <a:pt x="7074" y="1068"/>
                  <a:pt x="7048" y="1055"/>
                  <a:pt x="7049" y="1063"/>
                </a:cubicBezTo>
                <a:cubicBezTo>
                  <a:pt x="7050" y="1071"/>
                  <a:pt x="7061" y="1082"/>
                  <a:pt x="7061" y="1082"/>
                </a:cubicBezTo>
                <a:cubicBezTo>
                  <a:pt x="7093" y="1096"/>
                  <a:pt x="7093" y="1096"/>
                  <a:pt x="7093" y="1096"/>
                </a:cubicBezTo>
                <a:cubicBezTo>
                  <a:pt x="7093" y="1096"/>
                  <a:pt x="7086" y="1101"/>
                  <a:pt x="7093" y="1104"/>
                </a:cubicBezTo>
                <a:cubicBezTo>
                  <a:pt x="7100" y="1107"/>
                  <a:pt x="7121" y="1102"/>
                  <a:pt x="7121" y="1102"/>
                </a:cubicBezTo>
                <a:cubicBezTo>
                  <a:pt x="7121" y="1102"/>
                  <a:pt x="7124" y="1111"/>
                  <a:pt x="7141" y="1105"/>
                </a:cubicBezTo>
                <a:cubicBezTo>
                  <a:pt x="7158" y="1099"/>
                  <a:pt x="7186" y="1074"/>
                  <a:pt x="7186" y="1074"/>
                </a:cubicBezTo>
                <a:cubicBezTo>
                  <a:pt x="7210" y="1055"/>
                  <a:pt x="7210" y="1055"/>
                  <a:pt x="7210" y="1055"/>
                </a:cubicBezTo>
                <a:cubicBezTo>
                  <a:pt x="7210" y="1055"/>
                  <a:pt x="7221" y="1060"/>
                  <a:pt x="7231" y="1051"/>
                </a:cubicBezTo>
                <a:cubicBezTo>
                  <a:pt x="7241" y="1042"/>
                  <a:pt x="7231" y="1023"/>
                  <a:pt x="7231" y="1023"/>
                </a:cubicBezTo>
                <a:cubicBezTo>
                  <a:pt x="7243" y="1021"/>
                  <a:pt x="7243" y="1021"/>
                  <a:pt x="7243" y="1021"/>
                </a:cubicBezTo>
                <a:cubicBezTo>
                  <a:pt x="7243" y="1021"/>
                  <a:pt x="7230" y="1038"/>
                  <a:pt x="7245" y="1043"/>
                </a:cubicBezTo>
                <a:cubicBezTo>
                  <a:pt x="7260" y="1048"/>
                  <a:pt x="7271" y="1050"/>
                  <a:pt x="7271" y="1050"/>
                </a:cubicBezTo>
                <a:cubicBezTo>
                  <a:pt x="7273" y="1091"/>
                  <a:pt x="7273" y="1091"/>
                  <a:pt x="7273" y="1091"/>
                </a:cubicBezTo>
                <a:cubicBezTo>
                  <a:pt x="7273" y="1091"/>
                  <a:pt x="7287" y="1080"/>
                  <a:pt x="7294" y="1092"/>
                </a:cubicBezTo>
                <a:cubicBezTo>
                  <a:pt x="7301" y="1104"/>
                  <a:pt x="7290" y="1096"/>
                  <a:pt x="7290" y="1096"/>
                </a:cubicBezTo>
                <a:cubicBezTo>
                  <a:pt x="7290" y="1096"/>
                  <a:pt x="7285" y="1130"/>
                  <a:pt x="7289" y="1134"/>
                </a:cubicBezTo>
                <a:cubicBezTo>
                  <a:pt x="7293" y="1138"/>
                  <a:pt x="7305" y="1143"/>
                  <a:pt x="7305" y="1143"/>
                </a:cubicBezTo>
                <a:cubicBezTo>
                  <a:pt x="7305" y="1143"/>
                  <a:pt x="7314" y="1160"/>
                  <a:pt x="7320" y="1167"/>
                </a:cubicBezTo>
                <a:cubicBezTo>
                  <a:pt x="7326" y="1174"/>
                  <a:pt x="7337" y="1178"/>
                  <a:pt x="7337" y="1178"/>
                </a:cubicBezTo>
                <a:cubicBezTo>
                  <a:pt x="7336" y="1186"/>
                  <a:pt x="7336" y="1186"/>
                  <a:pt x="7336" y="1186"/>
                </a:cubicBezTo>
                <a:cubicBezTo>
                  <a:pt x="7324" y="1188"/>
                  <a:pt x="7324" y="1188"/>
                  <a:pt x="7324" y="1188"/>
                </a:cubicBezTo>
                <a:cubicBezTo>
                  <a:pt x="7324" y="1188"/>
                  <a:pt x="7322" y="1196"/>
                  <a:pt x="7323" y="1202"/>
                </a:cubicBezTo>
                <a:cubicBezTo>
                  <a:pt x="7324" y="1208"/>
                  <a:pt x="7339" y="1221"/>
                  <a:pt x="7339" y="1221"/>
                </a:cubicBezTo>
                <a:cubicBezTo>
                  <a:pt x="7339" y="1221"/>
                  <a:pt x="7335" y="1234"/>
                  <a:pt x="7340" y="1237"/>
                </a:cubicBezTo>
                <a:cubicBezTo>
                  <a:pt x="7345" y="1240"/>
                  <a:pt x="7365" y="1238"/>
                  <a:pt x="7365" y="1238"/>
                </a:cubicBezTo>
                <a:cubicBezTo>
                  <a:pt x="7365" y="1238"/>
                  <a:pt x="7393" y="1245"/>
                  <a:pt x="7392" y="1236"/>
                </a:cubicBezTo>
                <a:cubicBezTo>
                  <a:pt x="7391" y="1227"/>
                  <a:pt x="7391" y="1212"/>
                  <a:pt x="7391" y="1212"/>
                </a:cubicBezTo>
                <a:cubicBezTo>
                  <a:pt x="7403" y="1206"/>
                  <a:pt x="7403" y="1206"/>
                  <a:pt x="7403" y="1206"/>
                </a:cubicBezTo>
                <a:cubicBezTo>
                  <a:pt x="7404" y="1196"/>
                  <a:pt x="7404" y="1196"/>
                  <a:pt x="7404" y="1196"/>
                </a:cubicBezTo>
                <a:cubicBezTo>
                  <a:pt x="7447" y="1199"/>
                  <a:pt x="7447" y="1199"/>
                  <a:pt x="7447" y="1199"/>
                </a:cubicBezTo>
                <a:cubicBezTo>
                  <a:pt x="7456" y="1204"/>
                  <a:pt x="7456" y="1204"/>
                  <a:pt x="7456" y="1204"/>
                </a:cubicBezTo>
                <a:cubicBezTo>
                  <a:pt x="7470" y="1162"/>
                  <a:pt x="7470" y="1162"/>
                  <a:pt x="7470" y="1162"/>
                </a:cubicBezTo>
                <a:cubicBezTo>
                  <a:pt x="7470" y="1162"/>
                  <a:pt x="7479" y="1136"/>
                  <a:pt x="7477" y="1130"/>
                </a:cubicBezTo>
                <a:cubicBezTo>
                  <a:pt x="7475" y="1124"/>
                  <a:pt x="7469" y="1113"/>
                  <a:pt x="7469" y="1113"/>
                </a:cubicBezTo>
                <a:cubicBezTo>
                  <a:pt x="7469" y="1113"/>
                  <a:pt x="7490" y="1110"/>
                  <a:pt x="7488" y="1099"/>
                </a:cubicBezTo>
                <a:cubicBezTo>
                  <a:pt x="7486" y="1088"/>
                  <a:pt x="7467" y="1088"/>
                  <a:pt x="7467" y="1088"/>
                </a:cubicBezTo>
                <a:cubicBezTo>
                  <a:pt x="7480" y="1083"/>
                  <a:pt x="7480" y="1083"/>
                  <a:pt x="7480" y="1083"/>
                </a:cubicBezTo>
                <a:cubicBezTo>
                  <a:pt x="7471" y="1079"/>
                  <a:pt x="7471" y="1079"/>
                  <a:pt x="7471" y="1079"/>
                </a:cubicBezTo>
                <a:cubicBezTo>
                  <a:pt x="7471" y="1079"/>
                  <a:pt x="7505" y="1081"/>
                  <a:pt x="7508" y="1070"/>
                </a:cubicBezTo>
                <a:cubicBezTo>
                  <a:pt x="7511" y="1059"/>
                  <a:pt x="7516" y="1053"/>
                  <a:pt x="7516" y="1053"/>
                </a:cubicBezTo>
                <a:cubicBezTo>
                  <a:pt x="7516" y="1053"/>
                  <a:pt x="7527" y="1071"/>
                  <a:pt x="7537" y="1059"/>
                </a:cubicBezTo>
                <a:cubicBezTo>
                  <a:pt x="7547" y="1047"/>
                  <a:pt x="7541" y="1037"/>
                  <a:pt x="7541" y="1037"/>
                </a:cubicBezTo>
                <a:cubicBezTo>
                  <a:pt x="7541" y="1037"/>
                  <a:pt x="7568" y="1032"/>
                  <a:pt x="7561" y="1018"/>
                </a:cubicBezTo>
                <a:cubicBezTo>
                  <a:pt x="7554" y="1004"/>
                  <a:pt x="7542" y="1001"/>
                  <a:pt x="7542" y="1001"/>
                </a:cubicBezTo>
                <a:cubicBezTo>
                  <a:pt x="7542" y="990"/>
                  <a:pt x="7542" y="990"/>
                  <a:pt x="7542" y="990"/>
                </a:cubicBezTo>
                <a:cubicBezTo>
                  <a:pt x="7518" y="980"/>
                  <a:pt x="7518" y="980"/>
                  <a:pt x="7518" y="980"/>
                </a:cubicBezTo>
                <a:cubicBezTo>
                  <a:pt x="7518" y="980"/>
                  <a:pt x="7507" y="987"/>
                  <a:pt x="7499" y="980"/>
                </a:cubicBezTo>
                <a:cubicBezTo>
                  <a:pt x="7491" y="973"/>
                  <a:pt x="7488" y="931"/>
                  <a:pt x="7488" y="931"/>
                </a:cubicBezTo>
                <a:cubicBezTo>
                  <a:pt x="7488" y="931"/>
                  <a:pt x="7499" y="921"/>
                  <a:pt x="7500" y="910"/>
                </a:cubicBezTo>
                <a:cubicBezTo>
                  <a:pt x="7501" y="899"/>
                  <a:pt x="7490" y="889"/>
                  <a:pt x="7490" y="889"/>
                </a:cubicBezTo>
                <a:cubicBezTo>
                  <a:pt x="7490" y="889"/>
                  <a:pt x="7504" y="892"/>
                  <a:pt x="7508" y="884"/>
                </a:cubicBezTo>
                <a:cubicBezTo>
                  <a:pt x="7512" y="876"/>
                  <a:pt x="7503" y="864"/>
                  <a:pt x="7503" y="864"/>
                </a:cubicBezTo>
                <a:cubicBezTo>
                  <a:pt x="7503" y="864"/>
                  <a:pt x="7520" y="873"/>
                  <a:pt x="7525" y="868"/>
                </a:cubicBezTo>
                <a:cubicBezTo>
                  <a:pt x="7530" y="863"/>
                  <a:pt x="7542" y="851"/>
                  <a:pt x="7542" y="851"/>
                </a:cubicBezTo>
                <a:cubicBezTo>
                  <a:pt x="7562" y="854"/>
                  <a:pt x="7562" y="854"/>
                  <a:pt x="7562" y="854"/>
                </a:cubicBezTo>
                <a:cubicBezTo>
                  <a:pt x="7570" y="839"/>
                  <a:pt x="7570" y="839"/>
                  <a:pt x="7570" y="839"/>
                </a:cubicBezTo>
                <a:cubicBezTo>
                  <a:pt x="7570" y="839"/>
                  <a:pt x="7601" y="840"/>
                  <a:pt x="7611" y="830"/>
                </a:cubicBezTo>
                <a:cubicBezTo>
                  <a:pt x="7621" y="820"/>
                  <a:pt x="7635" y="794"/>
                  <a:pt x="7635" y="794"/>
                </a:cubicBezTo>
                <a:cubicBezTo>
                  <a:pt x="7623" y="779"/>
                  <a:pt x="7623" y="779"/>
                  <a:pt x="7623" y="779"/>
                </a:cubicBezTo>
                <a:cubicBezTo>
                  <a:pt x="7643" y="756"/>
                  <a:pt x="7643" y="756"/>
                  <a:pt x="7643" y="756"/>
                </a:cubicBezTo>
                <a:cubicBezTo>
                  <a:pt x="7632" y="743"/>
                  <a:pt x="7632" y="743"/>
                  <a:pt x="7632" y="743"/>
                </a:cubicBezTo>
                <a:cubicBezTo>
                  <a:pt x="7657" y="737"/>
                  <a:pt x="7657" y="737"/>
                  <a:pt x="7657" y="737"/>
                </a:cubicBezTo>
                <a:cubicBezTo>
                  <a:pt x="7667" y="725"/>
                  <a:pt x="7667" y="725"/>
                  <a:pt x="7667" y="725"/>
                </a:cubicBezTo>
                <a:cubicBezTo>
                  <a:pt x="7720" y="727"/>
                  <a:pt x="7720" y="727"/>
                  <a:pt x="7720" y="727"/>
                </a:cubicBezTo>
                <a:cubicBezTo>
                  <a:pt x="7728" y="740"/>
                  <a:pt x="7728" y="740"/>
                  <a:pt x="7728" y="740"/>
                </a:cubicBezTo>
                <a:cubicBezTo>
                  <a:pt x="7730" y="738"/>
                  <a:pt x="7730" y="738"/>
                  <a:pt x="7730" y="738"/>
                </a:cubicBezTo>
                <a:cubicBezTo>
                  <a:pt x="7740" y="732"/>
                  <a:pt x="7740" y="732"/>
                  <a:pt x="7740" y="732"/>
                </a:cubicBezTo>
                <a:cubicBezTo>
                  <a:pt x="7740" y="732"/>
                  <a:pt x="7769" y="739"/>
                  <a:pt x="7771" y="751"/>
                </a:cubicBezTo>
                <a:cubicBezTo>
                  <a:pt x="7773" y="763"/>
                  <a:pt x="7774" y="773"/>
                  <a:pt x="7774" y="773"/>
                </a:cubicBezTo>
                <a:cubicBezTo>
                  <a:pt x="7774" y="773"/>
                  <a:pt x="7762" y="767"/>
                  <a:pt x="7759" y="768"/>
                </a:cubicBezTo>
                <a:cubicBezTo>
                  <a:pt x="7756" y="769"/>
                  <a:pt x="7734" y="794"/>
                  <a:pt x="7734" y="794"/>
                </a:cubicBezTo>
                <a:cubicBezTo>
                  <a:pt x="7711" y="817"/>
                  <a:pt x="7711" y="817"/>
                  <a:pt x="7711" y="817"/>
                </a:cubicBezTo>
                <a:cubicBezTo>
                  <a:pt x="7688" y="822"/>
                  <a:pt x="7688" y="822"/>
                  <a:pt x="7688" y="822"/>
                </a:cubicBezTo>
                <a:cubicBezTo>
                  <a:pt x="7688" y="822"/>
                  <a:pt x="7673" y="834"/>
                  <a:pt x="7673" y="843"/>
                </a:cubicBezTo>
                <a:cubicBezTo>
                  <a:pt x="7673" y="852"/>
                  <a:pt x="7653" y="852"/>
                  <a:pt x="7653" y="852"/>
                </a:cubicBezTo>
                <a:cubicBezTo>
                  <a:pt x="7637" y="870"/>
                  <a:pt x="7637" y="870"/>
                  <a:pt x="7637" y="870"/>
                </a:cubicBezTo>
                <a:cubicBezTo>
                  <a:pt x="7637" y="870"/>
                  <a:pt x="7633" y="882"/>
                  <a:pt x="7635" y="886"/>
                </a:cubicBezTo>
                <a:cubicBezTo>
                  <a:pt x="7637" y="890"/>
                  <a:pt x="7641" y="898"/>
                  <a:pt x="7641" y="898"/>
                </a:cubicBezTo>
                <a:cubicBezTo>
                  <a:pt x="7639" y="914"/>
                  <a:pt x="7639" y="914"/>
                  <a:pt x="7639" y="914"/>
                </a:cubicBezTo>
                <a:cubicBezTo>
                  <a:pt x="7654" y="927"/>
                  <a:pt x="7654" y="927"/>
                  <a:pt x="7654" y="927"/>
                </a:cubicBezTo>
                <a:cubicBezTo>
                  <a:pt x="7654" y="927"/>
                  <a:pt x="7644" y="959"/>
                  <a:pt x="7648" y="968"/>
                </a:cubicBezTo>
                <a:cubicBezTo>
                  <a:pt x="7652" y="977"/>
                  <a:pt x="7663" y="986"/>
                  <a:pt x="7663" y="986"/>
                </a:cubicBezTo>
                <a:cubicBezTo>
                  <a:pt x="7678" y="997"/>
                  <a:pt x="7678" y="997"/>
                  <a:pt x="7678" y="997"/>
                </a:cubicBezTo>
                <a:cubicBezTo>
                  <a:pt x="7706" y="994"/>
                  <a:pt x="7706" y="994"/>
                  <a:pt x="7706" y="994"/>
                </a:cubicBezTo>
                <a:cubicBezTo>
                  <a:pt x="7706" y="994"/>
                  <a:pt x="7697" y="1010"/>
                  <a:pt x="7717" y="1012"/>
                </a:cubicBezTo>
                <a:cubicBezTo>
                  <a:pt x="7737" y="1014"/>
                  <a:pt x="7772" y="1009"/>
                  <a:pt x="7772" y="1009"/>
                </a:cubicBezTo>
                <a:cubicBezTo>
                  <a:pt x="7791" y="999"/>
                  <a:pt x="7791" y="999"/>
                  <a:pt x="7791" y="999"/>
                </a:cubicBezTo>
                <a:cubicBezTo>
                  <a:pt x="7814" y="999"/>
                  <a:pt x="7814" y="999"/>
                  <a:pt x="7814" y="999"/>
                </a:cubicBezTo>
                <a:cubicBezTo>
                  <a:pt x="7847" y="982"/>
                  <a:pt x="7847" y="982"/>
                  <a:pt x="7847" y="982"/>
                </a:cubicBezTo>
                <a:cubicBezTo>
                  <a:pt x="7896" y="985"/>
                  <a:pt x="7896" y="985"/>
                  <a:pt x="7896" y="985"/>
                </a:cubicBezTo>
                <a:cubicBezTo>
                  <a:pt x="7901" y="982"/>
                  <a:pt x="7901" y="982"/>
                  <a:pt x="7901" y="982"/>
                </a:cubicBezTo>
                <a:cubicBezTo>
                  <a:pt x="7921" y="971"/>
                  <a:pt x="7921" y="971"/>
                  <a:pt x="7921" y="971"/>
                </a:cubicBezTo>
                <a:cubicBezTo>
                  <a:pt x="7923" y="982"/>
                  <a:pt x="7923" y="982"/>
                  <a:pt x="7923" y="982"/>
                </a:cubicBezTo>
                <a:cubicBezTo>
                  <a:pt x="7923" y="982"/>
                  <a:pt x="7936" y="995"/>
                  <a:pt x="7942" y="998"/>
                </a:cubicBezTo>
                <a:cubicBezTo>
                  <a:pt x="7948" y="1001"/>
                  <a:pt x="7975" y="1001"/>
                  <a:pt x="7975" y="1001"/>
                </a:cubicBezTo>
                <a:cubicBezTo>
                  <a:pt x="7984" y="1013"/>
                  <a:pt x="7984" y="1013"/>
                  <a:pt x="7984" y="1013"/>
                </a:cubicBezTo>
                <a:cubicBezTo>
                  <a:pt x="7984" y="1013"/>
                  <a:pt x="7945" y="1004"/>
                  <a:pt x="7943" y="1010"/>
                </a:cubicBezTo>
                <a:cubicBezTo>
                  <a:pt x="7941" y="1016"/>
                  <a:pt x="7941" y="1020"/>
                  <a:pt x="7941" y="1020"/>
                </a:cubicBezTo>
                <a:cubicBezTo>
                  <a:pt x="7915" y="1021"/>
                  <a:pt x="7915" y="1021"/>
                  <a:pt x="7915" y="1021"/>
                </a:cubicBezTo>
                <a:cubicBezTo>
                  <a:pt x="7911" y="1039"/>
                  <a:pt x="7911" y="1039"/>
                  <a:pt x="7911" y="1039"/>
                </a:cubicBezTo>
                <a:cubicBezTo>
                  <a:pt x="7911" y="1039"/>
                  <a:pt x="7908" y="1038"/>
                  <a:pt x="7903" y="1037"/>
                </a:cubicBezTo>
                <a:cubicBezTo>
                  <a:pt x="7887" y="1034"/>
                  <a:pt x="7852" y="1028"/>
                  <a:pt x="7842" y="1027"/>
                </a:cubicBezTo>
                <a:cubicBezTo>
                  <a:pt x="7829" y="1026"/>
                  <a:pt x="7782" y="1032"/>
                  <a:pt x="7782" y="1032"/>
                </a:cubicBezTo>
                <a:cubicBezTo>
                  <a:pt x="7782" y="1032"/>
                  <a:pt x="7732" y="1050"/>
                  <a:pt x="7732" y="1057"/>
                </a:cubicBezTo>
                <a:cubicBezTo>
                  <a:pt x="7732" y="1064"/>
                  <a:pt x="7738" y="1082"/>
                  <a:pt x="7738" y="1082"/>
                </a:cubicBezTo>
                <a:cubicBezTo>
                  <a:pt x="7777" y="1087"/>
                  <a:pt x="7777" y="1087"/>
                  <a:pt x="7777" y="1087"/>
                </a:cubicBezTo>
                <a:cubicBezTo>
                  <a:pt x="7769" y="1113"/>
                  <a:pt x="7769" y="1113"/>
                  <a:pt x="7769" y="1113"/>
                </a:cubicBezTo>
                <a:cubicBezTo>
                  <a:pt x="7769" y="1113"/>
                  <a:pt x="7786" y="1156"/>
                  <a:pt x="7773" y="1156"/>
                </a:cubicBezTo>
                <a:cubicBezTo>
                  <a:pt x="7760" y="1156"/>
                  <a:pt x="7736" y="1153"/>
                  <a:pt x="7736" y="1153"/>
                </a:cubicBezTo>
                <a:cubicBezTo>
                  <a:pt x="7729" y="1138"/>
                  <a:pt x="7729" y="1138"/>
                  <a:pt x="7729" y="1138"/>
                </a:cubicBezTo>
                <a:cubicBezTo>
                  <a:pt x="7706" y="1119"/>
                  <a:pt x="7706" y="1119"/>
                  <a:pt x="7706" y="1119"/>
                </a:cubicBezTo>
                <a:cubicBezTo>
                  <a:pt x="7706" y="1119"/>
                  <a:pt x="7674" y="1124"/>
                  <a:pt x="7671" y="1131"/>
                </a:cubicBezTo>
                <a:cubicBezTo>
                  <a:pt x="7668" y="1138"/>
                  <a:pt x="7666" y="1147"/>
                  <a:pt x="7666" y="1147"/>
                </a:cubicBezTo>
                <a:cubicBezTo>
                  <a:pt x="7666" y="1147"/>
                  <a:pt x="7650" y="1165"/>
                  <a:pt x="7650" y="1170"/>
                </a:cubicBezTo>
                <a:cubicBezTo>
                  <a:pt x="7650" y="1175"/>
                  <a:pt x="7656" y="1205"/>
                  <a:pt x="7656" y="1205"/>
                </a:cubicBezTo>
                <a:cubicBezTo>
                  <a:pt x="7656" y="1205"/>
                  <a:pt x="7657" y="1240"/>
                  <a:pt x="7666" y="1242"/>
                </a:cubicBezTo>
                <a:cubicBezTo>
                  <a:pt x="7668" y="1242"/>
                  <a:pt x="7669" y="1244"/>
                  <a:pt x="7669" y="1246"/>
                </a:cubicBezTo>
                <a:cubicBezTo>
                  <a:pt x="7669" y="1251"/>
                  <a:pt x="7661" y="1260"/>
                  <a:pt x="7661" y="1260"/>
                </a:cubicBezTo>
                <a:cubicBezTo>
                  <a:pt x="7661" y="1260"/>
                  <a:pt x="7620" y="1255"/>
                  <a:pt x="7614" y="1262"/>
                </a:cubicBezTo>
                <a:cubicBezTo>
                  <a:pt x="7608" y="1269"/>
                  <a:pt x="7621" y="1278"/>
                  <a:pt x="7621" y="1278"/>
                </a:cubicBezTo>
                <a:cubicBezTo>
                  <a:pt x="7616" y="1287"/>
                  <a:pt x="7616" y="1287"/>
                  <a:pt x="7616" y="1287"/>
                </a:cubicBezTo>
                <a:cubicBezTo>
                  <a:pt x="7616" y="1287"/>
                  <a:pt x="7580" y="1291"/>
                  <a:pt x="7574" y="1290"/>
                </a:cubicBezTo>
                <a:cubicBezTo>
                  <a:pt x="7568" y="1289"/>
                  <a:pt x="7563" y="1272"/>
                  <a:pt x="7563" y="1272"/>
                </a:cubicBezTo>
                <a:cubicBezTo>
                  <a:pt x="7563" y="1272"/>
                  <a:pt x="7549" y="1268"/>
                  <a:pt x="7534" y="1268"/>
                </a:cubicBezTo>
                <a:cubicBezTo>
                  <a:pt x="7519" y="1268"/>
                  <a:pt x="7479" y="1285"/>
                  <a:pt x="7479" y="1285"/>
                </a:cubicBezTo>
                <a:cubicBezTo>
                  <a:pt x="7466" y="1296"/>
                  <a:pt x="7466" y="1296"/>
                  <a:pt x="7466" y="1296"/>
                </a:cubicBezTo>
                <a:cubicBezTo>
                  <a:pt x="7426" y="1301"/>
                  <a:pt x="7426" y="1301"/>
                  <a:pt x="7426" y="1301"/>
                </a:cubicBezTo>
                <a:cubicBezTo>
                  <a:pt x="7426" y="1301"/>
                  <a:pt x="7395" y="1312"/>
                  <a:pt x="7397" y="1316"/>
                </a:cubicBezTo>
                <a:cubicBezTo>
                  <a:pt x="7399" y="1320"/>
                  <a:pt x="7399" y="1330"/>
                  <a:pt x="7399" y="1330"/>
                </a:cubicBezTo>
                <a:cubicBezTo>
                  <a:pt x="7392" y="1326"/>
                  <a:pt x="7392" y="1326"/>
                  <a:pt x="7392" y="1326"/>
                </a:cubicBezTo>
                <a:cubicBezTo>
                  <a:pt x="7388" y="1324"/>
                  <a:pt x="7388" y="1324"/>
                  <a:pt x="7388" y="1324"/>
                </a:cubicBezTo>
                <a:cubicBezTo>
                  <a:pt x="7375" y="1319"/>
                  <a:pt x="7375" y="1319"/>
                  <a:pt x="7375" y="1319"/>
                </a:cubicBezTo>
                <a:cubicBezTo>
                  <a:pt x="7375" y="1319"/>
                  <a:pt x="7377" y="1314"/>
                  <a:pt x="7372" y="1308"/>
                </a:cubicBezTo>
                <a:cubicBezTo>
                  <a:pt x="7367" y="1302"/>
                  <a:pt x="7355" y="1305"/>
                  <a:pt x="7355" y="1305"/>
                </a:cubicBezTo>
                <a:cubicBezTo>
                  <a:pt x="7350" y="1299"/>
                  <a:pt x="7350" y="1299"/>
                  <a:pt x="7350" y="1299"/>
                </a:cubicBezTo>
                <a:cubicBezTo>
                  <a:pt x="7350" y="1299"/>
                  <a:pt x="7324" y="1287"/>
                  <a:pt x="7319" y="1290"/>
                </a:cubicBezTo>
                <a:cubicBezTo>
                  <a:pt x="7314" y="1293"/>
                  <a:pt x="7307" y="1300"/>
                  <a:pt x="7307" y="1300"/>
                </a:cubicBezTo>
                <a:cubicBezTo>
                  <a:pt x="7280" y="1299"/>
                  <a:pt x="7280" y="1299"/>
                  <a:pt x="7280" y="1299"/>
                </a:cubicBezTo>
                <a:cubicBezTo>
                  <a:pt x="7280" y="1311"/>
                  <a:pt x="7280" y="1311"/>
                  <a:pt x="7280" y="1311"/>
                </a:cubicBezTo>
                <a:cubicBezTo>
                  <a:pt x="7254" y="1310"/>
                  <a:pt x="7254" y="1310"/>
                  <a:pt x="7254" y="1310"/>
                </a:cubicBezTo>
                <a:cubicBezTo>
                  <a:pt x="7254" y="1310"/>
                  <a:pt x="7252" y="1302"/>
                  <a:pt x="7256" y="1299"/>
                </a:cubicBezTo>
                <a:cubicBezTo>
                  <a:pt x="7260" y="1296"/>
                  <a:pt x="7263" y="1284"/>
                  <a:pt x="7263" y="1284"/>
                </a:cubicBezTo>
                <a:cubicBezTo>
                  <a:pt x="7250" y="1291"/>
                  <a:pt x="7250" y="1291"/>
                  <a:pt x="7250" y="1291"/>
                </a:cubicBezTo>
                <a:cubicBezTo>
                  <a:pt x="7222" y="1286"/>
                  <a:pt x="7222" y="1286"/>
                  <a:pt x="7222" y="1286"/>
                </a:cubicBezTo>
                <a:cubicBezTo>
                  <a:pt x="7222" y="1286"/>
                  <a:pt x="7214" y="1278"/>
                  <a:pt x="7210" y="1268"/>
                </a:cubicBezTo>
                <a:cubicBezTo>
                  <a:pt x="7210" y="1268"/>
                  <a:pt x="7210" y="1268"/>
                  <a:pt x="7210" y="1268"/>
                </a:cubicBezTo>
                <a:cubicBezTo>
                  <a:pt x="7206" y="1258"/>
                  <a:pt x="7203" y="1252"/>
                  <a:pt x="7203" y="1252"/>
                </a:cubicBezTo>
                <a:cubicBezTo>
                  <a:pt x="7214" y="1239"/>
                  <a:pt x="7214" y="1239"/>
                  <a:pt x="7214" y="1239"/>
                </a:cubicBezTo>
                <a:cubicBezTo>
                  <a:pt x="7214" y="1239"/>
                  <a:pt x="7196" y="1224"/>
                  <a:pt x="7206" y="1222"/>
                </a:cubicBezTo>
                <a:cubicBezTo>
                  <a:pt x="7216" y="1220"/>
                  <a:pt x="7224" y="1213"/>
                  <a:pt x="7224" y="1213"/>
                </a:cubicBezTo>
                <a:cubicBezTo>
                  <a:pt x="7228" y="1194"/>
                  <a:pt x="7228" y="1194"/>
                  <a:pt x="7228" y="1194"/>
                </a:cubicBezTo>
                <a:cubicBezTo>
                  <a:pt x="7242" y="1194"/>
                  <a:pt x="7242" y="1194"/>
                  <a:pt x="7242" y="1194"/>
                </a:cubicBezTo>
                <a:cubicBezTo>
                  <a:pt x="7247" y="1179"/>
                  <a:pt x="7247" y="1179"/>
                  <a:pt x="7247" y="1179"/>
                </a:cubicBezTo>
                <a:cubicBezTo>
                  <a:pt x="7224" y="1179"/>
                  <a:pt x="7224" y="1179"/>
                  <a:pt x="7224" y="1179"/>
                </a:cubicBezTo>
                <a:cubicBezTo>
                  <a:pt x="7224" y="1179"/>
                  <a:pt x="7220" y="1163"/>
                  <a:pt x="7224" y="1160"/>
                </a:cubicBezTo>
                <a:cubicBezTo>
                  <a:pt x="7228" y="1157"/>
                  <a:pt x="7241" y="1143"/>
                  <a:pt x="7238" y="1138"/>
                </a:cubicBezTo>
                <a:cubicBezTo>
                  <a:pt x="7235" y="1133"/>
                  <a:pt x="7231" y="1126"/>
                  <a:pt x="7231" y="1126"/>
                </a:cubicBezTo>
                <a:cubicBezTo>
                  <a:pt x="7231" y="1126"/>
                  <a:pt x="7213" y="1124"/>
                  <a:pt x="7212" y="1127"/>
                </a:cubicBezTo>
                <a:cubicBezTo>
                  <a:pt x="7211" y="1130"/>
                  <a:pt x="7191" y="1155"/>
                  <a:pt x="7191" y="1160"/>
                </a:cubicBezTo>
                <a:cubicBezTo>
                  <a:pt x="7191" y="1165"/>
                  <a:pt x="7194" y="1177"/>
                  <a:pt x="7194" y="1177"/>
                </a:cubicBezTo>
                <a:cubicBezTo>
                  <a:pt x="7181" y="1166"/>
                  <a:pt x="7181" y="1166"/>
                  <a:pt x="7181" y="1166"/>
                </a:cubicBezTo>
                <a:cubicBezTo>
                  <a:pt x="7175" y="1145"/>
                  <a:pt x="7175" y="1145"/>
                  <a:pt x="7175" y="1145"/>
                </a:cubicBezTo>
                <a:cubicBezTo>
                  <a:pt x="7175" y="1145"/>
                  <a:pt x="7150" y="1161"/>
                  <a:pt x="7151" y="1164"/>
                </a:cubicBezTo>
                <a:cubicBezTo>
                  <a:pt x="7152" y="1167"/>
                  <a:pt x="7165" y="1165"/>
                  <a:pt x="7166" y="1168"/>
                </a:cubicBezTo>
                <a:cubicBezTo>
                  <a:pt x="7167" y="1171"/>
                  <a:pt x="7176" y="1185"/>
                  <a:pt x="7176" y="1185"/>
                </a:cubicBezTo>
                <a:cubicBezTo>
                  <a:pt x="7153" y="1181"/>
                  <a:pt x="7153" y="1181"/>
                  <a:pt x="7153" y="1181"/>
                </a:cubicBezTo>
                <a:cubicBezTo>
                  <a:pt x="7153" y="1181"/>
                  <a:pt x="7141" y="1196"/>
                  <a:pt x="7142" y="1204"/>
                </a:cubicBezTo>
                <a:cubicBezTo>
                  <a:pt x="7143" y="1212"/>
                  <a:pt x="7159" y="1214"/>
                  <a:pt x="7159" y="1214"/>
                </a:cubicBezTo>
                <a:cubicBezTo>
                  <a:pt x="7159" y="1214"/>
                  <a:pt x="7145" y="1230"/>
                  <a:pt x="7148" y="1232"/>
                </a:cubicBezTo>
                <a:cubicBezTo>
                  <a:pt x="7151" y="1234"/>
                  <a:pt x="7165" y="1234"/>
                  <a:pt x="7165" y="1234"/>
                </a:cubicBezTo>
                <a:cubicBezTo>
                  <a:pt x="7164" y="1249"/>
                  <a:pt x="7164" y="1249"/>
                  <a:pt x="7164" y="1249"/>
                </a:cubicBezTo>
                <a:cubicBezTo>
                  <a:pt x="7156" y="1259"/>
                  <a:pt x="7156" y="1259"/>
                  <a:pt x="7156" y="1259"/>
                </a:cubicBezTo>
                <a:cubicBezTo>
                  <a:pt x="7166" y="1264"/>
                  <a:pt x="7166" y="1264"/>
                  <a:pt x="7166" y="1264"/>
                </a:cubicBezTo>
                <a:cubicBezTo>
                  <a:pt x="7180" y="1287"/>
                  <a:pt x="7180" y="1287"/>
                  <a:pt x="7180" y="1287"/>
                </a:cubicBezTo>
                <a:cubicBezTo>
                  <a:pt x="7171" y="1295"/>
                  <a:pt x="7171" y="1295"/>
                  <a:pt x="7171" y="1295"/>
                </a:cubicBezTo>
                <a:cubicBezTo>
                  <a:pt x="7184" y="1313"/>
                  <a:pt x="7184" y="1313"/>
                  <a:pt x="7184" y="1313"/>
                </a:cubicBezTo>
                <a:cubicBezTo>
                  <a:pt x="7196" y="1322"/>
                  <a:pt x="7196" y="1322"/>
                  <a:pt x="7196" y="1322"/>
                </a:cubicBezTo>
                <a:cubicBezTo>
                  <a:pt x="7177" y="1315"/>
                  <a:pt x="7177" y="1315"/>
                  <a:pt x="7177" y="1315"/>
                </a:cubicBezTo>
                <a:cubicBezTo>
                  <a:pt x="7159" y="1319"/>
                  <a:pt x="7159" y="1319"/>
                  <a:pt x="7159" y="1319"/>
                </a:cubicBezTo>
                <a:cubicBezTo>
                  <a:pt x="7159" y="1319"/>
                  <a:pt x="7164" y="1334"/>
                  <a:pt x="7158" y="1336"/>
                </a:cubicBezTo>
                <a:cubicBezTo>
                  <a:pt x="7152" y="1338"/>
                  <a:pt x="7142" y="1336"/>
                  <a:pt x="7142" y="1336"/>
                </a:cubicBezTo>
                <a:cubicBezTo>
                  <a:pt x="7136" y="1326"/>
                  <a:pt x="7136" y="1326"/>
                  <a:pt x="7136" y="1326"/>
                </a:cubicBezTo>
                <a:cubicBezTo>
                  <a:pt x="7136" y="1326"/>
                  <a:pt x="7109" y="1323"/>
                  <a:pt x="7108" y="1328"/>
                </a:cubicBezTo>
                <a:cubicBezTo>
                  <a:pt x="7107" y="1333"/>
                  <a:pt x="7107" y="1346"/>
                  <a:pt x="7107" y="1346"/>
                </a:cubicBezTo>
                <a:cubicBezTo>
                  <a:pt x="7107" y="1346"/>
                  <a:pt x="7091" y="1340"/>
                  <a:pt x="7085" y="1340"/>
                </a:cubicBezTo>
                <a:cubicBezTo>
                  <a:pt x="7079" y="1340"/>
                  <a:pt x="7056" y="1339"/>
                  <a:pt x="7056" y="1339"/>
                </a:cubicBezTo>
                <a:cubicBezTo>
                  <a:pt x="7056" y="1339"/>
                  <a:pt x="7042" y="1344"/>
                  <a:pt x="7034" y="1349"/>
                </a:cubicBezTo>
                <a:cubicBezTo>
                  <a:pt x="7035" y="1353"/>
                  <a:pt x="7038" y="1358"/>
                  <a:pt x="7038" y="1360"/>
                </a:cubicBezTo>
                <a:cubicBezTo>
                  <a:pt x="7039" y="1363"/>
                  <a:pt x="7042" y="1373"/>
                  <a:pt x="7042" y="1373"/>
                </a:cubicBezTo>
                <a:cubicBezTo>
                  <a:pt x="7042" y="1373"/>
                  <a:pt x="7045" y="1379"/>
                  <a:pt x="7047" y="1379"/>
                </a:cubicBezTo>
                <a:cubicBezTo>
                  <a:pt x="7050" y="1379"/>
                  <a:pt x="7053" y="1382"/>
                  <a:pt x="7053" y="1387"/>
                </a:cubicBezTo>
                <a:cubicBezTo>
                  <a:pt x="7054" y="1391"/>
                  <a:pt x="7042" y="1398"/>
                  <a:pt x="7035" y="1399"/>
                </a:cubicBezTo>
                <a:cubicBezTo>
                  <a:pt x="7029" y="1399"/>
                  <a:pt x="7026" y="1394"/>
                  <a:pt x="7023" y="1391"/>
                </a:cubicBezTo>
                <a:cubicBezTo>
                  <a:pt x="7019" y="1387"/>
                  <a:pt x="7025" y="1384"/>
                  <a:pt x="7031" y="1376"/>
                </a:cubicBezTo>
                <a:cubicBezTo>
                  <a:pt x="7037" y="1368"/>
                  <a:pt x="7033" y="1363"/>
                  <a:pt x="7033" y="1363"/>
                </a:cubicBezTo>
                <a:cubicBezTo>
                  <a:pt x="7033" y="1363"/>
                  <a:pt x="7030" y="1360"/>
                  <a:pt x="7028" y="1355"/>
                </a:cubicBezTo>
                <a:cubicBezTo>
                  <a:pt x="7023" y="1362"/>
                  <a:pt x="7012" y="1369"/>
                  <a:pt x="7012" y="1369"/>
                </a:cubicBezTo>
                <a:cubicBezTo>
                  <a:pt x="7012" y="1369"/>
                  <a:pt x="6995" y="1381"/>
                  <a:pt x="6995" y="1388"/>
                </a:cubicBezTo>
                <a:cubicBezTo>
                  <a:pt x="6995" y="1395"/>
                  <a:pt x="6991" y="1408"/>
                  <a:pt x="6991" y="1408"/>
                </a:cubicBezTo>
                <a:cubicBezTo>
                  <a:pt x="6973" y="1428"/>
                  <a:pt x="6973" y="1428"/>
                  <a:pt x="6973" y="1428"/>
                </a:cubicBezTo>
                <a:cubicBezTo>
                  <a:pt x="6979" y="1436"/>
                  <a:pt x="6979" y="1436"/>
                  <a:pt x="6979" y="1436"/>
                </a:cubicBezTo>
                <a:cubicBezTo>
                  <a:pt x="6962" y="1437"/>
                  <a:pt x="6962" y="1437"/>
                  <a:pt x="6962" y="1437"/>
                </a:cubicBezTo>
                <a:cubicBezTo>
                  <a:pt x="6945" y="1443"/>
                  <a:pt x="6945" y="1443"/>
                  <a:pt x="6945" y="1443"/>
                </a:cubicBezTo>
                <a:cubicBezTo>
                  <a:pt x="6934" y="1453"/>
                  <a:pt x="6934" y="1453"/>
                  <a:pt x="6934" y="1453"/>
                </a:cubicBezTo>
                <a:cubicBezTo>
                  <a:pt x="6924" y="1461"/>
                  <a:pt x="6924" y="1461"/>
                  <a:pt x="6924" y="1461"/>
                </a:cubicBezTo>
                <a:cubicBezTo>
                  <a:pt x="6924" y="1461"/>
                  <a:pt x="6908" y="1458"/>
                  <a:pt x="6898" y="1462"/>
                </a:cubicBezTo>
                <a:cubicBezTo>
                  <a:pt x="6888" y="1466"/>
                  <a:pt x="6863" y="1462"/>
                  <a:pt x="6867" y="1470"/>
                </a:cubicBezTo>
                <a:cubicBezTo>
                  <a:pt x="6871" y="1478"/>
                  <a:pt x="6874" y="1485"/>
                  <a:pt x="6874" y="1485"/>
                </a:cubicBezTo>
                <a:cubicBezTo>
                  <a:pt x="6874" y="1485"/>
                  <a:pt x="6882" y="1502"/>
                  <a:pt x="6871" y="1510"/>
                </a:cubicBezTo>
                <a:cubicBezTo>
                  <a:pt x="6860" y="1518"/>
                  <a:pt x="6838" y="1518"/>
                  <a:pt x="6838" y="1518"/>
                </a:cubicBezTo>
                <a:cubicBezTo>
                  <a:pt x="6813" y="1538"/>
                  <a:pt x="6813" y="1538"/>
                  <a:pt x="6813" y="1538"/>
                </a:cubicBezTo>
                <a:cubicBezTo>
                  <a:pt x="6822" y="1544"/>
                  <a:pt x="6822" y="1544"/>
                  <a:pt x="6822" y="1544"/>
                </a:cubicBezTo>
                <a:cubicBezTo>
                  <a:pt x="6822" y="1544"/>
                  <a:pt x="6802" y="1556"/>
                  <a:pt x="6787" y="1555"/>
                </a:cubicBezTo>
                <a:cubicBezTo>
                  <a:pt x="6772" y="1554"/>
                  <a:pt x="6763" y="1549"/>
                  <a:pt x="6763" y="1549"/>
                </a:cubicBezTo>
                <a:cubicBezTo>
                  <a:pt x="6752" y="1534"/>
                  <a:pt x="6752" y="1534"/>
                  <a:pt x="6752" y="1534"/>
                </a:cubicBezTo>
                <a:cubicBezTo>
                  <a:pt x="6752" y="1534"/>
                  <a:pt x="6731" y="1526"/>
                  <a:pt x="6732" y="1533"/>
                </a:cubicBezTo>
                <a:cubicBezTo>
                  <a:pt x="6733" y="1540"/>
                  <a:pt x="6744" y="1554"/>
                  <a:pt x="6744" y="1554"/>
                </a:cubicBezTo>
                <a:cubicBezTo>
                  <a:pt x="6744" y="1554"/>
                  <a:pt x="6757" y="1578"/>
                  <a:pt x="6739" y="1581"/>
                </a:cubicBezTo>
                <a:cubicBezTo>
                  <a:pt x="6721" y="1584"/>
                  <a:pt x="6702" y="1583"/>
                  <a:pt x="6702" y="1583"/>
                </a:cubicBezTo>
                <a:cubicBezTo>
                  <a:pt x="6695" y="1594"/>
                  <a:pt x="6695" y="1594"/>
                  <a:pt x="6695" y="1594"/>
                </a:cubicBezTo>
                <a:cubicBezTo>
                  <a:pt x="6695" y="1594"/>
                  <a:pt x="6679" y="1574"/>
                  <a:pt x="6673" y="1575"/>
                </a:cubicBezTo>
                <a:cubicBezTo>
                  <a:pt x="6667" y="1576"/>
                  <a:pt x="6647" y="1582"/>
                  <a:pt x="6647" y="1582"/>
                </a:cubicBezTo>
                <a:cubicBezTo>
                  <a:pt x="6647" y="1582"/>
                  <a:pt x="6611" y="1587"/>
                  <a:pt x="6608" y="1594"/>
                </a:cubicBezTo>
                <a:cubicBezTo>
                  <a:pt x="6605" y="1601"/>
                  <a:pt x="6627" y="1607"/>
                  <a:pt x="6626" y="1610"/>
                </a:cubicBezTo>
                <a:cubicBezTo>
                  <a:pt x="6625" y="1613"/>
                  <a:pt x="6596" y="1611"/>
                  <a:pt x="6602" y="1619"/>
                </a:cubicBezTo>
                <a:cubicBezTo>
                  <a:pt x="6608" y="1627"/>
                  <a:pt x="6627" y="1628"/>
                  <a:pt x="6627" y="1628"/>
                </a:cubicBezTo>
                <a:cubicBezTo>
                  <a:pt x="6634" y="1624"/>
                  <a:pt x="6634" y="1624"/>
                  <a:pt x="6634" y="1624"/>
                </a:cubicBezTo>
                <a:cubicBezTo>
                  <a:pt x="6666" y="1642"/>
                  <a:pt x="6666" y="1642"/>
                  <a:pt x="6666" y="1642"/>
                </a:cubicBezTo>
                <a:cubicBezTo>
                  <a:pt x="6686" y="1642"/>
                  <a:pt x="6686" y="1642"/>
                  <a:pt x="6686" y="1642"/>
                </a:cubicBezTo>
                <a:cubicBezTo>
                  <a:pt x="6698" y="1654"/>
                  <a:pt x="6698" y="1654"/>
                  <a:pt x="6698" y="1654"/>
                </a:cubicBezTo>
                <a:cubicBezTo>
                  <a:pt x="6724" y="1657"/>
                  <a:pt x="6724" y="1657"/>
                  <a:pt x="6724" y="1657"/>
                </a:cubicBezTo>
                <a:cubicBezTo>
                  <a:pt x="6705" y="1667"/>
                  <a:pt x="6705" y="1667"/>
                  <a:pt x="6705" y="1667"/>
                </a:cubicBezTo>
                <a:cubicBezTo>
                  <a:pt x="6705" y="1667"/>
                  <a:pt x="6724" y="1698"/>
                  <a:pt x="6728" y="1702"/>
                </a:cubicBezTo>
                <a:cubicBezTo>
                  <a:pt x="6732" y="1706"/>
                  <a:pt x="6749" y="1706"/>
                  <a:pt x="6749" y="1706"/>
                </a:cubicBezTo>
                <a:cubicBezTo>
                  <a:pt x="6747" y="1735"/>
                  <a:pt x="6747" y="1735"/>
                  <a:pt x="6747" y="1735"/>
                </a:cubicBezTo>
                <a:cubicBezTo>
                  <a:pt x="6760" y="1755"/>
                  <a:pt x="6760" y="1755"/>
                  <a:pt x="6760" y="1755"/>
                </a:cubicBezTo>
                <a:cubicBezTo>
                  <a:pt x="6769" y="1778"/>
                  <a:pt x="6769" y="1778"/>
                  <a:pt x="6769" y="1778"/>
                </a:cubicBezTo>
                <a:cubicBezTo>
                  <a:pt x="6748" y="1752"/>
                  <a:pt x="6748" y="1752"/>
                  <a:pt x="6748" y="1752"/>
                </a:cubicBezTo>
                <a:cubicBezTo>
                  <a:pt x="6748" y="1752"/>
                  <a:pt x="6746" y="1781"/>
                  <a:pt x="6745" y="1791"/>
                </a:cubicBezTo>
                <a:cubicBezTo>
                  <a:pt x="6744" y="1801"/>
                  <a:pt x="6733" y="1841"/>
                  <a:pt x="6728" y="1849"/>
                </a:cubicBezTo>
                <a:cubicBezTo>
                  <a:pt x="6724" y="1856"/>
                  <a:pt x="6726" y="1865"/>
                  <a:pt x="6714" y="1867"/>
                </a:cubicBezTo>
                <a:cubicBezTo>
                  <a:pt x="6712" y="1867"/>
                  <a:pt x="6710" y="1867"/>
                  <a:pt x="6708" y="1867"/>
                </a:cubicBezTo>
                <a:cubicBezTo>
                  <a:pt x="6689" y="1867"/>
                  <a:pt x="6642" y="1858"/>
                  <a:pt x="6642" y="1858"/>
                </a:cubicBezTo>
                <a:cubicBezTo>
                  <a:pt x="6622" y="1866"/>
                  <a:pt x="6622" y="1866"/>
                  <a:pt x="6622" y="1866"/>
                </a:cubicBezTo>
                <a:cubicBezTo>
                  <a:pt x="6584" y="1862"/>
                  <a:pt x="6584" y="1862"/>
                  <a:pt x="6584" y="1862"/>
                </a:cubicBezTo>
                <a:cubicBezTo>
                  <a:pt x="6584" y="1862"/>
                  <a:pt x="6559" y="1848"/>
                  <a:pt x="6544" y="1851"/>
                </a:cubicBezTo>
                <a:cubicBezTo>
                  <a:pt x="6529" y="1854"/>
                  <a:pt x="6508" y="1855"/>
                  <a:pt x="6503" y="1855"/>
                </a:cubicBezTo>
                <a:cubicBezTo>
                  <a:pt x="6498" y="1855"/>
                  <a:pt x="6479" y="1852"/>
                  <a:pt x="6479" y="1852"/>
                </a:cubicBezTo>
                <a:cubicBezTo>
                  <a:pt x="6479" y="1852"/>
                  <a:pt x="6469" y="1844"/>
                  <a:pt x="6463" y="1844"/>
                </a:cubicBezTo>
                <a:cubicBezTo>
                  <a:pt x="6457" y="1844"/>
                  <a:pt x="6437" y="1862"/>
                  <a:pt x="6437" y="1862"/>
                </a:cubicBezTo>
                <a:cubicBezTo>
                  <a:pt x="6437" y="1862"/>
                  <a:pt x="6392" y="1869"/>
                  <a:pt x="6390" y="1882"/>
                </a:cubicBezTo>
                <a:cubicBezTo>
                  <a:pt x="6388" y="1895"/>
                  <a:pt x="6409" y="1911"/>
                  <a:pt x="6409" y="1911"/>
                </a:cubicBezTo>
                <a:cubicBezTo>
                  <a:pt x="6401" y="1934"/>
                  <a:pt x="6401" y="1934"/>
                  <a:pt x="6401" y="1934"/>
                </a:cubicBezTo>
                <a:cubicBezTo>
                  <a:pt x="6401" y="1934"/>
                  <a:pt x="6402" y="1938"/>
                  <a:pt x="6403" y="1945"/>
                </a:cubicBezTo>
                <a:cubicBezTo>
                  <a:pt x="6406" y="1955"/>
                  <a:pt x="6409" y="1972"/>
                  <a:pt x="6408" y="1985"/>
                </a:cubicBezTo>
                <a:cubicBezTo>
                  <a:pt x="6407" y="2006"/>
                  <a:pt x="6385" y="2046"/>
                  <a:pt x="6385" y="2046"/>
                </a:cubicBezTo>
                <a:cubicBezTo>
                  <a:pt x="6371" y="2078"/>
                  <a:pt x="6371" y="2078"/>
                  <a:pt x="6371" y="2078"/>
                </a:cubicBezTo>
                <a:cubicBezTo>
                  <a:pt x="6371" y="2078"/>
                  <a:pt x="6362" y="2105"/>
                  <a:pt x="6368" y="2112"/>
                </a:cubicBezTo>
                <a:cubicBezTo>
                  <a:pt x="6374" y="2119"/>
                  <a:pt x="6385" y="2123"/>
                  <a:pt x="6385" y="2123"/>
                </a:cubicBezTo>
                <a:cubicBezTo>
                  <a:pt x="6392" y="2160"/>
                  <a:pt x="6392" y="2160"/>
                  <a:pt x="6392" y="2160"/>
                </a:cubicBezTo>
                <a:cubicBezTo>
                  <a:pt x="6392" y="2160"/>
                  <a:pt x="6376" y="2202"/>
                  <a:pt x="6382" y="2203"/>
                </a:cubicBezTo>
                <a:cubicBezTo>
                  <a:pt x="6388" y="2204"/>
                  <a:pt x="6414" y="2200"/>
                  <a:pt x="6414" y="2200"/>
                </a:cubicBezTo>
                <a:cubicBezTo>
                  <a:pt x="6414" y="2200"/>
                  <a:pt x="6418" y="2209"/>
                  <a:pt x="6424" y="2208"/>
                </a:cubicBezTo>
                <a:cubicBezTo>
                  <a:pt x="6429" y="2207"/>
                  <a:pt x="6446" y="2197"/>
                  <a:pt x="6449" y="2195"/>
                </a:cubicBezTo>
                <a:cubicBezTo>
                  <a:pt x="6450" y="2195"/>
                  <a:pt x="6450" y="2195"/>
                  <a:pt x="6450" y="2195"/>
                </a:cubicBezTo>
                <a:cubicBezTo>
                  <a:pt x="6469" y="2194"/>
                  <a:pt x="6469" y="2194"/>
                  <a:pt x="6469" y="2194"/>
                </a:cubicBezTo>
                <a:cubicBezTo>
                  <a:pt x="6485" y="2209"/>
                  <a:pt x="6485" y="2209"/>
                  <a:pt x="6485" y="2209"/>
                </a:cubicBezTo>
                <a:cubicBezTo>
                  <a:pt x="6497" y="2209"/>
                  <a:pt x="6497" y="2209"/>
                  <a:pt x="6497" y="2209"/>
                </a:cubicBezTo>
                <a:cubicBezTo>
                  <a:pt x="6491" y="2226"/>
                  <a:pt x="6491" y="2226"/>
                  <a:pt x="6491" y="2226"/>
                </a:cubicBezTo>
                <a:cubicBezTo>
                  <a:pt x="6498" y="2227"/>
                  <a:pt x="6498" y="2227"/>
                  <a:pt x="6498" y="2227"/>
                </a:cubicBezTo>
                <a:cubicBezTo>
                  <a:pt x="6498" y="2227"/>
                  <a:pt x="6498" y="2247"/>
                  <a:pt x="6505" y="2250"/>
                </a:cubicBezTo>
                <a:cubicBezTo>
                  <a:pt x="6512" y="2253"/>
                  <a:pt x="6524" y="2257"/>
                  <a:pt x="6524" y="2257"/>
                </a:cubicBezTo>
                <a:cubicBezTo>
                  <a:pt x="6524" y="2257"/>
                  <a:pt x="6541" y="2245"/>
                  <a:pt x="6544" y="2239"/>
                </a:cubicBezTo>
                <a:cubicBezTo>
                  <a:pt x="6547" y="2233"/>
                  <a:pt x="6565" y="2233"/>
                  <a:pt x="6565" y="2233"/>
                </a:cubicBezTo>
                <a:cubicBezTo>
                  <a:pt x="6584" y="2221"/>
                  <a:pt x="6584" y="2221"/>
                  <a:pt x="6584" y="2221"/>
                </a:cubicBezTo>
                <a:cubicBezTo>
                  <a:pt x="6584" y="2221"/>
                  <a:pt x="6617" y="2223"/>
                  <a:pt x="6623" y="2221"/>
                </a:cubicBezTo>
                <a:cubicBezTo>
                  <a:pt x="6629" y="2219"/>
                  <a:pt x="6639" y="2215"/>
                  <a:pt x="6639" y="2215"/>
                </a:cubicBezTo>
                <a:cubicBezTo>
                  <a:pt x="6639" y="2215"/>
                  <a:pt x="6647" y="2223"/>
                  <a:pt x="6653" y="2222"/>
                </a:cubicBezTo>
                <a:cubicBezTo>
                  <a:pt x="6659" y="2221"/>
                  <a:pt x="6675" y="2214"/>
                  <a:pt x="6675" y="2214"/>
                </a:cubicBezTo>
                <a:cubicBezTo>
                  <a:pt x="6675" y="2214"/>
                  <a:pt x="6674" y="2226"/>
                  <a:pt x="6685" y="2218"/>
                </a:cubicBezTo>
                <a:cubicBezTo>
                  <a:pt x="6696" y="2210"/>
                  <a:pt x="6698" y="2191"/>
                  <a:pt x="6698" y="2191"/>
                </a:cubicBezTo>
                <a:cubicBezTo>
                  <a:pt x="6719" y="2173"/>
                  <a:pt x="6719" y="2173"/>
                  <a:pt x="6719" y="2173"/>
                </a:cubicBezTo>
                <a:cubicBezTo>
                  <a:pt x="6742" y="2172"/>
                  <a:pt x="6742" y="2172"/>
                  <a:pt x="6742" y="2172"/>
                </a:cubicBezTo>
                <a:cubicBezTo>
                  <a:pt x="6744" y="2159"/>
                  <a:pt x="6744" y="2159"/>
                  <a:pt x="6744" y="2159"/>
                </a:cubicBezTo>
                <a:cubicBezTo>
                  <a:pt x="6744" y="2159"/>
                  <a:pt x="6755" y="2130"/>
                  <a:pt x="6758" y="2128"/>
                </a:cubicBezTo>
                <a:cubicBezTo>
                  <a:pt x="6761" y="2126"/>
                  <a:pt x="6788" y="2123"/>
                  <a:pt x="6789" y="2114"/>
                </a:cubicBezTo>
                <a:cubicBezTo>
                  <a:pt x="6790" y="2105"/>
                  <a:pt x="6767" y="2093"/>
                  <a:pt x="6767" y="2093"/>
                </a:cubicBezTo>
                <a:cubicBezTo>
                  <a:pt x="6767" y="2093"/>
                  <a:pt x="6765" y="2070"/>
                  <a:pt x="6773" y="2059"/>
                </a:cubicBezTo>
                <a:cubicBezTo>
                  <a:pt x="6781" y="2048"/>
                  <a:pt x="6792" y="2035"/>
                  <a:pt x="6792" y="2035"/>
                </a:cubicBezTo>
                <a:cubicBezTo>
                  <a:pt x="6792" y="2035"/>
                  <a:pt x="6809" y="2017"/>
                  <a:pt x="6812" y="2016"/>
                </a:cubicBezTo>
                <a:cubicBezTo>
                  <a:pt x="6815" y="2015"/>
                  <a:pt x="6827" y="2007"/>
                  <a:pt x="6824" y="2005"/>
                </a:cubicBezTo>
                <a:cubicBezTo>
                  <a:pt x="6821" y="2003"/>
                  <a:pt x="6816" y="1995"/>
                  <a:pt x="6826" y="1990"/>
                </a:cubicBezTo>
                <a:cubicBezTo>
                  <a:pt x="6836" y="1985"/>
                  <a:pt x="6860" y="1980"/>
                  <a:pt x="6873" y="1975"/>
                </a:cubicBezTo>
                <a:cubicBezTo>
                  <a:pt x="6886" y="1970"/>
                  <a:pt x="6902" y="1957"/>
                  <a:pt x="6902" y="1957"/>
                </a:cubicBezTo>
                <a:cubicBezTo>
                  <a:pt x="6902" y="1957"/>
                  <a:pt x="6922" y="1948"/>
                  <a:pt x="6923" y="1945"/>
                </a:cubicBezTo>
                <a:cubicBezTo>
                  <a:pt x="6924" y="1942"/>
                  <a:pt x="6922" y="1930"/>
                  <a:pt x="6922" y="1930"/>
                </a:cubicBezTo>
                <a:cubicBezTo>
                  <a:pt x="6930" y="1925"/>
                  <a:pt x="6930" y="1925"/>
                  <a:pt x="6930" y="1925"/>
                </a:cubicBezTo>
                <a:cubicBezTo>
                  <a:pt x="6930" y="1925"/>
                  <a:pt x="6918" y="1919"/>
                  <a:pt x="6915" y="1911"/>
                </a:cubicBezTo>
                <a:cubicBezTo>
                  <a:pt x="6915" y="1910"/>
                  <a:pt x="6915" y="1909"/>
                  <a:pt x="6915" y="1908"/>
                </a:cubicBezTo>
                <a:cubicBezTo>
                  <a:pt x="6915" y="1898"/>
                  <a:pt x="6930" y="1875"/>
                  <a:pt x="6937" y="1871"/>
                </a:cubicBezTo>
                <a:cubicBezTo>
                  <a:pt x="6944" y="1867"/>
                  <a:pt x="6965" y="1850"/>
                  <a:pt x="6974" y="1855"/>
                </a:cubicBezTo>
                <a:cubicBezTo>
                  <a:pt x="6983" y="1860"/>
                  <a:pt x="6991" y="1865"/>
                  <a:pt x="6991" y="1865"/>
                </a:cubicBezTo>
                <a:cubicBezTo>
                  <a:pt x="6991" y="1865"/>
                  <a:pt x="7014" y="1859"/>
                  <a:pt x="7019" y="1864"/>
                </a:cubicBezTo>
                <a:cubicBezTo>
                  <a:pt x="7024" y="1869"/>
                  <a:pt x="7031" y="1877"/>
                  <a:pt x="7034" y="1879"/>
                </a:cubicBezTo>
                <a:cubicBezTo>
                  <a:pt x="7034" y="1879"/>
                  <a:pt x="7059" y="1889"/>
                  <a:pt x="7072" y="1879"/>
                </a:cubicBezTo>
                <a:cubicBezTo>
                  <a:pt x="7085" y="1869"/>
                  <a:pt x="7089" y="1850"/>
                  <a:pt x="7095" y="1848"/>
                </a:cubicBezTo>
                <a:cubicBezTo>
                  <a:pt x="7097" y="1847"/>
                  <a:pt x="7103" y="1847"/>
                  <a:pt x="7109" y="1846"/>
                </a:cubicBezTo>
                <a:cubicBezTo>
                  <a:pt x="7118" y="1845"/>
                  <a:pt x="7128" y="1844"/>
                  <a:pt x="7132" y="1840"/>
                </a:cubicBezTo>
                <a:cubicBezTo>
                  <a:pt x="7139" y="1833"/>
                  <a:pt x="7157" y="1812"/>
                  <a:pt x="7167" y="1812"/>
                </a:cubicBezTo>
                <a:cubicBezTo>
                  <a:pt x="7177" y="1812"/>
                  <a:pt x="7206" y="1819"/>
                  <a:pt x="7218" y="1829"/>
                </a:cubicBezTo>
                <a:cubicBezTo>
                  <a:pt x="7230" y="1839"/>
                  <a:pt x="7234" y="1859"/>
                  <a:pt x="7234" y="1859"/>
                </a:cubicBezTo>
                <a:cubicBezTo>
                  <a:pt x="7242" y="1867"/>
                  <a:pt x="7242" y="1867"/>
                  <a:pt x="7242" y="1867"/>
                </a:cubicBezTo>
                <a:cubicBezTo>
                  <a:pt x="7242" y="1867"/>
                  <a:pt x="7234" y="1888"/>
                  <a:pt x="7243" y="1893"/>
                </a:cubicBezTo>
                <a:cubicBezTo>
                  <a:pt x="7252" y="1898"/>
                  <a:pt x="7267" y="1903"/>
                  <a:pt x="7267" y="1903"/>
                </a:cubicBezTo>
                <a:cubicBezTo>
                  <a:pt x="7271" y="1916"/>
                  <a:pt x="7271" y="1916"/>
                  <a:pt x="7271" y="1916"/>
                </a:cubicBezTo>
                <a:cubicBezTo>
                  <a:pt x="7291" y="1917"/>
                  <a:pt x="7291" y="1917"/>
                  <a:pt x="7291" y="1917"/>
                </a:cubicBezTo>
                <a:cubicBezTo>
                  <a:pt x="7291" y="1917"/>
                  <a:pt x="7324" y="1951"/>
                  <a:pt x="7333" y="1961"/>
                </a:cubicBezTo>
                <a:cubicBezTo>
                  <a:pt x="7342" y="1971"/>
                  <a:pt x="7350" y="1980"/>
                  <a:pt x="7350" y="1980"/>
                </a:cubicBezTo>
                <a:cubicBezTo>
                  <a:pt x="7377" y="1981"/>
                  <a:pt x="7377" y="1981"/>
                  <a:pt x="7377" y="1981"/>
                </a:cubicBezTo>
                <a:cubicBezTo>
                  <a:pt x="7377" y="1981"/>
                  <a:pt x="7384" y="1996"/>
                  <a:pt x="7399" y="2001"/>
                </a:cubicBezTo>
                <a:cubicBezTo>
                  <a:pt x="7414" y="2006"/>
                  <a:pt x="7433" y="2002"/>
                  <a:pt x="7436" y="2009"/>
                </a:cubicBezTo>
                <a:cubicBezTo>
                  <a:pt x="7439" y="2016"/>
                  <a:pt x="7440" y="2039"/>
                  <a:pt x="7453" y="2042"/>
                </a:cubicBezTo>
                <a:cubicBezTo>
                  <a:pt x="7466" y="2045"/>
                  <a:pt x="7471" y="2040"/>
                  <a:pt x="7471" y="2040"/>
                </a:cubicBezTo>
                <a:cubicBezTo>
                  <a:pt x="7471" y="2040"/>
                  <a:pt x="7474" y="2059"/>
                  <a:pt x="7476" y="2073"/>
                </a:cubicBezTo>
                <a:cubicBezTo>
                  <a:pt x="7478" y="2087"/>
                  <a:pt x="7491" y="2086"/>
                  <a:pt x="7491" y="2096"/>
                </a:cubicBezTo>
                <a:cubicBezTo>
                  <a:pt x="7491" y="2106"/>
                  <a:pt x="7492" y="2113"/>
                  <a:pt x="7492" y="2113"/>
                </a:cubicBezTo>
                <a:cubicBezTo>
                  <a:pt x="7479" y="2112"/>
                  <a:pt x="7479" y="2112"/>
                  <a:pt x="7479" y="2112"/>
                </a:cubicBezTo>
                <a:cubicBezTo>
                  <a:pt x="7478" y="2127"/>
                  <a:pt x="7478" y="2127"/>
                  <a:pt x="7478" y="2127"/>
                </a:cubicBezTo>
                <a:cubicBezTo>
                  <a:pt x="7478" y="2127"/>
                  <a:pt x="7458" y="2156"/>
                  <a:pt x="7469" y="2156"/>
                </a:cubicBezTo>
                <a:cubicBezTo>
                  <a:pt x="7480" y="2156"/>
                  <a:pt x="7488" y="2150"/>
                  <a:pt x="7488" y="2150"/>
                </a:cubicBezTo>
                <a:cubicBezTo>
                  <a:pt x="7496" y="2135"/>
                  <a:pt x="7496" y="2135"/>
                  <a:pt x="7496" y="2135"/>
                </a:cubicBezTo>
                <a:cubicBezTo>
                  <a:pt x="7509" y="2133"/>
                  <a:pt x="7509" y="2133"/>
                  <a:pt x="7509" y="2133"/>
                </a:cubicBezTo>
                <a:cubicBezTo>
                  <a:pt x="7509" y="2133"/>
                  <a:pt x="7506" y="2111"/>
                  <a:pt x="7510" y="2108"/>
                </a:cubicBezTo>
                <a:cubicBezTo>
                  <a:pt x="7514" y="2105"/>
                  <a:pt x="7535" y="2099"/>
                  <a:pt x="7535" y="2099"/>
                </a:cubicBezTo>
                <a:cubicBezTo>
                  <a:pt x="7535" y="2099"/>
                  <a:pt x="7530" y="2079"/>
                  <a:pt x="7526" y="2075"/>
                </a:cubicBezTo>
                <a:cubicBezTo>
                  <a:pt x="7522" y="2071"/>
                  <a:pt x="7504" y="2066"/>
                  <a:pt x="7505" y="2059"/>
                </a:cubicBezTo>
                <a:cubicBezTo>
                  <a:pt x="7506" y="2052"/>
                  <a:pt x="7519" y="2018"/>
                  <a:pt x="7527" y="2021"/>
                </a:cubicBezTo>
                <a:cubicBezTo>
                  <a:pt x="7535" y="2024"/>
                  <a:pt x="7542" y="2028"/>
                  <a:pt x="7542" y="2028"/>
                </a:cubicBezTo>
                <a:cubicBezTo>
                  <a:pt x="7562" y="2028"/>
                  <a:pt x="7562" y="2028"/>
                  <a:pt x="7562" y="2028"/>
                </a:cubicBezTo>
                <a:cubicBezTo>
                  <a:pt x="7562" y="2028"/>
                  <a:pt x="7565" y="2051"/>
                  <a:pt x="7579" y="2052"/>
                </a:cubicBezTo>
                <a:cubicBezTo>
                  <a:pt x="7593" y="2053"/>
                  <a:pt x="7597" y="2039"/>
                  <a:pt x="7589" y="2030"/>
                </a:cubicBezTo>
                <a:cubicBezTo>
                  <a:pt x="7581" y="2021"/>
                  <a:pt x="7555" y="2004"/>
                  <a:pt x="7555" y="2004"/>
                </a:cubicBezTo>
                <a:cubicBezTo>
                  <a:pt x="7525" y="1988"/>
                  <a:pt x="7525" y="1988"/>
                  <a:pt x="7525" y="1988"/>
                </a:cubicBezTo>
                <a:cubicBezTo>
                  <a:pt x="7525" y="1988"/>
                  <a:pt x="7472" y="1975"/>
                  <a:pt x="7476" y="1966"/>
                </a:cubicBezTo>
                <a:cubicBezTo>
                  <a:pt x="7480" y="1957"/>
                  <a:pt x="7489" y="1956"/>
                  <a:pt x="7488" y="1948"/>
                </a:cubicBezTo>
                <a:cubicBezTo>
                  <a:pt x="7487" y="1940"/>
                  <a:pt x="7439" y="1938"/>
                  <a:pt x="7439" y="1938"/>
                </a:cubicBezTo>
                <a:cubicBezTo>
                  <a:pt x="7439" y="1938"/>
                  <a:pt x="7425" y="1933"/>
                  <a:pt x="7408" y="1916"/>
                </a:cubicBezTo>
                <a:cubicBezTo>
                  <a:pt x="7391" y="1899"/>
                  <a:pt x="7385" y="1883"/>
                  <a:pt x="7385" y="1883"/>
                </a:cubicBezTo>
                <a:cubicBezTo>
                  <a:pt x="7385" y="1883"/>
                  <a:pt x="7380" y="1859"/>
                  <a:pt x="7370" y="1853"/>
                </a:cubicBezTo>
                <a:cubicBezTo>
                  <a:pt x="7360" y="1847"/>
                  <a:pt x="7349" y="1837"/>
                  <a:pt x="7349" y="1837"/>
                </a:cubicBezTo>
                <a:cubicBezTo>
                  <a:pt x="7323" y="1815"/>
                  <a:pt x="7323" y="1815"/>
                  <a:pt x="7323" y="1815"/>
                </a:cubicBezTo>
                <a:cubicBezTo>
                  <a:pt x="7323" y="1815"/>
                  <a:pt x="7309" y="1793"/>
                  <a:pt x="7314" y="1791"/>
                </a:cubicBezTo>
                <a:cubicBezTo>
                  <a:pt x="7319" y="1789"/>
                  <a:pt x="7327" y="1787"/>
                  <a:pt x="7327" y="1782"/>
                </a:cubicBezTo>
                <a:cubicBezTo>
                  <a:pt x="7327" y="1777"/>
                  <a:pt x="7310" y="1768"/>
                  <a:pt x="7318" y="1759"/>
                </a:cubicBezTo>
                <a:cubicBezTo>
                  <a:pt x="7326" y="1750"/>
                  <a:pt x="7349" y="1744"/>
                  <a:pt x="7349" y="1744"/>
                </a:cubicBezTo>
                <a:cubicBezTo>
                  <a:pt x="7363" y="1738"/>
                  <a:pt x="7363" y="1738"/>
                  <a:pt x="7363" y="1738"/>
                </a:cubicBezTo>
                <a:cubicBezTo>
                  <a:pt x="7363" y="1738"/>
                  <a:pt x="7386" y="1742"/>
                  <a:pt x="7383" y="1746"/>
                </a:cubicBezTo>
                <a:cubicBezTo>
                  <a:pt x="7382" y="1748"/>
                  <a:pt x="7380" y="1752"/>
                  <a:pt x="7378" y="1756"/>
                </a:cubicBezTo>
                <a:cubicBezTo>
                  <a:pt x="7376" y="1760"/>
                  <a:pt x="7374" y="1765"/>
                  <a:pt x="7374" y="1765"/>
                </a:cubicBezTo>
                <a:cubicBezTo>
                  <a:pt x="7374" y="1765"/>
                  <a:pt x="7373" y="1795"/>
                  <a:pt x="7381" y="1786"/>
                </a:cubicBezTo>
                <a:cubicBezTo>
                  <a:pt x="7389" y="1777"/>
                  <a:pt x="7400" y="1762"/>
                  <a:pt x="7404" y="1768"/>
                </a:cubicBezTo>
                <a:cubicBezTo>
                  <a:pt x="7408" y="1774"/>
                  <a:pt x="7408" y="1789"/>
                  <a:pt x="7408" y="1789"/>
                </a:cubicBezTo>
                <a:cubicBezTo>
                  <a:pt x="7427" y="1785"/>
                  <a:pt x="7427" y="1785"/>
                  <a:pt x="7427" y="1785"/>
                </a:cubicBezTo>
                <a:cubicBezTo>
                  <a:pt x="7427" y="1785"/>
                  <a:pt x="7421" y="1805"/>
                  <a:pt x="7433" y="1809"/>
                </a:cubicBezTo>
                <a:cubicBezTo>
                  <a:pt x="7445" y="1813"/>
                  <a:pt x="7441" y="1821"/>
                  <a:pt x="7441" y="1821"/>
                </a:cubicBezTo>
                <a:cubicBezTo>
                  <a:pt x="7470" y="1842"/>
                  <a:pt x="7470" y="1842"/>
                  <a:pt x="7470" y="1842"/>
                </a:cubicBezTo>
                <a:cubicBezTo>
                  <a:pt x="7471" y="1859"/>
                  <a:pt x="7471" y="1859"/>
                  <a:pt x="7471" y="1859"/>
                </a:cubicBezTo>
                <a:cubicBezTo>
                  <a:pt x="7498" y="1860"/>
                  <a:pt x="7498" y="1860"/>
                  <a:pt x="7498" y="1860"/>
                </a:cubicBezTo>
                <a:cubicBezTo>
                  <a:pt x="7498" y="1860"/>
                  <a:pt x="7515" y="1861"/>
                  <a:pt x="7519" y="1869"/>
                </a:cubicBezTo>
                <a:cubicBezTo>
                  <a:pt x="7519" y="1869"/>
                  <a:pt x="7515" y="1878"/>
                  <a:pt x="7521" y="1882"/>
                </a:cubicBezTo>
                <a:cubicBezTo>
                  <a:pt x="7538" y="1884"/>
                  <a:pt x="7538" y="1884"/>
                  <a:pt x="7538" y="1884"/>
                </a:cubicBezTo>
                <a:cubicBezTo>
                  <a:pt x="7546" y="1885"/>
                  <a:pt x="7546" y="1885"/>
                  <a:pt x="7546" y="1885"/>
                </a:cubicBezTo>
                <a:cubicBezTo>
                  <a:pt x="7546" y="1885"/>
                  <a:pt x="7573" y="1912"/>
                  <a:pt x="7582" y="1917"/>
                </a:cubicBezTo>
                <a:cubicBezTo>
                  <a:pt x="7583" y="1918"/>
                  <a:pt x="7584" y="1918"/>
                  <a:pt x="7584" y="1918"/>
                </a:cubicBezTo>
                <a:cubicBezTo>
                  <a:pt x="7591" y="1920"/>
                  <a:pt x="7602" y="1915"/>
                  <a:pt x="7602" y="1915"/>
                </a:cubicBezTo>
                <a:cubicBezTo>
                  <a:pt x="7602" y="1927"/>
                  <a:pt x="7602" y="1927"/>
                  <a:pt x="7602" y="1927"/>
                </a:cubicBezTo>
                <a:cubicBezTo>
                  <a:pt x="7619" y="1943"/>
                  <a:pt x="7619" y="1943"/>
                  <a:pt x="7619" y="1943"/>
                </a:cubicBezTo>
                <a:cubicBezTo>
                  <a:pt x="7623" y="1947"/>
                  <a:pt x="7623" y="1947"/>
                  <a:pt x="7623" y="1947"/>
                </a:cubicBezTo>
                <a:cubicBezTo>
                  <a:pt x="7639" y="1947"/>
                  <a:pt x="7639" y="1947"/>
                  <a:pt x="7639" y="1947"/>
                </a:cubicBezTo>
                <a:cubicBezTo>
                  <a:pt x="7639" y="1947"/>
                  <a:pt x="7634" y="1986"/>
                  <a:pt x="7633" y="1998"/>
                </a:cubicBezTo>
                <a:cubicBezTo>
                  <a:pt x="7632" y="2010"/>
                  <a:pt x="7621" y="2026"/>
                  <a:pt x="7626" y="2031"/>
                </a:cubicBezTo>
                <a:cubicBezTo>
                  <a:pt x="7631" y="2036"/>
                  <a:pt x="7649" y="2046"/>
                  <a:pt x="7649" y="2046"/>
                </a:cubicBezTo>
                <a:cubicBezTo>
                  <a:pt x="7649" y="2046"/>
                  <a:pt x="7646" y="2066"/>
                  <a:pt x="7650" y="2065"/>
                </a:cubicBezTo>
                <a:cubicBezTo>
                  <a:pt x="7654" y="2064"/>
                  <a:pt x="7673" y="2067"/>
                  <a:pt x="7673" y="2067"/>
                </a:cubicBezTo>
                <a:cubicBezTo>
                  <a:pt x="7673" y="2067"/>
                  <a:pt x="7668" y="2084"/>
                  <a:pt x="7677" y="2087"/>
                </a:cubicBezTo>
                <a:cubicBezTo>
                  <a:pt x="7686" y="2090"/>
                  <a:pt x="7697" y="2107"/>
                  <a:pt x="7697" y="2107"/>
                </a:cubicBezTo>
                <a:cubicBezTo>
                  <a:pt x="7697" y="2107"/>
                  <a:pt x="7707" y="2130"/>
                  <a:pt x="7715" y="2130"/>
                </a:cubicBezTo>
                <a:cubicBezTo>
                  <a:pt x="7723" y="2130"/>
                  <a:pt x="7744" y="2129"/>
                  <a:pt x="7744" y="2129"/>
                </a:cubicBezTo>
                <a:cubicBezTo>
                  <a:pt x="7744" y="2129"/>
                  <a:pt x="7758" y="2124"/>
                  <a:pt x="7765" y="2127"/>
                </a:cubicBezTo>
                <a:cubicBezTo>
                  <a:pt x="7772" y="2130"/>
                  <a:pt x="7809" y="2144"/>
                  <a:pt x="7809" y="2144"/>
                </a:cubicBezTo>
                <a:cubicBezTo>
                  <a:pt x="7809" y="2144"/>
                  <a:pt x="7831" y="2167"/>
                  <a:pt x="7836" y="2161"/>
                </a:cubicBezTo>
                <a:cubicBezTo>
                  <a:pt x="7841" y="2155"/>
                  <a:pt x="7842" y="2146"/>
                  <a:pt x="7834" y="2139"/>
                </a:cubicBezTo>
                <a:cubicBezTo>
                  <a:pt x="7826" y="2132"/>
                  <a:pt x="7810" y="2119"/>
                  <a:pt x="7807" y="2118"/>
                </a:cubicBezTo>
                <a:cubicBezTo>
                  <a:pt x="7804" y="2117"/>
                  <a:pt x="7785" y="2108"/>
                  <a:pt x="7785" y="2108"/>
                </a:cubicBezTo>
                <a:cubicBezTo>
                  <a:pt x="7785" y="2108"/>
                  <a:pt x="7792" y="2102"/>
                  <a:pt x="7796" y="2103"/>
                </a:cubicBezTo>
                <a:cubicBezTo>
                  <a:pt x="7800" y="2104"/>
                  <a:pt x="7823" y="2127"/>
                  <a:pt x="7837" y="2129"/>
                </a:cubicBezTo>
                <a:cubicBezTo>
                  <a:pt x="7851" y="2131"/>
                  <a:pt x="7857" y="2115"/>
                  <a:pt x="7844" y="2113"/>
                </a:cubicBezTo>
                <a:cubicBezTo>
                  <a:pt x="7831" y="2111"/>
                  <a:pt x="7821" y="2107"/>
                  <a:pt x="7821" y="2107"/>
                </a:cubicBezTo>
                <a:cubicBezTo>
                  <a:pt x="7821" y="2107"/>
                  <a:pt x="7807" y="2099"/>
                  <a:pt x="7805" y="2092"/>
                </a:cubicBezTo>
                <a:cubicBezTo>
                  <a:pt x="7803" y="2085"/>
                  <a:pt x="7791" y="2068"/>
                  <a:pt x="7791" y="2068"/>
                </a:cubicBezTo>
                <a:cubicBezTo>
                  <a:pt x="7791" y="2068"/>
                  <a:pt x="7780" y="2051"/>
                  <a:pt x="7775" y="2045"/>
                </a:cubicBezTo>
                <a:cubicBezTo>
                  <a:pt x="7770" y="2039"/>
                  <a:pt x="7765" y="2018"/>
                  <a:pt x="7772" y="2015"/>
                </a:cubicBezTo>
                <a:cubicBezTo>
                  <a:pt x="7779" y="2012"/>
                  <a:pt x="7781" y="2029"/>
                  <a:pt x="7789" y="2029"/>
                </a:cubicBezTo>
                <a:cubicBezTo>
                  <a:pt x="7791" y="2029"/>
                  <a:pt x="7794" y="2029"/>
                  <a:pt x="7797" y="2029"/>
                </a:cubicBezTo>
                <a:cubicBezTo>
                  <a:pt x="7801" y="2037"/>
                  <a:pt x="7805" y="2046"/>
                  <a:pt x="7807" y="2047"/>
                </a:cubicBezTo>
                <a:cubicBezTo>
                  <a:pt x="7810" y="2049"/>
                  <a:pt x="7816" y="2045"/>
                  <a:pt x="7816" y="2045"/>
                </a:cubicBezTo>
                <a:cubicBezTo>
                  <a:pt x="7808" y="2030"/>
                  <a:pt x="7808" y="2030"/>
                  <a:pt x="7808" y="2030"/>
                </a:cubicBezTo>
                <a:cubicBezTo>
                  <a:pt x="7809" y="2030"/>
                  <a:pt x="7810" y="2030"/>
                  <a:pt x="7811" y="2030"/>
                </a:cubicBezTo>
                <a:cubicBezTo>
                  <a:pt x="7829" y="2041"/>
                  <a:pt x="7829" y="2041"/>
                  <a:pt x="7829" y="2041"/>
                </a:cubicBezTo>
                <a:cubicBezTo>
                  <a:pt x="7820" y="2028"/>
                  <a:pt x="7820" y="2028"/>
                  <a:pt x="7820" y="2028"/>
                </a:cubicBezTo>
                <a:cubicBezTo>
                  <a:pt x="7820" y="2028"/>
                  <a:pt x="7821" y="2028"/>
                  <a:pt x="7821" y="2028"/>
                </a:cubicBezTo>
                <a:cubicBezTo>
                  <a:pt x="7824" y="2025"/>
                  <a:pt x="7825" y="2017"/>
                  <a:pt x="7824" y="2009"/>
                </a:cubicBezTo>
                <a:cubicBezTo>
                  <a:pt x="7823" y="2001"/>
                  <a:pt x="7841" y="1997"/>
                  <a:pt x="7850" y="2000"/>
                </a:cubicBezTo>
                <a:cubicBezTo>
                  <a:pt x="7859" y="2003"/>
                  <a:pt x="7852" y="2016"/>
                  <a:pt x="7861" y="2013"/>
                </a:cubicBezTo>
                <a:cubicBezTo>
                  <a:pt x="7870" y="2010"/>
                  <a:pt x="7873" y="1995"/>
                  <a:pt x="7878" y="1994"/>
                </a:cubicBezTo>
                <a:cubicBezTo>
                  <a:pt x="7883" y="1993"/>
                  <a:pt x="7926" y="2003"/>
                  <a:pt x="7926" y="2003"/>
                </a:cubicBezTo>
                <a:cubicBezTo>
                  <a:pt x="7926" y="2003"/>
                  <a:pt x="7914" y="2015"/>
                  <a:pt x="7929" y="2014"/>
                </a:cubicBezTo>
                <a:cubicBezTo>
                  <a:pt x="7944" y="2013"/>
                  <a:pt x="7955" y="2008"/>
                  <a:pt x="7955" y="2008"/>
                </a:cubicBezTo>
                <a:cubicBezTo>
                  <a:pt x="7955" y="2008"/>
                  <a:pt x="7951" y="2018"/>
                  <a:pt x="7959" y="2015"/>
                </a:cubicBezTo>
                <a:cubicBezTo>
                  <a:pt x="7967" y="2012"/>
                  <a:pt x="7986" y="1993"/>
                  <a:pt x="7986" y="1993"/>
                </a:cubicBezTo>
                <a:cubicBezTo>
                  <a:pt x="7986" y="1993"/>
                  <a:pt x="8020" y="1981"/>
                  <a:pt x="8031" y="1989"/>
                </a:cubicBezTo>
                <a:cubicBezTo>
                  <a:pt x="8042" y="1997"/>
                  <a:pt x="8076" y="2002"/>
                  <a:pt x="8076" y="2002"/>
                </a:cubicBezTo>
                <a:cubicBezTo>
                  <a:pt x="8076" y="2002"/>
                  <a:pt x="8045" y="2006"/>
                  <a:pt x="8044" y="2009"/>
                </a:cubicBezTo>
                <a:cubicBezTo>
                  <a:pt x="8043" y="2012"/>
                  <a:pt x="8038" y="2021"/>
                  <a:pt x="8038" y="2021"/>
                </a:cubicBezTo>
                <a:cubicBezTo>
                  <a:pt x="8005" y="2022"/>
                  <a:pt x="8005" y="2022"/>
                  <a:pt x="8005" y="2022"/>
                </a:cubicBezTo>
                <a:cubicBezTo>
                  <a:pt x="7971" y="2019"/>
                  <a:pt x="7971" y="2019"/>
                  <a:pt x="7971" y="2019"/>
                </a:cubicBezTo>
                <a:cubicBezTo>
                  <a:pt x="7971" y="2019"/>
                  <a:pt x="7945" y="2025"/>
                  <a:pt x="7941" y="2033"/>
                </a:cubicBezTo>
                <a:cubicBezTo>
                  <a:pt x="7937" y="2041"/>
                  <a:pt x="7928" y="2071"/>
                  <a:pt x="7928" y="2071"/>
                </a:cubicBezTo>
                <a:cubicBezTo>
                  <a:pt x="7955" y="2070"/>
                  <a:pt x="7955" y="2070"/>
                  <a:pt x="7955" y="2070"/>
                </a:cubicBezTo>
                <a:cubicBezTo>
                  <a:pt x="7955" y="2070"/>
                  <a:pt x="7951" y="2079"/>
                  <a:pt x="7956" y="2087"/>
                </a:cubicBezTo>
                <a:cubicBezTo>
                  <a:pt x="7961" y="2095"/>
                  <a:pt x="7967" y="2103"/>
                  <a:pt x="7967" y="2103"/>
                </a:cubicBezTo>
                <a:cubicBezTo>
                  <a:pt x="7962" y="2114"/>
                  <a:pt x="7962" y="2114"/>
                  <a:pt x="7962" y="2114"/>
                </a:cubicBezTo>
                <a:cubicBezTo>
                  <a:pt x="7972" y="2129"/>
                  <a:pt x="7972" y="2129"/>
                  <a:pt x="7972" y="2129"/>
                </a:cubicBezTo>
                <a:cubicBezTo>
                  <a:pt x="7963" y="2140"/>
                  <a:pt x="7963" y="2140"/>
                  <a:pt x="7963" y="2140"/>
                </a:cubicBezTo>
                <a:cubicBezTo>
                  <a:pt x="7987" y="2162"/>
                  <a:pt x="7987" y="2162"/>
                  <a:pt x="7987" y="2162"/>
                </a:cubicBezTo>
                <a:cubicBezTo>
                  <a:pt x="7985" y="2186"/>
                  <a:pt x="7985" y="2186"/>
                  <a:pt x="7985" y="2186"/>
                </a:cubicBezTo>
                <a:cubicBezTo>
                  <a:pt x="8019" y="2203"/>
                  <a:pt x="8019" y="2203"/>
                  <a:pt x="8019" y="2203"/>
                </a:cubicBezTo>
                <a:cubicBezTo>
                  <a:pt x="8025" y="2225"/>
                  <a:pt x="8025" y="2225"/>
                  <a:pt x="8025" y="2225"/>
                </a:cubicBezTo>
                <a:cubicBezTo>
                  <a:pt x="8025" y="2225"/>
                  <a:pt x="8022" y="2213"/>
                  <a:pt x="8041" y="2218"/>
                </a:cubicBezTo>
                <a:cubicBezTo>
                  <a:pt x="8060" y="2223"/>
                  <a:pt x="8057" y="2240"/>
                  <a:pt x="8087" y="2243"/>
                </a:cubicBezTo>
                <a:cubicBezTo>
                  <a:pt x="8117" y="2246"/>
                  <a:pt x="8129" y="2245"/>
                  <a:pt x="8129" y="2238"/>
                </a:cubicBezTo>
                <a:cubicBezTo>
                  <a:pt x="8129" y="2231"/>
                  <a:pt x="8131" y="2212"/>
                  <a:pt x="8141" y="2211"/>
                </a:cubicBezTo>
                <a:cubicBezTo>
                  <a:pt x="8151" y="2210"/>
                  <a:pt x="8178" y="2217"/>
                  <a:pt x="8192" y="2222"/>
                </a:cubicBezTo>
                <a:cubicBezTo>
                  <a:pt x="8206" y="2227"/>
                  <a:pt x="8192" y="2254"/>
                  <a:pt x="8238" y="2253"/>
                </a:cubicBezTo>
                <a:cubicBezTo>
                  <a:pt x="8284" y="2252"/>
                  <a:pt x="8285" y="2227"/>
                  <a:pt x="8301" y="2222"/>
                </a:cubicBezTo>
                <a:cubicBezTo>
                  <a:pt x="8317" y="2217"/>
                  <a:pt x="8329" y="2213"/>
                  <a:pt x="8336" y="2219"/>
                </a:cubicBezTo>
                <a:cubicBezTo>
                  <a:pt x="8343" y="2225"/>
                  <a:pt x="8345" y="2231"/>
                  <a:pt x="8356" y="2226"/>
                </a:cubicBezTo>
                <a:cubicBezTo>
                  <a:pt x="8367" y="2221"/>
                  <a:pt x="8374" y="2205"/>
                  <a:pt x="8381" y="2212"/>
                </a:cubicBezTo>
                <a:cubicBezTo>
                  <a:pt x="8388" y="2219"/>
                  <a:pt x="8380" y="2228"/>
                  <a:pt x="8377" y="2234"/>
                </a:cubicBezTo>
                <a:cubicBezTo>
                  <a:pt x="8374" y="2240"/>
                  <a:pt x="8367" y="2252"/>
                  <a:pt x="8374" y="2257"/>
                </a:cubicBezTo>
                <a:cubicBezTo>
                  <a:pt x="8375" y="2258"/>
                  <a:pt x="8376" y="2259"/>
                  <a:pt x="8375" y="2261"/>
                </a:cubicBezTo>
                <a:cubicBezTo>
                  <a:pt x="8373" y="2266"/>
                  <a:pt x="8363" y="2274"/>
                  <a:pt x="8366" y="2281"/>
                </a:cubicBezTo>
                <a:cubicBezTo>
                  <a:pt x="8362" y="2282"/>
                  <a:pt x="8362" y="2282"/>
                  <a:pt x="8362" y="2282"/>
                </a:cubicBezTo>
                <a:cubicBezTo>
                  <a:pt x="8361" y="2314"/>
                  <a:pt x="8361" y="2314"/>
                  <a:pt x="8361" y="2314"/>
                </a:cubicBezTo>
                <a:cubicBezTo>
                  <a:pt x="8361" y="2314"/>
                  <a:pt x="8375" y="2322"/>
                  <a:pt x="8378" y="2330"/>
                </a:cubicBezTo>
                <a:cubicBezTo>
                  <a:pt x="8378" y="2332"/>
                  <a:pt x="8378" y="2334"/>
                  <a:pt x="8377" y="2335"/>
                </a:cubicBezTo>
                <a:cubicBezTo>
                  <a:pt x="8370" y="2345"/>
                  <a:pt x="8361" y="2351"/>
                  <a:pt x="8361" y="2351"/>
                </a:cubicBezTo>
                <a:cubicBezTo>
                  <a:pt x="8352" y="2375"/>
                  <a:pt x="8352" y="2375"/>
                  <a:pt x="8352" y="2375"/>
                </a:cubicBezTo>
                <a:cubicBezTo>
                  <a:pt x="8352" y="2375"/>
                  <a:pt x="8342" y="2399"/>
                  <a:pt x="8341" y="2419"/>
                </a:cubicBezTo>
                <a:cubicBezTo>
                  <a:pt x="8341" y="2424"/>
                  <a:pt x="8341" y="2430"/>
                  <a:pt x="8342" y="2435"/>
                </a:cubicBezTo>
                <a:cubicBezTo>
                  <a:pt x="8343" y="2448"/>
                  <a:pt x="8347" y="2459"/>
                  <a:pt x="8347" y="2459"/>
                </a:cubicBezTo>
                <a:cubicBezTo>
                  <a:pt x="8333" y="2485"/>
                  <a:pt x="8333" y="2485"/>
                  <a:pt x="8333" y="2485"/>
                </a:cubicBezTo>
                <a:cubicBezTo>
                  <a:pt x="8331" y="2501"/>
                  <a:pt x="8331" y="2501"/>
                  <a:pt x="8331" y="2501"/>
                </a:cubicBezTo>
                <a:cubicBezTo>
                  <a:pt x="8320" y="2509"/>
                  <a:pt x="8320" y="2509"/>
                  <a:pt x="8320" y="2509"/>
                </a:cubicBezTo>
                <a:cubicBezTo>
                  <a:pt x="8320" y="2509"/>
                  <a:pt x="8282" y="2524"/>
                  <a:pt x="8273" y="2520"/>
                </a:cubicBezTo>
                <a:cubicBezTo>
                  <a:pt x="8264" y="2516"/>
                  <a:pt x="8258" y="2512"/>
                  <a:pt x="8258" y="2512"/>
                </a:cubicBezTo>
                <a:cubicBezTo>
                  <a:pt x="8258" y="2512"/>
                  <a:pt x="8249" y="2523"/>
                  <a:pt x="8235" y="2516"/>
                </a:cubicBezTo>
                <a:cubicBezTo>
                  <a:pt x="8221" y="2509"/>
                  <a:pt x="8226" y="2500"/>
                  <a:pt x="8210" y="2497"/>
                </a:cubicBezTo>
                <a:cubicBezTo>
                  <a:pt x="8194" y="2494"/>
                  <a:pt x="8173" y="2504"/>
                  <a:pt x="8173" y="2504"/>
                </a:cubicBezTo>
                <a:cubicBezTo>
                  <a:pt x="8173" y="2504"/>
                  <a:pt x="8158" y="2497"/>
                  <a:pt x="8147" y="2501"/>
                </a:cubicBezTo>
                <a:cubicBezTo>
                  <a:pt x="8136" y="2505"/>
                  <a:pt x="8128" y="2520"/>
                  <a:pt x="8128" y="2520"/>
                </a:cubicBezTo>
                <a:cubicBezTo>
                  <a:pt x="8128" y="2520"/>
                  <a:pt x="8116" y="2518"/>
                  <a:pt x="8112" y="2520"/>
                </a:cubicBezTo>
                <a:cubicBezTo>
                  <a:pt x="8108" y="2522"/>
                  <a:pt x="8095" y="2533"/>
                  <a:pt x="8095" y="2533"/>
                </a:cubicBezTo>
                <a:cubicBezTo>
                  <a:pt x="8095" y="2533"/>
                  <a:pt x="8061" y="2519"/>
                  <a:pt x="8055" y="2519"/>
                </a:cubicBezTo>
                <a:cubicBezTo>
                  <a:pt x="8049" y="2519"/>
                  <a:pt x="8038" y="2522"/>
                  <a:pt x="8025" y="2519"/>
                </a:cubicBezTo>
                <a:cubicBezTo>
                  <a:pt x="8012" y="2516"/>
                  <a:pt x="8010" y="2504"/>
                  <a:pt x="7997" y="2503"/>
                </a:cubicBezTo>
                <a:cubicBezTo>
                  <a:pt x="7984" y="2502"/>
                  <a:pt x="7974" y="2502"/>
                  <a:pt x="7974" y="2502"/>
                </a:cubicBezTo>
                <a:cubicBezTo>
                  <a:pt x="7974" y="2502"/>
                  <a:pt x="7954" y="2491"/>
                  <a:pt x="7945" y="2491"/>
                </a:cubicBezTo>
                <a:cubicBezTo>
                  <a:pt x="7936" y="2491"/>
                  <a:pt x="7931" y="2505"/>
                  <a:pt x="7916" y="2496"/>
                </a:cubicBezTo>
                <a:cubicBezTo>
                  <a:pt x="7913" y="2494"/>
                  <a:pt x="7911" y="2492"/>
                  <a:pt x="7909" y="2490"/>
                </a:cubicBezTo>
                <a:cubicBezTo>
                  <a:pt x="7903" y="2481"/>
                  <a:pt x="7905" y="2472"/>
                  <a:pt x="7905" y="2472"/>
                </a:cubicBezTo>
                <a:cubicBezTo>
                  <a:pt x="7890" y="2477"/>
                  <a:pt x="7890" y="2477"/>
                  <a:pt x="7890" y="2477"/>
                </a:cubicBezTo>
                <a:cubicBezTo>
                  <a:pt x="7883" y="2468"/>
                  <a:pt x="7883" y="2468"/>
                  <a:pt x="7883" y="2468"/>
                </a:cubicBezTo>
                <a:cubicBezTo>
                  <a:pt x="7883" y="2468"/>
                  <a:pt x="7878" y="2476"/>
                  <a:pt x="7871" y="2476"/>
                </a:cubicBezTo>
                <a:cubicBezTo>
                  <a:pt x="7864" y="2476"/>
                  <a:pt x="7856" y="2459"/>
                  <a:pt x="7847" y="2459"/>
                </a:cubicBezTo>
                <a:cubicBezTo>
                  <a:pt x="7838" y="2459"/>
                  <a:pt x="7828" y="2466"/>
                  <a:pt x="7817" y="2458"/>
                </a:cubicBezTo>
                <a:cubicBezTo>
                  <a:pt x="7806" y="2450"/>
                  <a:pt x="7815" y="2441"/>
                  <a:pt x="7806" y="2437"/>
                </a:cubicBezTo>
                <a:cubicBezTo>
                  <a:pt x="7797" y="2433"/>
                  <a:pt x="7779" y="2432"/>
                  <a:pt x="7779" y="2432"/>
                </a:cubicBezTo>
                <a:cubicBezTo>
                  <a:pt x="7779" y="2432"/>
                  <a:pt x="7758" y="2424"/>
                  <a:pt x="7750" y="2424"/>
                </a:cubicBezTo>
                <a:cubicBezTo>
                  <a:pt x="7742" y="2424"/>
                  <a:pt x="7742" y="2432"/>
                  <a:pt x="7742" y="2432"/>
                </a:cubicBezTo>
                <a:cubicBezTo>
                  <a:pt x="7742" y="2432"/>
                  <a:pt x="7712" y="2430"/>
                  <a:pt x="7699" y="2440"/>
                </a:cubicBezTo>
                <a:cubicBezTo>
                  <a:pt x="7686" y="2450"/>
                  <a:pt x="7669" y="2463"/>
                  <a:pt x="7669" y="2479"/>
                </a:cubicBezTo>
                <a:cubicBezTo>
                  <a:pt x="7669" y="2495"/>
                  <a:pt x="7685" y="2514"/>
                  <a:pt x="7685" y="2523"/>
                </a:cubicBezTo>
                <a:cubicBezTo>
                  <a:pt x="7685" y="2532"/>
                  <a:pt x="7664" y="2561"/>
                  <a:pt x="7652" y="2563"/>
                </a:cubicBezTo>
                <a:cubicBezTo>
                  <a:pt x="7640" y="2565"/>
                  <a:pt x="7622" y="2568"/>
                  <a:pt x="7608" y="2553"/>
                </a:cubicBezTo>
                <a:cubicBezTo>
                  <a:pt x="7594" y="2538"/>
                  <a:pt x="7555" y="2515"/>
                  <a:pt x="7540" y="2514"/>
                </a:cubicBezTo>
                <a:cubicBezTo>
                  <a:pt x="7525" y="2513"/>
                  <a:pt x="7491" y="2522"/>
                  <a:pt x="7478" y="2506"/>
                </a:cubicBezTo>
                <a:cubicBezTo>
                  <a:pt x="7465" y="2490"/>
                  <a:pt x="7469" y="2478"/>
                  <a:pt x="7460" y="2462"/>
                </a:cubicBezTo>
                <a:cubicBezTo>
                  <a:pt x="7451" y="2446"/>
                  <a:pt x="7433" y="2449"/>
                  <a:pt x="7433" y="2449"/>
                </a:cubicBezTo>
                <a:cubicBezTo>
                  <a:pt x="7433" y="2449"/>
                  <a:pt x="7409" y="2431"/>
                  <a:pt x="7401" y="2430"/>
                </a:cubicBezTo>
                <a:cubicBezTo>
                  <a:pt x="7393" y="2429"/>
                  <a:pt x="7369" y="2428"/>
                  <a:pt x="7362" y="2429"/>
                </a:cubicBezTo>
                <a:cubicBezTo>
                  <a:pt x="7355" y="2430"/>
                  <a:pt x="7343" y="2437"/>
                  <a:pt x="7332" y="2433"/>
                </a:cubicBezTo>
                <a:cubicBezTo>
                  <a:pt x="7321" y="2429"/>
                  <a:pt x="7301" y="2413"/>
                  <a:pt x="7296" y="2412"/>
                </a:cubicBezTo>
                <a:cubicBezTo>
                  <a:pt x="7293" y="2411"/>
                  <a:pt x="7289" y="2410"/>
                  <a:pt x="7285" y="2409"/>
                </a:cubicBezTo>
                <a:cubicBezTo>
                  <a:pt x="7280" y="2408"/>
                  <a:pt x="7277" y="2407"/>
                  <a:pt x="7277" y="2407"/>
                </a:cubicBezTo>
                <a:cubicBezTo>
                  <a:pt x="7270" y="2388"/>
                  <a:pt x="7270" y="2388"/>
                  <a:pt x="7270" y="2388"/>
                </a:cubicBezTo>
                <a:cubicBezTo>
                  <a:pt x="7260" y="2382"/>
                  <a:pt x="7260" y="2382"/>
                  <a:pt x="7260" y="2382"/>
                </a:cubicBezTo>
                <a:cubicBezTo>
                  <a:pt x="7258" y="2393"/>
                  <a:pt x="7258" y="2393"/>
                  <a:pt x="7258" y="2393"/>
                </a:cubicBezTo>
                <a:cubicBezTo>
                  <a:pt x="7252" y="2384"/>
                  <a:pt x="7252" y="2384"/>
                  <a:pt x="7252" y="2384"/>
                </a:cubicBezTo>
                <a:cubicBezTo>
                  <a:pt x="7252" y="2384"/>
                  <a:pt x="7221" y="2383"/>
                  <a:pt x="7221" y="2364"/>
                </a:cubicBezTo>
                <a:cubicBezTo>
                  <a:pt x="7221" y="2345"/>
                  <a:pt x="7219" y="2355"/>
                  <a:pt x="7242" y="2335"/>
                </a:cubicBezTo>
                <a:cubicBezTo>
                  <a:pt x="7265" y="2315"/>
                  <a:pt x="7279" y="2299"/>
                  <a:pt x="7266" y="2283"/>
                </a:cubicBezTo>
                <a:cubicBezTo>
                  <a:pt x="7253" y="2267"/>
                  <a:pt x="7238" y="2270"/>
                  <a:pt x="7242" y="2254"/>
                </a:cubicBezTo>
                <a:cubicBezTo>
                  <a:pt x="7246" y="2238"/>
                  <a:pt x="7245" y="2240"/>
                  <a:pt x="7255" y="2231"/>
                </a:cubicBezTo>
                <a:cubicBezTo>
                  <a:pt x="7265" y="2222"/>
                  <a:pt x="7273" y="2200"/>
                  <a:pt x="7266" y="2199"/>
                </a:cubicBezTo>
                <a:cubicBezTo>
                  <a:pt x="7259" y="2198"/>
                  <a:pt x="7240" y="2224"/>
                  <a:pt x="7235" y="2226"/>
                </a:cubicBezTo>
                <a:cubicBezTo>
                  <a:pt x="7230" y="2228"/>
                  <a:pt x="7218" y="2214"/>
                  <a:pt x="7218" y="2214"/>
                </a:cubicBezTo>
                <a:cubicBezTo>
                  <a:pt x="7218" y="2214"/>
                  <a:pt x="7237" y="2197"/>
                  <a:pt x="7220" y="2189"/>
                </a:cubicBezTo>
                <a:cubicBezTo>
                  <a:pt x="7203" y="2181"/>
                  <a:pt x="7176" y="2200"/>
                  <a:pt x="7170" y="2204"/>
                </a:cubicBezTo>
                <a:cubicBezTo>
                  <a:pt x="7168" y="2205"/>
                  <a:pt x="7166" y="2206"/>
                  <a:pt x="7163" y="2206"/>
                </a:cubicBezTo>
                <a:cubicBezTo>
                  <a:pt x="7163" y="2216"/>
                  <a:pt x="7163" y="2216"/>
                  <a:pt x="7163" y="2216"/>
                </a:cubicBezTo>
                <a:cubicBezTo>
                  <a:pt x="7163" y="2206"/>
                  <a:pt x="7163" y="2206"/>
                  <a:pt x="7163" y="2206"/>
                </a:cubicBezTo>
                <a:cubicBezTo>
                  <a:pt x="7154" y="2206"/>
                  <a:pt x="7143" y="2205"/>
                  <a:pt x="7143" y="2205"/>
                </a:cubicBezTo>
                <a:cubicBezTo>
                  <a:pt x="7134" y="2210"/>
                  <a:pt x="7134" y="2210"/>
                  <a:pt x="7134" y="2210"/>
                </a:cubicBezTo>
                <a:cubicBezTo>
                  <a:pt x="7107" y="2198"/>
                  <a:pt x="7107" y="2198"/>
                  <a:pt x="7107" y="2198"/>
                </a:cubicBezTo>
                <a:cubicBezTo>
                  <a:pt x="7097" y="2200"/>
                  <a:pt x="7097" y="2200"/>
                  <a:pt x="7097" y="2200"/>
                </a:cubicBezTo>
                <a:cubicBezTo>
                  <a:pt x="7097" y="2209"/>
                  <a:pt x="7097" y="2209"/>
                  <a:pt x="7097" y="2209"/>
                </a:cubicBezTo>
                <a:cubicBezTo>
                  <a:pt x="7072" y="2207"/>
                  <a:pt x="7072" y="2207"/>
                  <a:pt x="7072" y="2207"/>
                </a:cubicBezTo>
                <a:cubicBezTo>
                  <a:pt x="7056" y="2195"/>
                  <a:pt x="7056" y="2195"/>
                  <a:pt x="7056" y="2195"/>
                </a:cubicBezTo>
                <a:cubicBezTo>
                  <a:pt x="7052" y="2214"/>
                  <a:pt x="7052" y="2214"/>
                  <a:pt x="7052" y="2214"/>
                </a:cubicBezTo>
                <a:cubicBezTo>
                  <a:pt x="7032" y="2209"/>
                  <a:pt x="7032" y="2209"/>
                  <a:pt x="7032" y="2209"/>
                </a:cubicBezTo>
                <a:cubicBezTo>
                  <a:pt x="7014" y="2224"/>
                  <a:pt x="7014" y="2224"/>
                  <a:pt x="7014" y="2224"/>
                </a:cubicBezTo>
                <a:cubicBezTo>
                  <a:pt x="7014" y="2224"/>
                  <a:pt x="6990" y="2212"/>
                  <a:pt x="6959" y="2213"/>
                </a:cubicBezTo>
                <a:cubicBezTo>
                  <a:pt x="6928" y="2214"/>
                  <a:pt x="6927" y="2221"/>
                  <a:pt x="6913" y="2222"/>
                </a:cubicBezTo>
                <a:cubicBezTo>
                  <a:pt x="6899" y="2223"/>
                  <a:pt x="6873" y="2222"/>
                  <a:pt x="6873" y="2222"/>
                </a:cubicBezTo>
                <a:cubicBezTo>
                  <a:pt x="6870" y="2229"/>
                  <a:pt x="6870" y="2229"/>
                  <a:pt x="6870" y="2229"/>
                </a:cubicBezTo>
                <a:cubicBezTo>
                  <a:pt x="6831" y="2228"/>
                  <a:pt x="6831" y="2228"/>
                  <a:pt x="6831" y="2228"/>
                </a:cubicBezTo>
                <a:cubicBezTo>
                  <a:pt x="6831" y="2228"/>
                  <a:pt x="6784" y="2238"/>
                  <a:pt x="6783" y="2246"/>
                </a:cubicBezTo>
                <a:cubicBezTo>
                  <a:pt x="6782" y="2254"/>
                  <a:pt x="6774" y="2267"/>
                  <a:pt x="6774" y="2267"/>
                </a:cubicBezTo>
                <a:cubicBezTo>
                  <a:pt x="6774" y="2267"/>
                  <a:pt x="6724" y="2269"/>
                  <a:pt x="6722" y="2278"/>
                </a:cubicBezTo>
                <a:cubicBezTo>
                  <a:pt x="6720" y="2287"/>
                  <a:pt x="6698" y="2308"/>
                  <a:pt x="6683" y="2308"/>
                </a:cubicBezTo>
                <a:cubicBezTo>
                  <a:pt x="6681" y="2308"/>
                  <a:pt x="6679" y="2308"/>
                  <a:pt x="6677" y="2307"/>
                </a:cubicBezTo>
                <a:cubicBezTo>
                  <a:pt x="6677" y="2307"/>
                  <a:pt x="6677" y="2307"/>
                  <a:pt x="6677" y="2307"/>
                </a:cubicBezTo>
                <a:cubicBezTo>
                  <a:pt x="6664" y="2304"/>
                  <a:pt x="6652" y="2294"/>
                  <a:pt x="6643" y="2294"/>
                </a:cubicBezTo>
                <a:cubicBezTo>
                  <a:pt x="6633" y="2294"/>
                  <a:pt x="6626" y="2302"/>
                  <a:pt x="6626" y="2302"/>
                </a:cubicBezTo>
                <a:cubicBezTo>
                  <a:pt x="6626" y="2302"/>
                  <a:pt x="6603" y="2297"/>
                  <a:pt x="6595" y="2297"/>
                </a:cubicBezTo>
                <a:cubicBezTo>
                  <a:pt x="6587" y="2297"/>
                  <a:pt x="6579" y="2306"/>
                  <a:pt x="6564" y="2301"/>
                </a:cubicBezTo>
                <a:cubicBezTo>
                  <a:pt x="6549" y="2296"/>
                  <a:pt x="6534" y="2272"/>
                  <a:pt x="6530" y="2270"/>
                </a:cubicBezTo>
                <a:cubicBezTo>
                  <a:pt x="6526" y="2268"/>
                  <a:pt x="6510" y="2268"/>
                  <a:pt x="6510" y="2268"/>
                </a:cubicBezTo>
                <a:cubicBezTo>
                  <a:pt x="6510" y="2268"/>
                  <a:pt x="6499" y="2303"/>
                  <a:pt x="6493" y="2316"/>
                </a:cubicBezTo>
                <a:cubicBezTo>
                  <a:pt x="6487" y="2329"/>
                  <a:pt x="6468" y="2366"/>
                  <a:pt x="6456" y="2375"/>
                </a:cubicBezTo>
                <a:cubicBezTo>
                  <a:pt x="6444" y="2384"/>
                  <a:pt x="6428" y="2380"/>
                  <a:pt x="6423" y="2384"/>
                </a:cubicBezTo>
                <a:cubicBezTo>
                  <a:pt x="6418" y="2388"/>
                  <a:pt x="6407" y="2399"/>
                  <a:pt x="6407" y="2399"/>
                </a:cubicBezTo>
                <a:cubicBezTo>
                  <a:pt x="6395" y="2396"/>
                  <a:pt x="6395" y="2396"/>
                  <a:pt x="6395" y="2396"/>
                </a:cubicBezTo>
                <a:cubicBezTo>
                  <a:pt x="6378" y="2405"/>
                  <a:pt x="6378" y="2405"/>
                  <a:pt x="6378" y="2405"/>
                </a:cubicBezTo>
                <a:cubicBezTo>
                  <a:pt x="6378" y="2405"/>
                  <a:pt x="6373" y="2418"/>
                  <a:pt x="6367" y="2426"/>
                </a:cubicBezTo>
                <a:cubicBezTo>
                  <a:pt x="6367" y="2426"/>
                  <a:pt x="6347" y="2438"/>
                  <a:pt x="6347" y="2442"/>
                </a:cubicBezTo>
                <a:cubicBezTo>
                  <a:pt x="6347" y="2446"/>
                  <a:pt x="6351" y="2460"/>
                  <a:pt x="6344" y="2467"/>
                </a:cubicBezTo>
                <a:cubicBezTo>
                  <a:pt x="6337" y="2474"/>
                  <a:pt x="6320" y="2498"/>
                  <a:pt x="6321" y="2512"/>
                </a:cubicBezTo>
                <a:cubicBezTo>
                  <a:pt x="6322" y="2526"/>
                  <a:pt x="6322" y="2537"/>
                  <a:pt x="6322" y="2537"/>
                </a:cubicBezTo>
                <a:cubicBezTo>
                  <a:pt x="6322" y="2537"/>
                  <a:pt x="6314" y="2541"/>
                  <a:pt x="6314" y="2544"/>
                </a:cubicBezTo>
                <a:cubicBezTo>
                  <a:pt x="6314" y="2547"/>
                  <a:pt x="6329" y="2545"/>
                  <a:pt x="6326" y="2560"/>
                </a:cubicBezTo>
                <a:cubicBezTo>
                  <a:pt x="6323" y="2575"/>
                  <a:pt x="6325" y="2584"/>
                  <a:pt x="6325" y="2584"/>
                </a:cubicBezTo>
                <a:cubicBezTo>
                  <a:pt x="6325" y="2584"/>
                  <a:pt x="6319" y="2578"/>
                  <a:pt x="6310" y="2589"/>
                </a:cubicBezTo>
                <a:cubicBezTo>
                  <a:pt x="6301" y="2600"/>
                  <a:pt x="6294" y="2616"/>
                  <a:pt x="6286" y="2627"/>
                </a:cubicBezTo>
                <a:cubicBezTo>
                  <a:pt x="6278" y="2638"/>
                  <a:pt x="6264" y="2634"/>
                  <a:pt x="6257" y="2644"/>
                </a:cubicBezTo>
                <a:cubicBezTo>
                  <a:pt x="6250" y="2654"/>
                  <a:pt x="6242" y="2666"/>
                  <a:pt x="6236" y="2672"/>
                </a:cubicBezTo>
                <a:cubicBezTo>
                  <a:pt x="6230" y="2678"/>
                  <a:pt x="6192" y="2688"/>
                  <a:pt x="6188" y="2689"/>
                </a:cubicBezTo>
                <a:cubicBezTo>
                  <a:pt x="6184" y="2690"/>
                  <a:pt x="6165" y="2691"/>
                  <a:pt x="6165" y="2691"/>
                </a:cubicBezTo>
                <a:cubicBezTo>
                  <a:pt x="6165" y="2691"/>
                  <a:pt x="6160" y="2697"/>
                  <a:pt x="6156" y="2706"/>
                </a:cubicBezTo>
                <a:cubicBezTo>
                  <a:pt x="6154" y="2709"/>
                  <a:pt x="6152" y="2714"/>
                  <a:pt x="6150" y="2718"/>
                </a:cubicBezTo>
                <a:cubicBezTo>
                  <a:pt x="6145" y="2731"/>
                  <a:pt x="6140" y="2753"/>
                  <a:pt x="6140" y="2753"/>
                </a:cubicBezTo>
                <a:cubicBezTo>
                  <a:pt x="6140" y="2753"/>
                  <a:pt x="6128" y="2763"/>
                  <a:pt x="6124" y="2767"/>
                </a:cubicBezTo>
                <a:cubicBezTo>
                  <a:pt x="6120" y="2771"/>
                  <a:pt x="6104" y="2772"/>
                  <a:pt x="6104" y="2772"/>
                </a:cubicBezTo>
                <a:cubicBezTo>
                  <a:pt x="6104" y="2772"/>
                  <a:pt x="6093" y="2769"/>
                  <a:pt x="6089" y="2778"/>
                </a:cubicBezTo>
                <a:cubicBezTo>
                  <a:pt x="6085" y="2787"/>
                  <a:pt x="6087" y="2803"/>
                  <a:pt x="6087" y="2803"/>
                </a:cubicBezTo>
                <a:cubicBezTo>
                  <a:pt x="6087" y="2803"/>
                  <a:pt x="6068" y="2822"/>
                  <a:pt x="6068" y="2828"/>
                </a:cubicBezTo>
                <a:cubicBezTo>
                  <a:pt x="6068" y="2834"/>
                  <a:pt x="6079" y="2851"/>
                  <a:pt x="6072" y="2864"/>
                </a:cubicBezTo>
                <a:cubicBezTo>
                  <a:pt x="6065" y="2877"/>
                  <a:pt x="6056" y="2877"/>
                  <a:pt x="6056" y="2877"/>
                </a:cubicBezTo>
                <a:cubicBezTo>
                  <a:pt x="6056" y="2877"/>
                  <a:pt x="6047" y="2891"/>
                  <a:pt x="6042" y="2896"/>
                </a:cubicBezTo>
                <a:cubicBezTo>
                  <a:pt x="6037" y="2901"/>
                  <a:pt x="6026" y="2903"/>
                  <a:pt x="6022" y="2907"/>
                </a:cubicBezTo>
                <a:cubicBezTo>
                  <a:pt x="6018" y="2911"/>
                  <a:pt x="6016" y="2918"/>
                  <a:pt x="6016" y="2918"/>
                </a:cubicBezTo>
                <a:cubicBezTo>
                  <a:pt x="6024" y="2922"/>
                  <a:pt x="6024" y="2922"/>
                  <a:pt x="6024" y="2922"/>
                </a:cubicBezTo>
                <a:cubicBezTo>
                  <a:pt x="6024" y="2922"/>
                  <a:pt x="6013" y="2933"/>
                  <a:pt x="6009" y="2943"/>
                </a:cubicBezTo>
                <a:cubicBezTo>
                  <a:pt x="6005" y="2953"/>
                  <a:pt x="6005" y="2965"/>
                  <a:pt x="6005" y="2965"/>
                </a:cubicBezTo>
                <a:cubicBezTo>
                  <a:pt x="5996" y="2965"/>
                  <a:pt x="5996" y="2965"/>
                  <a:pt x="5996" y="2965"/>
                </a:cubicBezTo>
                <a:cubicBezTo>
                  <a:pt x="5996" y="2965"/>
                  <a:pt x="6006" y="2977"/>
                  <a:pt x="5995" y="2987"/>
                </a:cubicBezTo>
                <a:cubicBezTo>
                  <a:pt x="5984" y="2997"/>
                  <a:pt x="5982" y="2992"/>
                  <a:pt x="5982" y="2992"/>
                </a:cubicBezTo>
                <a:cubicBezTo>
                  <a:pt x="5982" y="2992"/>
                  <a:pt x="5965" y="3010"/>
                  <a:pt x="5965" y="3024"/>
                </a:cubicBezTo>
                <a:cubicBezTo>
                  <a:pt x="5965" y="3031"/>
                  <a:pt x="5965" y="3041"/>
                  <a:pt x="5964" y="3049"/>
                </a:cubicBezTo>
                <a:cubicBezTo>
                  <a:pt x="5964" y="3049"/>
                  <a:pt x="5964" y="3049"/>
                  <a:pt x="5964" y="3049"/>
                </a:cubicBezTo>
                <a:cubicBezTo>
                  <a:pt x="5964" y="3056"/>
                  <a:pt x="5964" y="3062"/>
                  <a:pt x="5964" y="3062"/>
                </a:cubicBezTo>
                <a:cubicBezTo>
                  <a:pt x="5964" y="3062"/>
                  <a:pt x="5975" y="3061"/>
                  <a:pt x="5975" y="3066"/>
                </a:cubicBezTo>
                <a:cubicBezTo>
                  <a:pt x="5975" y="3071"/>
                  <a:pt x="5975" y="3084"/>
                  <a:pt x="5979" y="3087"/>
                </a:cubicBezTo>
                <a:cubicBezTo>
                  <a:pt x="5983" y="3090"/>
                  <a:pt x="5988" y="3079"/>
                  <a:pt x="5988" y="3079"/>
                </a:cubicBezTo>
                <a:cubicBezTo>
                  <a:pt x="5996" y="3102"/>
                  <a:pt x="5996" y="3102"/>
                  <a:pt x="5996" y="3102"/>
                </a:cubicBezTo>
                <a:cubicBezTo>
                  <a:pt x="5994" y="3133"/>
                  <a:pt x="5994" y="3133"/>
                  <a:pt x="5994" y="3133"/>
                </a:cubicBezTo>
                <a:cubicBezTo>
                  <a:pt x="5985" y="3133"/>
                  <a:pt x="5985" y="3133"/>
                  <a:pt x="5985" y="3133"/>
                </a:cubicBezTo>
                <a:cubicBezTo>
                  <a:pt x="5988" y="3147"/>
                  <a:pt x="5988" y="3147"/>
                  <a:pt x="5988" y="3147"/>
                </a:cubicBezTo>
                <a:cubicBezTo>
                  <a:pt x="5980" y="3153"/>
                  <a:pt x="5980" y="3153"/>
                  <a:pt x="5980" y="3153"/>
                </a:cubicBezTo>
                <a:cubicBezTo>
                  <a:pt x="5980" y="3153"/>
                  <a:pt x="6003" y="3182"/>
                  <a:pt x="6003" y="3200"/>
                </a:cubicBezTo>
                <a:cubicBezTo>
                  <a:pt x="6003" y="3218"/>
                  <a:pt x="5997" y="3239"/>
                  <a:pt x="5997" y="3239"/>
                </a:cubicBezTo>
                <a:cubicBezTo>
                  <a:pt x="5995" y="3268"/>
                  <a:pt x="5995" y="3268"/>
                  <a:pt x="5995" y="3268"/>
                </a:cubicBezTo>
                <a:cubicBezTo>
                  <a:pt x="5995" y="3268"/>
                  <a:pt x="5979" y="3285"/>
                  <a:pt x="5976" y="3300"/>
                </a:cubicBezTo>
                <a:cubicBezTo>
                  <a:pt x="5974" y="3309"/>
                  <a:pt x="5974" y="3324"/>
                  <a:pt x="5974" y="3335"/>
                </a:cubicBezTo>
                <a:cubicBezTo>
                  <a:pt x="5973" y="3342"/>
                  <a:pt x="5973" y="3348"/>
                  <a:pt x="5973" y="3349"/>
                </a:cubicBezTo>
                <a:cubicBezTo>
                  <a:pt x="5972" y="3352"/>
                  <a:pt x="5962" y="3359"/>
                  <a:pt x="5955" y="3372"/>
                </a:cubicBezTo>
                <a:cubicBezTo>
                  <a:pt x="5948" y="3385"/>
                  <a:pt x="5933" y="3398"/>
                  <a:pt x="5933" y="3398"/>
                </a:cubicBezTo>
                <a:cubicBezTo>
                  <a:pt x="5935" y="3405"/>
                  <a:pt x="5935" y="3405"/>
                  <a:pt x="5935" y="3405"/>
                </a:cubicBezTo>
                <a:cubicBezTo>
                  <a:pt x="5941" y="3404"/>
                  <a:pt x="5941" y="3404"/>
                  <a:pt x="5941" y="3404"/>
                </a:cubicBezTo>
                <a:cubicBezTo>
                  <a:pt x="5941" y="3404"/>
                  <a:pt x="5950" y="3413"/>
                  <a:pt x="5950" y="3420"/>
                </a:cubicBezTo>
                <a:cubicBezTo>
                  <a:pt x="5950" y="3427"/>
                  <a:pt x="5953" y="3433"/>
                  <a:pt x="5953" y="3433"/>
                </a:cubicBezTo>
                <a:cubicBezTo>
                  <a:pt x="5962" y="3441"/>
                  <a:pt x="5962" y="3441"/>
                  <a:pt x="5962" y="3441"/>
                </a:cubicBezTo>
                <a:cubicBezTo>
                  <a:pt x="5962" y="3441"/>
                  <a:pt x="5961" y="3442"/>
                  <a:pt x="5961" y="3449"/>
                </a:cubicBezTo>
                <a:cubicBezTo>
                  <a:pt x="5961" y="3454"/>
                  <a:pt x="5965" y="3458"/>
                  <a:pt x="5967" y="3461"/>
                </a:cubicBezTo>
                <a:cubicBezTo>
                  <a:pt x="5968" y="3462"/>
                  <a:pt x="5969" y="3463"/>
                  <a:pt x="5969" y="3463"/>
                </a:cubicBezTo>
                <a:cubicBezTo>
                  <a:pt x="5969" y="3463"/>
                  <a:pt x="5959" y="3478"/>
                  <a:pt x="5958" y="3485"/>
                </a:cubicBezTo>
                <a:cubicBezTo>
                  <a:pt x="5958" y="3486"/>
                  <a:pt x="5958" y="3486"/>
                  <a:pt x="5958" y="3487"/>
                </a:cubicBezTo>
                <a:cubicBezTo>
                  <a:pt x="5957" y="3494"/>
                  <a:pt x="5957" y="3504"/>
                  <a:pt x="5957" y="3504"/>
                </a:cubicBezTo>
                <a:cubicBezTo>
                  <a:pt x="5951" y="3507"/>
                  <a:pt x="5951" y="3507"/>
                  <a:pt x="5951" y="3507"/>
                </a:cubicBezTo>
                <a:cubicBezTo>
                  <a:pt x="5951" y="3507"/>
                  <a:pt x="5955" y="3528"/>
                  <a:pt x="5964" y="3533"/>
                </a:cubicBezTo>
                <a:cubicBezTo>
                  <a:pt x="5973" y="3538"/>
                  <a:pt x="5983" y="3533"/>
                  <a:pt x="5983" y="3533"/>
                </a:cubicBezTo>
                <a:cubicBezTo>
                  <a:pt x="5979" y="3556"/>
                  <a:pt x="5979" y="3556"/>
                  <a:pt x="5979" y="3556"/>
                </a:cubicBezTo>
                <a:cubicBezTo>
                  <a:pt x="5979" y="3556"/>
                  <a:pt x="5987" y="3564"/>
                  <a:pt x="5994" y="3558"/>
                </a:cubicBezTo>
                <a:cubicBezTo>
                  <a:pt x="6001" y="3552"/>
                  <a:pt x="6025" y="3553"/>
                  <a:pt x="6025" y="3553"/>
                </a:cubicBezTo>
                <a:cubicBezTo>
                  <a:pt x="6042" y="3547"/>
                  <a:pt x="6042" y="3547"/>
                  <a:pt x="6042" y="3547"/>
                </a:cubicBezTo>
                <a:cubicBezTo>
                  <a:pt x="6042" y="3562"/>
                  <a:pt x="6042" y="3562"/>
                  <a:pt x="6042" y="3562"/>
                </a:cubicBezTo>
                <a:cubicBezTo>
                  <a:pt x="6042" y="3562"/>
                  <a:pt x="6018" y="3550"/>
                  <a:pt x="6016" y="3560"/>
                </a:cubicBezTo>
                <a:cubicBezTo>
                  <a:pt x="6014" y="3570"/>
                  <a:pt x="6021" y="3576"/>
                  <a:pt x="6021" y="3576"/>
                </a:cubicBezTo>
                <a:cubicBezTo>
                  <a:pt x="6042" y="3571"/>
                  <a:pt x="6042" y="3571"/>
                  <a:pt x="6042" y="3571"/>
                </a:cubicBezTo>
                <a:cubicBezTo>
                  <a:pt x="6018" y="3583"/>
                  <a:pt x="6018" y="3583"/>
                  <a:pt x="6018" y="3583"/>
                </a:cubicBezTo>
                <a:cubicBezTo>
                  <a:pt x="6037" y="3611"/>
                  <a:pt x="6037" y="3611"/>
                  <a:pt x="6037" y="3611"/>
                </a:cubicBezTo>
                <a:cubicBezTo>
                  <a:pt x="6042" y="3596"/>
                  <a:pt x="6042" y="3596"/>
                  <a:pt x="6042" y="3596"/>
                </a:cubicBezTo>
                <a:cubicBezTo>
                  <a:pt x="6042" y="3596"/>
                  <a:pt x="6046" y="3610"/>
                  <a:pt x="6051" y="3612"/>
                </a:cubicBezTo>
                <a:cubicBezTo>
                  <a:pt x="6056" y="3614"/>
                  <a:pt x="6061" y="3613"/>
                  <a:pt x="6061" y="3613"/>
                </a:cubicBezTo>
                <a:cubicBezTo>
                  <a:pt x="6061" y="3613"/>
                  <a:pt x="6052" y="3637"/>
                  <a:pt x="6067" y="3644"/>
                </a:cubicBezTo>
                <a:cubicBezTo>
                  <a:pt x="6082" y="3651"/>
                  <a:pt x="6087" y="3648"/>
                  <a:pt x="6087" y="3648"/>
                </a:cubicBezTo>
                <a:cubicBezTo>
                  <a:pt x="6087" y="3648"/>
                  <a:pt x="6084" y="3660"/>
                  <a:pt x="6088" y="3664"/>
                </a:cubicBezTo>
                <a:cubicBezTo>
                  <a:pt x="6092" y="3668"/>
                  <a:pt x="6101" y="3659"/>
                  <a:pt x="6101" y="3659"/>
                </a:cubicBezTo>
                <a:cubicBezTo>
                  <a:pt x="6101" y="3659"/>
                  <a:pt x="6105" y="3679"/>
                  <a:pt x="6109" y="3686"/>
                </a:cubicBezTo>
                <a:cubicBezTo>
                  <a:pt x="6113" y="3693"/>
                  <a:pt x="6128" y="3704"/>
                  <a:pt x="6128" y="3704"/>
                </a:cubicBezTo>
                <a:cubicBezTo>
                  <a:pt x="6119" y="3709"/>
                  <a:pt x="6119" y="3709"/>
                  <a:pt x="6119" y="3709"/>
                </a:cubicBezTo>
                <a:cubicBezTo>
                  <a:pt x="6128" y="3716"/>
                  <a:pt x="6128" y="3716"/>
                  <a:pt x="6128" y="3716"/>
                </a:cubicBezTo>
                <a:cubicBezTo>
                  <a:pt x="6128" y="3716"/>
                  <a:pt x="6120" y="3725"/>
                  <a:pt x="6120" y="3734"/>
                </a:cubicBezTo>
                <a:cubicBezTo>
                  <a:pt x="6120" y="3743"/>
                  <a:pt x="6135" y="3753"/>
                  <a:pt x="6135" y="3753"/>
                </a:cubicBezTo>
                <a:cubicBezTo>
                  <a:pt x="6134" y="3771"/>
                  <a:pt x="6134" y="3771"/>
                  <a:pt x="6134" y="3771"/>
                </a:cubicBezTo>
                <a:cubicBezTo>
                  <a:pt x="6148" y="3782"/>
                  <a:pt x="6148" y="3782"/>
                  <a:pt x="6148" y="3782"/>
                </a:cubicBezTo>
                <a:cubicBezTo>
                  <a:pt x="6148" y="3782"/>
                  <a:pt x="6147" y="3789"/>
                  <a:pt x="6156" y="3798"/>
                </a:cubicBezTo>
                <a:cubicBezTo>
                  <a:pt x="6165" y="3807"/>
                  <a:pt x="6184" y="3807"/>
                  <a:pt x="6184" y="3807"/>
                </a:cubicBezTo>
                <a:cubicBezTo>
                  <a:pt x="6204" y="3829"/>
                  <a:pt x="6204" y="3829"/>
                  <a:pt x="6204" y="3829"/>
                </a:cubicBezTo>
                <a:cubicBezTo>
                  <a:pt x="6190" y="3813"/>
                  <a:pt x="6190" y="3813"/>
                  <a:pt x="6190" y="3813"/>
                </a:cubicBezTo>
                <a:cubicBezTo>
                  <a:pt x="6213" y="3839"/>
                  <a:pt x="6213" y="3839"/>
                  <a:pt x="6213" y="3839"/>
                </a:cubicBezTo>
                <a:cubicBezTo>
                  <a:pt x="6230" y="3841"/>
                  <a:pt x="6230" y="3841"/>
                  <a:pt x="6230" y="3841"/>
                </a:cubicBezTo>
                <a:cubicBezTo>
                  <a:pt x="6238" y="3859"/>
                  <a:pt x="6238" y="3859"/>
                  <a:pt x="6238" y="3859"/>
                </a:cubicBezTo>
                <a:cubicBezTo>
                  <a:pt x="6238" y="3859"/>
                  <a:pt x="6256" y="3855"/>
                  <a:pt x="6260" y="3863"/>
                </a:cubicBezTo>
                <a:cubicBezTo>
                  <a:pt x="6264" y="3871"/>
                  <a:pt x="6279" y="3897"/>
                  <a:pt x="6295" y="3911"/>
                </a:cubicBezTo>
                <a:cubicBezTo>
                  <a:pt x="6311" y="3925"/>
                  <a:pt x="6339" y="3932"/>
                  <a:pt x="6346" y="3937"/>
                </a:cubicBezTo>
                <a:cubicBezTo>
                  <a:pt x="6353" y="3942"/>
                  <a:pt x="6370" y="3960"/>
                  <a:pt x="6385" y="3960"/>
                </a:cubicBezTo>
                <a:cubicBezTo>
                  <a:pt x="6386" y="3960"/>
                  <a:pt x="6387" y="3960"/>
                  <a:pt x="6388" y="3960"/>
                </a:cubicBezTo>
                <a:cubicBezTo>
                  <a:pt x="6400" y="3958"/>
                  <a:pt x="6403" y="3948"/>
                  <a:pt x="6403" y="3948"/>
                </a:cubicBezTo>
                <a:cubicBezTo>
                  <a:pt x="6412" y="3948"/>
                  <a:pt x="6412" y="3948"/>
                  <a:pt x="6412" y="3948"/>
                </a:cubicBezTo>
                <a:cubicBezTo>
                  <a:pt x="6422" y="3940"/>
                  <a:pt x="6422" y="3940"/>
                  <a:pt x="6422" y="3940"/>
                </a:cubicBezTo>
                <a:cubicBezTo>
                  <a:pt x="6422" y="3940"/>
                  <a:pt x="6468" y="3915"/>
                  <a:pt x="6488" y="3917"/>
                </a:cubicBezTo>
                <a:cubicBezTo>
                  <a:pt x="6508" y="3919"/>
                  <a:pt x="6515" y="3913"/>
                  <a:pt x="6515" y="3913"/>
                </a:cubicBezTo>
                <a:cubicBezTo>
                  <a:pt x="6515" y="3913"/>
                  <a:pt x="6546" y="3902"/>
                  <a:pt x="6555" y="3907"/>
                </a:cubicBezTo>
                <a:cubicBezTo>
                  <a:pt x="6564" y="3912"/>
                  <a:pt x="6566" y="3917"/>
                  <a:pt x="6573" y="3916"/>
                </a:cubicBezTo>
                <a:cubicBezTo>
                  <a:pt x="6580" y="3915"/>
                  <a:pt x="6593" y="3906"/>
                  <a:pt x="6593" y="3906"/>
                </a:cubicBezTo>
                <a:cubicBezTo>
                  <a:pt x="6593" y="3906"/>
                  <a:pt x="6594" y="3916"/>
                  <a:pt x="6610" y="3923"/>
                </a:cubicBezTo>
                <a:cubicBezTo>
                  <a:pt x="6614" y="3925"/>
                  <a:pt x="6618" y="3926"/>
                  <a:pt x="6622" y="3927"/>
                </a:cubicBezTo>
                <a:cubicBezTo>
                  <a:pt x="6631" y="3929"/>
                  <a:pt x="6637" y="3929"/>
                  <a:pt x="6637" y="3929"/>
                </a:cubicBezTo>
                <a:cubicBezTo>
                  <a:pt x="6637" y="3929"/>
                  <a:pt x="6641" y="3944"/>
                  <a:pt x="6651" y="3940"/>
                </a:cubicBezTo>
                <a:cubicBezTo>
                  <a:pt x="6661" y="3936"/>
                  <a:pt x="6682" y="3918"/>
                  <a:pt x="6689" y="3916"/>
                </a:cubicBezTo>
                <a:cubicBezTo>
                  <a:pt x="6696" y="3914"/>
                  <a:pt x="6707" y="3916"/>
                  <a:pt x="6707" y="3916"/>
                </a:cubicBezTo>
                <a:cubicBezTo>
                  <a:pt x="6707" y="3916"/>
                  <a:pt x="6728" y="3898"/>
                  <a:pt x="6731" y="3897"/>
                </a:cubicBezTo>
                <a:cubicBezTo>
                  <a:pt x="6734" y="3896"/>
                  <a:pt x="6749" y="3893"/>
                  <a:pt x="6749" y="3893"/>
                </a:cubicBezTo>
                <a:cubicBezTo>
                  <a:pt x="6749" y="3893"/>
                  <a:pt x="6755" y="3877"/>
                  <a:pt x="6763" y="3878"/>
                </a:cubicBezTo>
                <a:cubicBezTo>
                  <a:pt x="6771" y="3879"/>
                  <a:pt x="6777" y="3887"/>
                  <a:pt x="6786" y="3882"/>
                </a:cubicBezTo>
                <a:cubicBezTo>
                  <a:pt x="6791" y="3879"/>
                  <a:pt x="6797" y="3873"/>
                  <a:pt x="6803" y="3868"/>
                </a:cubicBezTo>
                <a:cubicBezTo>
                  <a:pt x="6808" y="3862"/>
                  <a:pt x="6814" y="3858"/>
                  <a:pt x="6820" y="3857"/>
                </a:cubicBezTo>
                <a:cubicBezTo>
                  <a:pt x="6824" y="3856"/>
                  <a:pt x="6828" y="3856"/>
                  <a:pt x="6833" y="3856"/>
                </a:cubicBezTo>
                <a:cubicBezTo>
                  <a:pt x="6833" y="3856"/>
                  <a:pt x="6833" y="3856"/>
                  <a:pt x="6833" y="3856"/>
                </a:cubicBezTo>
                <a:cubicBezTo>
                  <a:pt x="6844" y="3857"/>
                  <a:pt x="6856" y="3859"/>
                  <a:pt x="6856" y="3859"/>
                </a:cubicBezTo>
                <a:cubicBezTo>
                  <a:pt x="6864" y="3845"/>
                  <a:pt x="6864" y="3845"/>
                  <a:pt x="6864" y="3845"/>
                </a:cubicBezTo>
                <a:cubicBezTo>
                  <a:pt x="6864" y="3845"/>
                  <a:pt x="6868" y="3847"/>
                  <a:pt x="6874" y="3850"/>
                </a:cubicBezTo>
                <a:cubicBezTo>
                  <a:pt x="6881" y="3853"/>
                  <a:pt x="6891" y="3856"/>
                  <a:pt x="6897" y="3854"/>
                </a:cubicBezTo>
                <a:cubicBezTo>
                  <a:pt x="6908" y="3850"/>
                  <a:pt x="6918" y="3842"/>
                  <a:pt x="6918" y="3842"/>
                </a:cubicBezTo>
                <a:cubicBezTo>
                  <a:pt x="6921" y="3849"/>
                  <a:pt x="6921" y="3849"/>
                  <a:pt x="6921" y="3849"/>
                </a:cubicBezTo>
                <a:cubicBezTo>
                  <a:pt x="6921" y="3849"/>
                  <a:pt x="6954" y="3842"/>
                  <a:pt x="6970" y="3861"/>
                </a:cubicBezTo>
                <a:cubicBezTo>
                  <a:pt x="6986" y="3880"/>
                  <a:pt x="6987" y="3889"/>
                  <a:pt x="6987" y="3889"/>
                </a:cubicBezTo>
                <a:cubicBezTo>
                  <a:pt x="7001" y="3888"/>
                  <a:pt x="7001" y="3888"/>
                  <a:pt x="7001" y="3888"/>
                </a:cubicBezTo>
                <a:cubicBezTo>
                  <a:pt x="7001" y="3888"/>
                  <a:pt x="6991" y="3903"/>
                  <a:pt x="6994" y="3904"/>
                </a:cubicBezTo>
                <a:cubicBezTo>
                  <a:pt x="6997" y="3905"/>
                  <a:pt x="7007" y="3898"/>
                  <a:pt x="7007" y="3901"/>
                </a:cubicBezTo>
                <a:cubicBezTo>
                  <a:pt x="7007" y="3904"/>
                  <a:pt x="7002" y="3912"/>
                  <a:pt x="7002" y="3920"/>
                </a:cubicBezTo>
                <a:cubicBezTo>
                  <a:pt x="7002" y="3928"/>
                  <a:pt x="7010" y="3957"/>
                  <a:pt x="7031" y="3958"/>
                </a:cubicBezTo>
                <a:cubicBezTo>
                  <a:pt x="7052" y="3959"/>
                  <a:pt x="7065" y="3957"/>
                  <a:pt x="7065" y="3957"/>
                </a:cubicBezTo>
                <a:cubicBezTo>
                  <a:pt x="7068" y="3939"/>
                  <a:pt x="7068" y="3939"/>
                  <a:pt x="7068" y="3939"/>
                </a:cubicBezTo>
                <a:cubicBezTo>
                  <a:pt x="7086" y="3949"/>
                  <a:pt x="7086" y="3949"/>
                  <a:pt x="7086" y="3949"/>
                </a:cubicBezTo>
                <a:cubicBezTo>
                  <a:pt x="7102" y="3944"/>
                  <a:pt x="7102" y="3944"/>
                  <a:pt x="7102" y="3944"/>
                </a:cubicBezTo>
                <a:cubicBezTo>
                  <a:pt x="7111" y="3953"/>
                  <a:pt x="7111" y="3953"/>
                  <a:pt x="7111" y="3953"/>
                </a:cubicBezTo>
                <a:cubicBezTo>
                  <a:pt x="7139" y="3952"/>
                  <a:pt x="7139" y="3952"/>
                  <a:pt x="7139" y="3952"/>
                </a:cubicBezTo>
                <a:cubicBezTo>
                  <a:pt x="7139" y="3936"/>
                  <a:pt x="7139" y="3936"/>
                  <a:pt x="7139" y="3936"/>
                </a:cubicBezTo>
                <a:cubicBezTo>
                  <a:pt x="7156" y="3935"/>
                  <a:pt x="7156" y="3935"/>
                  <a:pt x="7156" y="3935"/>
                </a:cubicBezTo>
                <a:cubicBezTo>
                  <a:pt x="7155" y="3938"/>
                  <a:pt x="7155" y="3938"/>
                  <a:pt x="7155" y="3938"/>
                </a:cubicBezTo>
                <a:cubicBezTo>
                  <a:pt x="7151" y="3947"/>
                  <a:pt x="7151" y="3947"/>
                  <a:pt x="7151" y="3947"/>
                </a:cubicBezTo>
                <a:cubicBezTo>
                  <a:pt x="7169" y="3944"/>
                  <a:pt x="7169" y="3944"/>
                  <a:pt x="7169" y="3944"/>
                </a:cubicBezTo>
                <a:cubicBezTo>
                  <a:pt x="7169" y="3944"/>
                  <a:pt x="7168" y="3966"/>
                  <a:pt x="7178" y="3975"/>
                </a:cubicBezTo>
                <a:cubicBezTo>
                  <a:pt x="7188" y="3984"/>
                  <a:pt x="7195" y="3986"/>
                  <a:pt x="7195" y="3986"/>
                </a:cubicBezTo>
                <a:cubicBezTo>
                  <a:pt x="7209" y="3973"/>
                  <a:pt x="7209" y="3973"/>
                  <a:pt x="7209" y="3973"/>
                </a:cubicBezTo>
                <a:cubicBezTo>
                  <a:pt x="7196" y="3993"/>
                  <a:pt x="7196" y="3993"/>
                  <a:pt x="7196" y="3993"/>
                </a:cubicBezTo>
                <a:cubicBezTo>
                  <a:pt x="7208" y="4011"/>
                  <a:pt x="7208" y="4011"/>
                  <a:pt x="7208" y="4011"/>
                </a:cubicBezTo>
                <a:cubicBezTo>
                  <a:pt x="7221" y="4016"/>
                  <a:pt x="7221" y="4016"/>
                  <a:pt x="7221" y="4016"/>
                </a:cubicBezTo>
                <a:cubicBezTo>
                  <a:pt x="7219" y="4046"/>
                  <a:pt x="7219" y="4046"/>
                  <a:pt x="7219" y="4046"/>
                </a:cubicBezTo>
                <a:cubicBezTo>
                  <a:pt x="7212" y="4048"/>
                  <a:pt x="7212" y="4048"/>
                  <a:pt x="7212" y="4048"/>
                </a:cubicBezTo>
                <a:cubicBezTo>
                  <a:pt x="7213" y="4069"/>
                  <a:pt x="7213" y="4069"/>
                  <a:pt x="7213" y="4069"/>
                </a:cubicBezTo>
                <a:cubicBezTo>
                  <a:pt x="7207" y="4072"/>
                  <a:pt x="7207" y="4072"/>
                  <a:pt x="7207" y="4072"/>
                </a:cubicBezTo>
                <a:cubicBezTo>
                  <a:pt x="7207" y="4072"/>
                  <a:pt x="7211" y="4090"/>
                  <a:pt x="7206" y="4098"/>
                </a:cubicBezTo>
                <a:cubicBezTo>
                  <a:pt x="7201" y="4106"/>
                  <a:pt x="7183" y="4119"/>
                  <a:pt x="7187" y="4126"/>
                </a:cubicBezTo>
                <a:cubicBezTo>
                  <a:pt x="7190" y="4132"/>
                  <a:pt x="7200" y="4135"/>
                  <a:pt x="7204" y="4136"/>
                </a:cubicBezTo>
                <a:cubicBezTo>
                  <a:pt x="7212" y="4134"/>
                  <a:pt x="7212" y="4134"/>
                  <a:pt x="7212" y="4134"/>
                </a:cubicBezTo>
                <a:cubicBezTo>
                  <a:pt x="7204" y="4136"/>
                  <a:pt x="7204" y="4136"/>
                  <a:pt x="7204" y="4136"/>
                </a:cubicBezTo>
                <a:cubicBezTo>
                  <a:pt x="7205" y="4137"/>
                  <a:pt x="7206" y="4137"/>
                  <a:pt x="7206" y="4137"/>
                </a:cubicBezTo>
                <a:cubicBezTo>
                  <a:pt x="7198" y="4142"/>
                  <a:pt x="7198" y="4142"/>
                  <a:pt x="7198" y="4142"/>
                </a:cubicBezTo>
                <a:cubicBezTo>
                  <a:pt x="7198" y="4142"/>
                  <a:pt x="7207" y="4170"/>
                  <a:pt x="7203" y="4172"/>
                </a:cubicBezTo>
                <a:cubicBezTo>
                  <a:pt x="7199" y="4174"/>
                  <a:pt x="7188" y="4172"/>
                  <a:pt x="7188" y="4172"/>
                </a:cubicBezTo>
                <a:cubicBezTo>
                  <a:pt x="7188" y="4172"/>
                  <a:pt x="7191" y="4213"/>
                  <a:pt x="7181" y="4224"/>
                </a:cubicBezTo>
                <a:cubicBezTo>
                  <a:pt x="7171" y="4235"/>
                  <a:pt x="7158" y="4231"/>
                  <a:pt x="7158" y="4231"/>
                </a:cubicBezTo>
                <a:cubicBezTo>
                  <a:pt x="7175" y="4268"/>
                  <a:pt x="7175" y="4268"/>
                  <a:pt x="7175" y="4268"/>
                </a:cubicBezTo>
                <a:cubicBezTo>
                  <a:pt x="7186" y="4260"/>
                  <a:pt x="7186" y="4260"/>
                  <a:pt x="7186" y="4260"/>
                </a:cubicBezTo>
                <a:cubicBezTo>
                  <a:pt x="7192" y="4273"/>
                  <a:pt x="7192" y="4273"/>
                  <a:pt x="7192" y="4273"/>
                </a:cubicBezTo>
                <a:cubicBezTo>
                  <a:pt x="7192" y="4273"/>
                  <a:pt x="7183" y="4286"/>
                  <a:pt x="7185" y="4293"/>
                </a:cubicBezTo>
                <a:cubicBezTo>
                  <a:pt x="7187" y="4300"/>
                  <a:pt x="7200" y="4297"/>
                  <a:pt x="7200" y="4297"/>
                </a:cubicBezTo>
                <a:cubicBezTo>
                  <a:pt x="7204" y="4324"/>
                  <a:pt x="7204" y="4324"/>
                  <a:pt x="7204" y="4324"/>
                </a:cubicBezTo>
                <a:cubicBezTo>
                  <a:pt x="7224" y="4328"/>
                  <a:pt x="7224" y="4328"/>
                  <a:pt x="7224" y="4328"/>
                </a:cubicBezTo>
                <a:cubicBezTo>
                  <a:pt x="7219" y="4336"/>
                  <a:pt x="7219" y="4336"/>
                  <a:pt x="7219" y="4336"/>
                </a:cubicBezTo>
                <a:cubicBezTo>
                  <a:pt x="7252" y="4371"/>
                  <a:pt x="7252" y="4371"/>
                  <a:pt x="7252" y="4371"/>
                </a:cubicBezTo>
                <a:cubicBezTo>
                  <a:pt x="7249" y="4376"/>
                  <a:pt x="7249" y="4376"/>
                  <a:pt x="7249" y="4376"/>
                </a:cubicBezTo>
                <a:cubicBezTo>
                  <a:pt x="7271" y="4403"/>
                  <a:pt x="7271" y="4403"/>
                  <a:pt x="7271" y="4403"/>
                </a:cubicBezTo>
                <a:cubicBezTo>
                  <a:pt x="7272" y="4404"/>
                  <a:pt x="7272" y="4404"/>
                  <a:pt x="7272" y="4404"/>
                </a:cubicBezTo>
                <a:cubicBezTo>
                  <a:pt x="7308" y="4435"/>
                  <a:pt x="7308" y="4435"/>
                  <a:pt x="7308" y="4435"/>
                </a:cubicBezTo>
                <a:cubicBezTo>
                  <a:pt x="7309" y="4447"/>
                  <a:pt x="7309" y="4447"/>
                  <a:pt x="7309" y="4447"/>
                </a:cubicBezTo>
                <a:cubicBezTo>
                  <a:pt x="7321" y="4463"/>
                  <a:pt x="7321" y="4463"/>
                  <a:pt x="7321" y="4463"/>
                </a:cubicBezTo>
                <a:cubicBezTo>
                  <a:pt x="7325" y="4501"/>
                  <a:pt x="7325" y="4501"/>
                  <a:pt x="7325" y="4501"/>
                </a:cubicBezTo>
                <a:cubicBezTo>
                  <a:pt x="7325" y="4501"/>
                  <a:pt x="7326" y="4502"/>
                  <a:pt x="7327" y="4503"/>
                </a:cubicBezTo>
                <a:cubicBezTo>
                  <a:pt x="7331" y="4501"/>
                  <a:pt x="7334" y="4499"/>
                  <a:pt x="7337" y="4497"/>
                </a:cubicBezTo>
                <a:cubicBezTo>
                  <a:pt x="7334" y="4499"/>
                  <a:pt x="7331" y="4501"/>
                  <a:pt x="7327" y="4503"/>
                </a:cubicBezTo>
                <a:cubicBezTo>
                  <a:pt x="7331" y="4506"/>
                  <a:pt x="7338" y="4513"/>
                  <a:pt x="7339" y="4518"/>
                </a:cubicBezTo>
                <a:cubicBezTo>
                  <a:pt x="7339" y="4519"/>
                  <a:pt x="7339" y="4520"/>
                  <a:pt x="7338" y="4521"/>
                </a:cubicBezTo>
                <a:cubicBezTo>
                  <a:pt x="7332" y="4525"/>
                  <a:pt x="7327" y="4526"/>
                  <a:pt x="7327" y="4526"/>
                </a:cubicBezTo>
                <a:cubicBezTo>
                  <a:pt x="7327" y="4526"/>
                  <a:pt x="7340" y="4545"/>
                  <a:pt x="7343" y="4552"/>
                </a:cubicBezTo>
                <a:cubicBezTo>
                  <a:pt x="7346" y="4559"/>
                  <a:pt x="7355" y="4562"/>
                  <a:pt x="7355" y="4562"/>
                </a:cubicBezTo>
                <a:cubicBezTo>
                  <a:pt x="7351" y="4581"/>
                  <a:pt x="7351" y="4581"/>
                  <a:pt x="7351" y="4581"/>
                </a:cubicBezTo>
                <a:cubicBezTo>
                  <a:pt x="7351" y="4581"/>
                  <a:pt x="7383" y="4618"/>
                  <a:pt x="7380" y="4645"/>
                </a:cubicBezTo>
                <a:cubicBezTo>
                  <a:pt x="7377" y="4672"/>
                  <a:pt x="7364" y="4678"/>
                  <a:pt x="7364" y="4678"/>
                </a:cubicBezTo>
                <a:cubicBezTo>
                  <a:pt x="7363" y="4695"/>
                  <a:pt x="7363" y="4695"/>
                  <a:pt x="7363" y="4695"/>
                </a:cubicBezTo>
                <a:cubicBezTo>
                  <a:pt x="7370" y="4694"/>
                  <a:pt x="7370" y="4694"/>
                  <a:pt x="7370" y="4694"/>
                </a:cubicBezTo>
                <a:cubicBezTo>
                  <a:pt x="7370" y="4694"/>
                  <a:pt x="7366" y="4717"/>
                  <a:pt x="7380" y="4738"/>
                </a:cubicBezTo>
                <a:cubicBezTo>
                  <a:pt x="7394" y="4759"/>
                  <a:pt x="7406" y="4797"/>
                  <a:pt x="7403" y="4812"/>
                </a:cubicBezTo>
                <a:cubicBezTo>
                  <a:pt x="7400" y="4827"/>
                  <a:pt x="7389" y="4844"/>
                  <a:pt x="7389" y="4844"/>
                </a:cubicBezTo>
                <a:cubicBezTo>
                  <a:pt x="7389" y="4844"/>
                  <a:pt x="7396" y="4860"/>
                  <a:pt x="7388" y="4866"/>
                </a:cubicBezTo>
                <a:cubicBezTo>
                  <a:pt x="7380" y="4872"/>
                  <a:pt x="7367" y="4870"/>
                  <a:pt x="7367" y="4870"/>
                </a:cubicBezTo>
                <a:cubicBezTo>
                  <a:pt x="7361" y="4884"/>
                  <a:pt x="7361" y="4884"/>
                  <a:pt x="7361" y="4884"/>
                </a:cubicBezTo>
                <a:cubicBezTo>
                  <a:pt x="7363" y="4899"/>
                  <a:pt x="7363" y="4899"/>
                  <a:pt x="7363" y="4899"/>
                </a:cubicBezTo>
                <a:cubicBezTo>
                  <a:pt x="7363" y="4899"/>
                  <a:pt x="7338" y="4896"/>
                  <a:pt x="7339" y="4908"/>
                </a:cubicBezTo>
                <a:cubicBezTo>
                  <a:pt x="7340" y="4920"/>
                  <a:pt x="7336" y="4938"/>
                  <a:pt x="7336" y="4938"/>
                </a:cubicBezTo>
                <a:cubicBezTo>
                  <a:pt x="7329" y="4948"/>
                  <a:pt x="7329" y="4948"/>
                  <a:pt x="7329" y="4948"/>
                </a:cubicBezTo>
                <a:cubicBezTo>
                  <a:pt x="7329" y="4948"/>
                  <a:pt x="7333" y="4980"/>
                  <a:pt x="7330" y="4990"/>
                </a:cubicBezTo>
                <a:cubicBezTo>
                  <a:pt x="7327" y="5000"/>
                  <a:pt x="7316" y="5003"/>
                  <a:pt x="7316" y="5003"/>
                </a:cubicBezTo>
                <a:cubicBezTo>
                  <a:pt x="7316" y="5030"/>
                  <a:pt x="7316" y="5030"/>
                  <a:pt x="7316" y="5030"/>
                </a:cubicBezTo>
                <a:cubicBezTo>
                  <a:pt x="7301" y="5042"/>
                  <a:pt x="7301" y="5042"/>
                  <a:pt x="7301" y="5042"/>
                </a:cubicBezTo>
                <a:cubicBezTo>
                  <a:pt x="7301" y="5069"/>
                  <a:pt x="7301" y="5069"/>
                  <a:pt x="7301" y="5069"/>
                </a:cubicBezTo>
                <a:cubicBezTo>
                  <a:pt x="7308" y="5078"/>
                  <a:pt x="7308" y="5078"/>
                  <a:pt x="7308" y="5078"/>
                </a:cubicBezTo>
                <a:cubicBezTo>
                  <a:pt x="7295" y="5093"/>
                  <a:pt x="7295" y="5093"/>
                  <a:pt x="7295" y="5093"/>
                </a:cubicBezTo>
                <a:cubicBezTo>
                  <a:pt x="7298" y="5120"/>
                  <a:pt x="7298" y="5120"/>
                  <a:pt x="7298" y="5120"/>
                </a:cubicBezTo>
                <a:cubicBezTo>
                  <a:pt x="7302" y="5166"/>
                  <a:pt x="7302" y="5166"/>
                  <a:pt x="7302" y="5166"/>
                </a:cubicBezTo>
                <a:cubicBezTo>
                  <a:pt x="7302" y="5166"/>
                  <a:pt x="7311" y="5183"/>
                  <a:pt x="7320" y="5196"/>
                </a:cubicBezTo>
                <a:cubicBezTo>
                  <a:pt x="7329" y="5209"/>
                  <a:pt x="7362" y="5257"/>
                  <a:pt x="7363" y="5274"/>
                </a:cubicBezTo>
                <a:cubicBezTo>
                  <a:pt x="7364" y="5291"/>
                  <a:pt x="7377" y="5308"/>
                  <a:pt x="7381" y="5321"/>
                </a:cubicBezTo>
                <a:cubicBezTo>
                  <a:pt x="7385" y="5334"/>
                  <a:pt x="7400" y="5349"/>
                  <a:pt x="7400" y="5349"/>
                </a:cubicBezTo>
                <a:cubicBezTo>
                  <a:pt x="7400" y="5363"/>
                  <a:pt x="7400" y="5363"/>
                  <a:pt x="7400" y="5363"/>
                </a:cubicBezTo>
                <a:cubicBezTo>
                  <a:pt x="7400" y="5363"/>
                  <a:pt x="7429" y="5384"/>
                  <a:pt x="7429" y="5400"/>
                </a:cubicBezTo>
                <a:cubicBezTo>
                  <a:pt x="7429" y="5416"/>
                  <a:pt x="7427" y="5490"/>
                  <a:pt x="7427" y="5490"/>
                </a:cubicBezTo>
                <a:cubicBezTo>
                  <a:pt x="7427" y="5490"/>
                  <a:pt x="7442" y="5515"/>
                  <a:pt x="7444" y="5535"/>
                </a:cubicBezTo>
                <a:cubicBezTo>
                  <a:pt x="7446" y="5555"/>
                  <a:pt x="7438" y="5555"/>
                  <a:pt x="7438" y="5555"/>
                </a:cubicBezTo>
                <a:cubicBezTo>
                  <a:pt x="7447" y="5588"/>
                  <a:pt x="7447" y="5588"/>
                  <a:pt x="7447" y="5588"/>
                </a:cubicBezTo>
                <a:cubicBezTo>
                  <a:pt x="7449" y="5612"/>
                  <a:pt x="7449" y="5612"/>
                  <a:pt x="7449" y="5612"/>
                </a:cubicBezTo>
                <a:cubicBezTo>
                  <a:pt x="7457" y="5612"/>
                  <a:pt x="7457" y="5612"/>
                  <a:pt x="7457" y="5612"/>
                </a:cubicBezTo>
                <a:cubicBezTo>
                  <a:pt x="7457" y="5612"/>
                  <a:pt x="7454" y="5632"/>
                  <a:pt x="7455" y="5636"/>
                </a:cubicBezTo>
                <a:cubicBezTo>
                  <a:pt x="7456" y="5640"/>
                  <a:pt x="7466" y="5648"/>
                  <a:pt x="7466" y="5648"/>
                </a:cubicBezTo>
                <a:cubicBezTo>
                  <a:pt x="7467" y="5667"/>
                  <a:pt x="7467" y="5667"/>
                  <a:pt x="7467" y="5667"/>
                </a:cubicBezTo>
                <a:cubicBezTo>
                  <a:pt x="7467" y="5667"/>
                  <a:pt x="7482" y="5699"/>
                  <a:pt x="7488" y="5710"/>
                </a:cubicBezTo>
                <a:cubicBezTo>
                  <a:pt x="7494" y="5721"/>
                  <a:pt x="7514" y="5728"/>
                  <a:pt x="7514" y="5728"/>
                </a:cubicBezTo>
                <a:cubicBezTo>
                  <a:pt x="7514" y="5728"/>
                  <a:pt x="7521" y="5751"/>
                  <a:pt x="7525" y="5755"/>
                </a:cubicBezTo>
                <a:cubicBezTo>
                  <a:pt x="7529" y="5759"/>
                  <a:pt x="7545" y="5777"/>
                  <a:pt x="7545" y="5790"/>
                </a:cubicBezTo>
                <a:cubicBezTo>
                  <a:pt x="7545" y="5803"/>
                  <a:pt x="7542" y="5829"/>
                  <a:pt x="7552" y="5844"/>
                </a:cubicBezTo>
                <a:cubicBezTo>
                  <a:pt x="7562" y="5859"/>
                  <a:pt x="7597" y="5892"/>
                  <a:pt x="7597" y="5906"/>
                </a:cubicBezTo>
                <a:cubicBezTo>
                  <a:pt x="7597" y="5920"/>
                  <a:pt x="7596" y="5947"/>
                  <a:pt x="7592" y="5951"/>
                </a:cubicBezTo>
                <a:cubicBezTo>
                  <a:pt x="7588" y="5955"/>
                  <a:pt x="7576" y="5947"/>
                  <a:pt x="7575" y="5955"/>
                </a:cubicBezTo>
                <a:cubicBezTo>
                  <a:pt x="7574" y="5963"/>
                  <a:pt x="7577" y="5971"/>
                  <a:pt x="7587" y="5988"/>
                </a:cubicBezTo>
                <a:cubicBezTo>
                  <a:pt x="7597" y="6005"/>
                  <a:pt x="7589" y="6024"/>
                  <a:pt x="7595" y="6032"/>
                </a:cubicBezTo>
                <a:cubicBezTo>
                  <a:pt x="7601" y="6040"/>
                  <a:pt x="7598" y="6029"/>
                  <a:pt x="7604" y="6026"/>
                </a:cubicBezTo>
                <a:cubicBezTo>
                  <a:pt x="7610" y="6023"/>
                  <a:pt x="7617" y="6033"/>
                  <a:pt x="7617" y="6033"/>
                </a:cubicBezTo>
                <a:cubicBezTo>
                  <a:pt x="7635" y="6039"/>
                  <a:pt x="7635" y="6039"/>
                  <a:pt x="7635" y="6039"/>
                </a:cubicBezTo>
                <a:cubicBezTo>
                  <a:pt x="7635" y="6039"/>
                  <a:pt x="7640" y="6065"/>
                  <a:pt x="7659" y="6062"/>
                </a:cubicBezTo>
                <a:cubicBezTo>
                  <a:pt x="7678" y="6059"/>
                  <a:pt x="7679" y="6045"/>
                  <a:pt x="7691" y="6041"/>
                </a:cubicBezTo>
                <a:cubicBezTo>
                  <a:pt x="7703" y="6037"/>
                  <a:pt x="7738" y="6048"/>
                  <a:pt x="7747" y="6045"/>
                </a:cubicBezTo>
                <a:cubicBezTo>
                  <a:pt x="7756" y="6042"/>
                  <a:pt x="7752" y="6021"/>
                  <a:pt x="7775" y="6021"/>
                </a:cubicBezTo>
                <a:cubicBezTo>
                  <a:pt x="7798" y="6021"/>
                  <a:pt x="7806" y="6029"/>
                  <a:pt x="7806" y="6029"/>
                </a:cubicBezTo>
                <a:cubicBezTo>
                  <a:pt x="7806" y="6029"/>
                  <a:pt x="7817" y="6018"/>
                  <a:pt x="7840" y="6019"/>
                </a:cubicBezTo>
                <a:cubicBezTo>
                  <a:pt x="7863" y="6020"/>
                  <a:pt x="7875" y="6030"/>
                  <a:pt x="7880" y="6029"/>
                </a:cubicBezTo>
                <a:cubicBezTo>
                  <a:pt x="7885" y="6028"/>
                  <a:pt x="7897" y="6018"/>
                  <a:pt x="7897" y="6018"/>
                </a:cubicBezTo>
                <a:cubicBezTo>
                  <a:pt x="7897" y="6018"/>
                  <a:pt x="7911" y="6025"/>
                  <a:pt x="7920" y="6020"/>
                </a:cubicBezTo>
                <a:cubicBezTo>
                  <a:pt x="7929" y="6015"/>
                  <a:pt x="7941" y="6007"/>
                  <a:pt x="7941" y="6007"/>
                </a:cubicBezTo>
                <a:cubicBezTo>
                  <a:pt x="7941" y="6007"/>
                  <a:pt x="7965" y="6015"/>
                  <a:pt x="7987" y="6000"/>
                </a:cubicBezTo>
                <a:cubicBezTo>
                  <a:pt x="8009" y="5985"/>
                  <a:pt x="8039" y="5956"/>
                  <a:pt x="8039" y="5956"/>
                </a:cubicBezTo>
                <a:cubicBezTo>
                  <a:pt x="8052" y="5948"/>
                  <a:pt x="8052" y="5948"/>
                  <a:pt x="8052" y="5948"/>
                </a:cubicBezTo>
                <a:cubicBezTo>
                  <a:pt x="8114" y="5882"/>
                  <a:pt x="8114" y="5882"/>
                  <a:pt x="8114" y="5882"/>
                </a:cubicBezTo>
                <a:cubicBezTo>
                  <a:pt x="8129" y="5883"/>
                  <a:pt x="8129" y="5883"/>
                  <a:pt x="8129" y="5883"/>
                </a:cubicBezTo>
                <a:cubicBezTo>
                  <a:pt x="8129" y="5883"/>
                  <a:pt x="8166" y="5832"/>
                  <a:pt x="8170" y="5818"/>
                </a:cubicBezTo>
                <a:cubicBezTo>
                  <a:pt x="8174" y="5804"/>
                  <a:pt x="8191" y="5768"/>
                  <a:pt x="8200" y="5762"/>
                </a:cubicBezTo>
                <a:cubicBezTo>
                  <a:pt x="8209" y="5756"/>
                  <a:pt x="8240" y="5743"/>
                  <a:pt x="8243" y="5732"/>
                </a:cubicBezTo>
                <a:cubicBezTo>
                  <a:pt x="8246" y="5721"/>
                  <a:pt x="8262" y="5680"/>
                  <a:pt x="8262" y="5680"/>
                </a:cubicBezTo>
                <a:cubicBezTo>
                  <a:pt x="8262" y="5680"/>
                  <a:pt x="8268" y="5663"/>
                  <a:pt x="8273" y="5647"/>
                </a:cubicBezTo>
                <a:cubicBezTo>
                  <a:pt x="8275" y="5639"/>
                  <a:pt x="8277" y="5632"/>
                  <a:pt x="8277" y="5627"/>
                </a:cubicBezTo>
                <a:cubicBezTo>
                  <a:pt x="8278" y="5612"/>
                  <a:pt x="8269" y="5601"/>
                  <a:pt x="8269" y="5601"/>
                </a:cubicBezTo>
                <a:cubicBezTo>
                  <a:pt x="8269" y="5601"/>
                  <a:pt x="8250" y="5595"/>
                  <a:pt x="8271" y="5575"/>
                </a:cubicBezTo>
                <a:cubicBezTo>
                  <a:pt x="8292" y="5555"/>
                  <a:pt x="8327" y="5541"/>
                  <a:pt x="8348" y="5529"/>
                </a:cubicBezTo>
                <a:cubicBezTo>
                  <a:pt x="8369" y="5517"/>
                  <a:pt x="8404" y="5500"/>
                  <a:pt x="8404" y="5491"/>
                </a:cubicBezTo>
                <a:cubicBezTo>
                  <a:pt x="8404" y="5482"/>
                  <a:pt x="8404" y="5474"/>
                  <a:pt x="8404" y="5474"/>
                </a:cubicBezTo>
                <a:cubicBezTo>
                  <a:pt x="8404" y="5474"/>
                  <a:pt x="8393" y="5483"/>
                  <a:pt x="8392" y="5469"/>
                </a:cubicBezTo>
                <a:cubicBezTo>
                  <a:pt x="8391" y="5455"/>
                  <a:pt x="8411" y="5440"/>
                  <a:pt x="8409" y="5430"/>
                </a:cubicBezTo>
                <a:cubicBezTo>
                  <a:pt x="8407" y="5420"/>
                  <a:pt x="8403" y="5406"/>
                  <a:pt x="8403" y="5406"/>
                </a:cubicBezTo>
                <a:cubicBezTo>
                  <a:pt x="8410" y="5387"/>
                  <a:pt x="8410" y="5387"/>
                  <a:pt x="8410" y="5387"/>
                </a:cubicBezTo>
                <a:cubicBezTo>
                  <a:pt x="8408" y="5382"/>
                  <a:pt x="8408" y="5382"/>
                  <a:pt x="8408" y="5382"/>
                </a:cubicBezTo>
                <a:cubicBezTo>
                  <a:pt x="8397" y="5395"/>
                  <a:pt x="8397" y="5395"/>
                  <a:pt x="8397" y="5395"/>
                </a:cubicBezTo>
                <a:cubicBezTo>
                  <a:pt x="8400" y="5368"/>
                  <a:pt x="8400" y="5368"/>
                  <a:pt x="8400" y="5368"/>
                </a:cubicBezTo>
                <a:cubicBezTo>
                  <a:pt x="8400" y="5368"/>
                  <a:pt x="8385" y="5353"/>
                  <a:pt x="8384" y="5343"/>
                </a:cubicBezTo>
                <a:cubicBezTo>
                  <a:pt x="8383" y="5333"/>
                  <a:pt x="8392" y="5323"/>
                  <a:pt x="8387" y="5311"/>
                </a:cubicBezTo>
                <a:cubicBezTo>
                  <a:pt x="8382" y="5299"/>
                  <a:pt x="8370" y="5310"/>
                  <a:pt x="8370" y="5297"/>
                </a:cubicBezTo>
                <a:cubicBezTo>
                  <a:pt x="8370" y="5284"/>
                  <a:pt x="8381" y="5263"/>
                  <a:pt x="8384" y="5259"/>
                </a:cubicBezTo>
                <a:cubicBezTo>
                  <a:pt x="8387" y="5255"/>
                  <a:pt x="8411" y="5249"/>
                  <a:pt x="8414" y="5240"/>
                </a:cubicBezTo>
                <a:cubicBezTo>
                  <a:pt x="8417" y="5231"/>
                  <a:pt x="8422" y="5216"/>
                  <a:pt x="8429" y="5211"/>
                </a:cubicBezTo>
                <a:cubicBezTo>
                  <a:pt x="8436" y="5206"/>
                  <a:pt x="8441" y="5211"/>
                  <a:pt x="8449" y="5205"/>
                </a:cubicBezTo>
                <a:cubicBezTo>
                  <a:pt x="8457" y="5199"/>
                  <a:pt x="8472" y="5191"/>
                  <a:pt x="8474" y="5175"/>
                </a:cubicBezTo>
                <a:cubicBezTo>
                  <a:pt x="8476" y="5159"/>
                  <a:pt x="8493" y="5141"/>
                  <a:pt x="8510" y="5133"/>
                </a:cubicBezTo>
                <a:cubicBezTo>
                  <a:pt x="8527" y="5125"/>
                  <a:pt x="8571" y="5111"/>
                  <a:pt x="8579" y="5104"/>
                </a:cubicBezTo>
                <a:cubicBezTo>
                  <a:pt x="8587" y="5097"/>
                  <a:pt x="8620" y="5080"/>
                  <a:pt x="8620" y="5080"/>
                </a:cubicBezTo>
                <a:cubicBezTo>
                  <a:pt x="8620" y="5070"/>
                  <a:pt x="8620" y="5070"/>
                  <a:pt x="8620" y="5070"/>
                </a:cubicBezTo>
                <a:cubicBezTo>
                  <a:pt x="8620" y="5070"/>
                  <a:pt x="8638" y="5051"/>
                  <a:pt x="8638" y="5046"/>
                </a:cubicBezTo>
                <a:cubicBezTo>
                  <a:pt x="8638" y="5041"/>
                  <a:pt x="8660" y="5019"/>
                  <a:pt x="8660" y="5019"/>
                </a:cubicBezTo>
                <a:cubicBezTo>
                  <a:pt x="8658" y="5010"/>
                  <a:pt x="8658" y="5010"/>
                  <a:pt x="8658" y="5010"/>
                </a:cubicBezTo>
                <a:cubicBezTo>
                  <a:pt x="8658" y="5010"/>
                  <a:pt x="8670" y="4993"/>
                  <a:pt x="8670" y="4985"/>
                </a:cubicBezTo>
                <a:cubicBezTo>
                  <a:pt x="8670" y="4977"/>
                  <a:pt x="8669" y="4966"/>
                  <a:pt x="8669" y="4966"/>
                </a:cubicBezTo>
                <a:cubicBezTo>
                  <a:pt x="8661" y="4967"/>
                  <a:pt x="8661" y="4967"/>
                  <a:pt x="8661" y="4967"/>
                </a:cubicBezTo>
                <a:cubicBezTo>
                  <a:pt x="8661" y="4926"/>
                  <a:pt x="8661" y="4926"/>
                  <a:pt x="8661" y="4926"/>
                </a:cubicBezTo>
                <a:cubicBezTo>
                  <a:pt x="8653" y="4918"/>
                  <a:pt x="8653" y="4918"/>
                  <a:pt x="8653" y="4918"/>
                </a:cubicBezTo>
                <a:cubicBezTo>
                  <a:pt x="8664" y="4911"/>
                  <a:pt x="8664" y="4911"/>
                  <a:pt x="8664" y="4911"/>
                </a:cubicBezTo>
                <a:cubicBezTo>
                  <a:pt x="8657" y="4880"/>
                  <a:pt x="8657" y="4880"/>
                  <a:pt x="8657" y="4880"/>
                </a:cubicBezTo>
                <a:cubicBezTo>
                  <a:pt x="8665" y="4860"/>
                  <a:pt x="8665" y="4860"/>
                  <a:pt x="8665" y="4860"/>
                </a:cubicBezTo>
                <a:cubicBezTo>
                  <a:pt x="8655" y="4834"/>
                  <a:pt x="8655" y="4834"/>
                  <a:pt x="8655" y="4834"/>
                </a:cubicBezTo>
                <a:cubicBezTo>
                  <a:pt x="8655" y="4834"/>
                  <a:pt x="8667" y="4777"/>
                  <a:pt x="8667" y="4769"/>
                </a:cubicBezTo>
                <a:cubicBezTo>
                  <a:pt x="8667" y="4761"/>
                  <a:pt x="8659" y="4756"/>
                  <a:pt x="8659" y="4756"/>
                </a:cubicBezTo>
                <a:cubicBezTo>
                  <a:pt x="8659" y="4756"/>
                  <a:pt x="8659" y="4756"/>
                  <a:pt x="8659" y="4756"/>
                </a:cubicBezTo>
                <a:cubicBezTo>
                  <a:pt x="8656" y="4745"/>
                  <a:pt x="8656" y="4745"/>
                  <a:pt x="8656" y="4745"/>
                </a:cubicBezTo>
                <a:cubicBezTo>
                  <a:pt x="8656" y="4745"/>
                  <a:pt x="8628" y="4738"/>
                  <a:pt x="8626" y="4727"/>
                </a:cubicBezTo>
                <a:cubicBezTo>
                  <a:pt x="8624" y="4716"/>
                  <a:pt x="8622" y="4685"/>
                  <a:pt x="8622" y="4685"/>
                </a:cubicBezTo>
                <a:cubicBezTo>
                  <a:pt x="8607" y="4654"/>
                  <a:pt x="8607" y="4654"/>
                  <a:pt x="8607" y="4654"/>
                </a:cubicBezTo>
                <a:cubicBezTo>
                  <a:pt x="8616" y="4623"/>
                  <a:pt x="8616" y="4623"/>
                  <a:pt x="8616" y="4623"/>
                </a:cubicBezTo>
                <a:cubicBezTo>
                  <a:pt x="8605" y="4609"/>
                  <a:pt x="8605" y="4609"/>
                  <a:pt x="8605" y="4609"/>
                </a:cubicBezTo>
                <a:cubicBezTo>
                  <a:pt x="8605" y="4609"/>
                  <a:pt x="8625" y="4574"/>
                  <a:pt x="8620" y="4566"/>
                </a:cubicBezTo>
                <a:cubicBezTo>
                  <a:pt x="8615" y="4558"/>
                  <a:pt x="8588" y="4551"/>
                  <a:pt x="8585" y="4539"/>
                </a:cubicBezTo>
                <a:cubicBezTo>
                  <a:pt x="8582" y="4527"/>
                  <a:pt x="8599" y="4488"/>
                  <a:pt x="8600" y="4481"/>
                </a:cubicBezTo>
                <a:cubicBezTo>
                  <a:pt x="8601" y="4475"/>
                  <a:pt x="8603" y="4452"/>
                  <a:pt x="8604" y="4447"/>
                </a:cubicBezTo>
                <a:cubicBezTo>
                  <a:pt x="8604" y="4446"/>
                  <a:pt x="8604" y="4446"/>
                  <a:pt x="8604" y="4446"/>
                </a:cubicBezTo>
                <a:cubicBezTo>
                  <a:pt x="8617" y="4443"/>
                  <a:pt x="8617" y="4443"/>
                  <a:pt x="8617" y="4443"/>
                </a:cubicBezTo>
                <a:cubicBezTo>
                  <a:pt x="8637" y="4401"/>
                  <a:pt x="8637" y="4401"/>
                  <a:pt x="8637" y="4401"/>
                </a:cubicBezTo>
                <a:cubicBezTo>
                  <a:pt x="8637" y="4401"/>
                  <a:pt x="8635" y="4386"/>
                  <a:pt x="8635" y="4379"/>
                </a:cubicBezTo>
                <a:cubicBezTo>
                  <a:pt x="8635" y="4372"/>
                  <a:pt x="8656" y="4372"/>
                  <a:pt x="8655" y="4362"/>
                </a:cubicBezTo>
                <a:cubicBezTo>
                  <a:pt x="8654" y="4352"/>
                  <a:pt x="8649" y="4339"/>
                  <a:pt x="8657" y="4336"/>
                </a:cubicBezTo>
                <a:cubicBezTo>
                  <a:pt x="8665" y="4333"/>
                  <a:pt x="8680" y="4326"/>
                  <a:pt x="8680" y="4326"/>
                </a:cubicBezTo>
                <a:cubicBezTo>
                  <a:pt x="8684" y="4299"/>
                  <a:pt x="8684" y="4299"/>
                  <a:pt x="8684" y="4299"/>
                </a:cubicBezTo>
                <a:cubicBezTo>
                  <a:pt x="8684" y="4299"/>
                  <a:pt x="8708" y="4304"/>
                  <a:pt x="8716" y="4289"/>
                </a:cubicBezTo>
                <a:cubicBezTo>
                  <a:pt x="8717" y="4287"/>
                  <a:pt x="8718" y="4284"/>
                  <a:pt x="8720" y="4281"/>
                </a:cubicBezTo>
                <a:cubicBezTo>
                  <a:pt x="8719" y="4283"/>
                  <a:pt x="8719" y="4284"/>
                  <a:pt x="8718" y="4285"/>
                </a:cubicBezTo>
                <a:cubicBezTo>
                  <a:pt x="8727" y="4268"/>
                  <a:pt x="8744" y="4236"/>
                  <a:pt x="8750" y="4226"/>
                </a:cubicBezTo>
                <a:cubicBezTo>
                  <a:pt x="8757" y="4215"/>
                  <a:pt x="8789" y="4200"/>
                  <a:pt x="8792" y="4185"/>
                </a:cubicBezTo>
                <a:cubicBezTo>
                  <a:pt x="8795" y="4170"/>
                  <a:pt x="8838" y="4132"/>
                  <a:pt x="8849" y="4119"/>
                </a:cubicBezTo>
                <a:cubicBezTo>
                  <a:pt x="8860" y="4106"/>
                  <a:pt x="8894" y="4087"/>
                  <a:pt x="8902" y="4082"/>
                </a:cubicBezTo>
                <a:cubicBezTo>
                  <a:pt x="8910" y="4077"/>
                  <a:pt x="8967" y="4030"/>
                  <a:pt x="8973" y="4019"/>
                </a:cubicBezTo>
                <a:cubicBezTo>
                  <a:pt x="8979" y="4008"/>
                  <a:pt x="9023" y="3959"/>
                  <a:pt x="9027" y="3945"/>
                </a:cubicBezTo>
                <a:cubicBezTo>
                  <a:pt x="9031" y="3931"/>
                  <a:pt x="9056" y="3885"/>
                  <a:pt x="9062" y="3880"/>
                </a:cubicBezTo>
                <a:cubicBezTo>
                  <a:pt x="9068" y="3875"/>
                  <a:pt x="9076" y="3862"/>
                  <a:pt x="9076" y="3854"/>
                </a:cubicBezTo>
                <a:cubicBezTo>
                  <a:pt x="9076" y="3846"/>
                  <a:pt x="9082" y="3817"/>
                  <a:pt x="9089" y="3808"/>
                </a:cubicBezTo>
                <a:cubicBezTo>
                  <a:pt x="9096" y="3799"/>
                  <a:pt x="9109" y="3787"/>
                  <a:pt x="9109" y="3774"/>
                </a:cubicBezTo>
                <a:cubicBezTo>
                  <a:pt x="9109" y="3761"/>
                  <a:pt x="9119" y="3751"/>
                  <a:pt x="9119" y="3751"/>
                </a:cubicBezTo>
                <a:cubicBezTo>
                  <a:pt x="9132" y="3715"/>
                  <a:pt x="9132" y="3715"/>
                  <a:pt x="9132" y="3715"/>
                </a:cubicBezTo>
                <a:cubicBezTo>
                  <a:pt x="9132" y="3715"/>
                  <a:pt x="9149" y="3719"/>
                  <a:pt x="9149" y="3693"/>
                </a:cubicBezTo>
                <a:cubicBezTo>
                  <a:pt x="9149" y="3667"/>
                  <a:pt x="9149" y="3639"/>
                  <a:pt x="9149" y="3639"/>
                </a:cubicBezTo>
                <a:cubicBezTo>
                  <a:pt x="9163" y="3630"/>
                  <a:pt x="9163" y="3630"/>
                  <a:pt x="9163" y="3630"/>
                </a:cubicBezTo>
                <a:cubicBezTo>
                  <a:pt x="9159" y="3584"/>
                  <a:pt x="9159" y="3584"/>
                  <a:pt x="9159" y="3584"/>
                </a:cubicBezTo>
                <a:cubicBezTo>
                  <a:pt x="9159" y="3584"/>
                  <a:pt x="9172" y="3560"/>
                  <a:pt x="9166" y="3554"/>
                </a:cubicBezTo>
                <a:cubicBezTo>
                  <a:pt x="9160" y="3548"/>
                  <a:pt x="9139" y="3546"/>
                  <a:pt x="9139" y="3546"/>
                </a:cubicBezTo>
                <a:cubicBezTo>
                  <a:pt x="9139" y="3546"/>
                  <a:pt x="9131" y="3560"/>
                  <a:pt x="9124" y="3567"/>
                </a:cubicBezTo>
                <a:cubicBezTo>
                  <a:pt x="9117" y="3574"/>
                  <a:pt x="9080" y="3583"/>
                  <a:pt x="9074" y="3583"/>
                </a:cubicBezTo>
                <a:cubicBezTo>
                  <a:pt x="9068" y="3583"/>
                  <a:pt x="9047" y="3577"/>
                  <a:pt x="9037" y="3581"/>
                </a:cubicBezTo>
                <a:cubicBezTo>
                  <a:pt x="9027" y="3585"/>
                  <a:pt x="9014" y="3600"/>
                  <a:pt x="9010" y="3600"/>
                </a:cubicBezTo>
                <a:cubicBezTo>
                  <a:pt x="9006" y="3600"/>
                  <a:pt x="8996" y="3588"/>
                  <a:pt x="8988" y="3589"/>
                </a:cubicBezTo>
                <a:cubicBezTo>
                  <a:pt x="8980" y="3590"/>
                  <a:pt x="8953" y="3618"/>
                  <a:pt x="8944" y="3619"/>
                </a:cubicBezTo>
                <a:cubicBezTo>
                  <a:pt x="8935" y="3620"/>
                  <a:pt x="8927" y="3604"/>
                  <a:pt x="8913" y="3608"/>
                </a:cubicBezTo>
                <a:cubicBezTo>
                  <a:pt x="8899" y="3612"/>
                  <a:pt x="8881" y="3629"/>
                  <a:pt x="8873" y="3630"/>
                </a:cubicBezTo>
                <a:cubicBezTo>
                  <a:pt x="8865" y="3631"/>
                  <a:pt x="8833" y="3631"/>
                  <a:pt x="8833" y="3631"/>
                </a:cubicBezTo>
                <a:cubicBezTo>
                  <a:pt x="8833" y="3631"/>
                  <a:pt x="8803" y="3604"/>
                  <a:pt x="8803" y="3594"/>
                </a:cubicBezTo>
                <a:cubicBezTo>
                  <a:pt x="8803" y="3586"/>
                  <a:pt x="8794" y="3582"/>
                  <a:pt x="8791" y="3581"/>
                </a:cubicBezTo>
                <a:cubicBezTo>
                  <a:pt x="8790" y="3581"/>
                  <a:pt x="8790" y="3581"/>
                  <a:pt x="8790" y="3581"/>
                </a:cubicBezTo>
                <a:cubicBezTo>
                  <a:pt x="8783" y="3571"/>
                  <a:pt x="8783" y="3571"/>
                  <a:pt x="8783" y="3571"/>
                </a:cubicBezTo>
                <a:cubicBezTo>
                  <a:pt x="8760" y="3573"/>
                  <a:pt x="8760" y="3573"/>
                  <a:pt x="8760" y="3573"/>
                </a:cubicBezTo>
                <a:cubicBezTo>
                  <a:pt x="8760" y="3573"/>
                  <a:pt x="8801" y="3540"/>
                  <a:pt x="8792" y="3527"/>
                </a:cubicBezTo>
                <a:cubicBezTo>
                  <a:pt x="8789" y="3522"/>
                  <a:pt x="8784" y="3516"/>
                  <a:pt x="8779" y="3510"/>
                </a:cubicBezTo>
                <a:cubicBezTo>
                  <a:pt x="8771" y="3500"/>
                  <a:pt x="8763" y="3491"/>
                  <a:pt x="8763" y="3491"/>
                </a:cubicBezTo>
                <a:cubicBezTo>
                  <a:pt x="8763" y="3491"/>
                  <a:pt x="8746" y="3494"/>
                  <a:pt x="8744" y="3487"/>
                </a:cubicBezTo>
                <a:cubicBezTo>
                  <a:pt x="8742" y="3480"/>
                  <a:pt x="8742" y="3462"/>
                  <a:pt x="8742" y="3462"/>
                </a:cubicBezTo>
                <a:cubicBezTo>
                  <a:pt x="8742" y="3462"/>
                  <a:pt x="8703" y="3448"/>
                  <a:pt x="8700" y="3439"/>
                </a:cubicBezTo>
                <a:cubicBezTo>
                  <a:pt x="8697" y="3430"/>
                  <a:pt x="8697" y="3408"/>
                  <a:pt x="8690" y="3404"/>
                </a:cubicBezTo>
                <a:cubicBezTo>
                  <a:pt x="8683" y="3400"/>
                  <a:pt x="8666" y="3404"/>
                  <a:pt x="8663" y="3400"/>
                </a:cubicBezTo>
                <a:cubicBezTo>
                  <a:pt x="8660" y="3396"/>
                  <a:pt x="8649" y="3382"/>
                  <a:pt x="8649" y="3382"/>
                </a:cubicBezTo>
                <a:cubicBezTo>
                  <a:pt x="8636" y="3388"/>
                  <a:pt x="8636" y="3388"/>
                  <a:pt x="8636" y="3388"/>
                </a:cubicBezTo>
                <a:cubicBezTo>
                  <a:pt x="8628" y="3375"/>
                  <a:pt x="8628" y="3375"/>
                  <a:pt x="8628" y="3375"/>
                </a:cubicBezTo>
                <a:cubicBezTo>
                  <a:pt x="8616" y="3372"/>
                  <a:pt x="8616" y="3372"/>
                  <a:pt x="8616" y="3372"/>
                </a:cubicBezTo>
                <a:cubicBezTo>
                  <a:pt x="8616" y="3372"/>
                  <a:pt x="8596" y="3352"/>
                  <a:pt x="8593" y="3340"/>
                </a:cubicBezTo>
                <a:cubicBezTo>
                  <a:pt x="8590" y="3328"/>
                  <a:pt x="8594" y="3308"/>
                  <a:pt x="8587" y="3285"/>
                </a:cubicBezTo>
                <a:cubicBezTo>
                  <a:pt x="8580" y="3262"/>
                  <a:pt x="8559" y="3224"/>
                  <a:pt x="8559" y="3224"/>
                </a:cubicBezTo>
                <a:cubicBezTo>
                  <a:pt x="8557" y="3223"/>
                  <a:pt x="8557" y="3223"/>
                  <a:pt x="8557" y="3223"/>
                </a:cubicBezTo>
                <a:cubicBezTo>
                  <a:pt x="8532" y="3208"/>
                  <a:pt x="8532" y="3208"/>
                  <a:pt x="8532" y="3208"/>
                </a:cubicBezTo>
                <a:cubicBezTo>
                  <a:pt x="8532" y="3208"/>
                  <a:pt x="8529" y="3192"/>
                  <a:pt x="8523" y="3188"/>
                </a:cubicBezTo>
                <a:cubicBezTo>
                  <a:pt x="8517" y="3184"/>
                  <a:pt x="8502" y="3194"/>
                  <a:pt x="8498" y="3180"/>
                </a:cubicBezTo>
                <a:cubicBezTo>
                  <a:pt x="8494" y="3166"/>
                  <a:pt x="8493" y="3128"/>
                  <a:pt x="8493" y="3128"/>
                </a:cubicBezTo>
                <a:cubicBezTo>
                  <a:pt x="8486" y="3126"/>
                  <a:pt x="8486" y="3126"/>
                  <a:pt x="8486" y="3126"/>
                </a:cubicBezTo>
                <a:cubicBezTo>
                  <a:pt x="8486" y="3126"/>
                  <a:pt x="8484" y="3084"/>
                  <a:pt x="8484" y="3079"/>
                </a:cubicBezTo>
                <a:cubicBezTo>
                  <a:pt x="8484" y="3074"/>
                  <a:pt x="8479" y="3063"/>
                  <a:pt x="8479" y="3063"/>
                </a:cubicBezTo>
                <a:cubicBezTo>
                  <a:pt x="8491" y="3060"/>
                  <a:pt x="8491" y="3060"/>
                  <a:pt x="8491" y="3060"/>
                </a:cubicBezTo>
                <a:cubicBezTo>
                  <a:pt x="8491" y="3060"/>
                  <a:pt x="8473" y="3045"/>
                  <a:pt x="8472" y="3036"/>
                </a:cubicBezTo>
                <a:cubicBezTo>
                  <a:pt x="8471" y="3027"/>
                  <a:pt x="8477" y="3011"/>
                  <a:pt x="8469" y="3005"/>
                </a:cubicBezTo>
                <a:cubicBezTo>
                  <a:pt x="8461" y="2999"/>
                  <a:pt x="8450" y="2991"/>
                  <a:pt x="8450" y="2991"/>
                </a:cubicBezTo>
                <a:cubicBezTo>
                  <a:pt x="8450" y="2991"/>
                  <a:pt x="8441" y="2979"/>
                  <a:pt x="8437" y="2975"/>
                </a:cubicBezTo>
                <a:cubicBezTo>
                  <a:pt x="8433" y="2971"/>
                  <a:pt x="8432" y="2978"/>
                  <a:pt x="8426" y="2974"/>
                </a:cubicBezTo>
                <a:cubicBezTo>
                  <a:pt x="8422" y="2971"/>
                  <a:pt x="8415" y="2962"/>
                  <a:pt x="8410" y="2952"/>
                </a:cubicBezTo>
                <a:cubicBezTo>
                  <a:pt x="8407" y="2946"/>
                  <a:pt x="8405" y="2940"/>
                  <a:pt x="8405" y="2935"/>
                </a:cubicBezTo>
                <a:cubicBezTo>
                  <a:pt x="8404" y="2920"/>
                  <a:pt x="8403" y="2906"/>
                  <a:pt x="8403" y="2906"/>
                </a:cubicBezTo>
                <a:cubicBezTo>
                  <a:pt x="8415" y="2905"/>
                  <a:pt x="8415" y="2905"/>
                  <a:pt x="8415" y="2905"/>
                </a:cubicBezTo>
                <a:cubicBezTo>
                  <a:pt x="8415" y="2905"/>
                  <a:pt x="8388" y="2887"/>
                  <a:pt x="8375" y="2859"/>
                </a:cubicBezTo>
                <a:cubicBezTo>
                  <a:pt x="8362" y="2831"/>
                  <a:pt x="8363" y="2816"/>
                  <a:pt x="8354" y="2805"/>
                </a:cubicBezTo>
                <a:cubicBezTo>
                  <a:pt x="8345" y="2794"/>
                  <a:pt x="8341" y="2792"/>
                  <a:pt x="8333" y="2778"/>
                </a:cubicBezTo>
                <a:cubicBezTo>
                  <a:pt x="8325" y="2764"/>
                  <a:pt x="8325" y="2742"/>
                  <a:pt x="8325" y="2742"/>
                </a:cubicBezTo>
                <a:cubicBezTo>
                  <a:pt x="8300" y="2715"/>
                  <a:pt x="8300" y="2715"/>
                  <a:pt x="8300" y="2715"/>
                </a:cubicBezTo>
                <a:cubicBezTo>
                  <a:pt x="8300" y="2715"/>
                  <a:pt x="8303" y="2706"/>
                  <a:pt x="8297" y="2694"/>
                </a:cubicBezTo>
                <a:cubicBezTo>
                  <a:pt x="8291" y="2682"/>
                  <a:pt x="8265" y="2660"/>
                  <a:pt x="8263" y="2651"/>
                </a:cubicBezTo>
                <a:cubicBezTo>
                  <a:pt x="8261" y="2642"/>
                  <a:pt x="8253" y="2637"/>
                  <a:pt x="8253" y="2637"/>
                </a:cubicBezTo>
                <a:cubicBezTo>
                  <a:pt x="8253" y="2637"/>
                  <a:pt x="8261" y="2627"/>
                  <a:pt x="8253" y="2616"/>
                </a:cubicBezTo>
                <a:cubicBezTo>
                  <a:pt x="8245" y="2605"/>
                  <a:pt x="8235" y="2602"/>
                  <a:pt x="8235" y="2602"/>
                </a:cubicBezTo>
                <a:cubicBezTo>
                  <a:pt x="8246" y="2589"/>
                  <a:pt x="8246" y="2589"/>
                  <a:pt x="8246" y="2589"/>
                </a:cubicBezTo>
                <a:cubicBezTo>
                  <a:pt x="8258" y="2597"/>
                  <a:pt x="8258" y="2597"/>
                  <a:pt x="8258" y="2597"/>
                </a:cubicBezTo>
                <a:cubicBezTo>
                  <a:pt x="8258" y="2597"/>
                  <a:pt x="8257" y="2614"/>
                  <a:pt x="8266" y="2620"/>
                </a:cubicBezTo>
                <a:cubicBezTo>
                  <a:pt x="8275" y="2626"/>
                  <a:pt x="8280" y="2635"/>
                  <a:pt x="8280" y="2635"/>
                </a:cubicBezTo>
                <a:cubicBezTo>
                  <a:pt x="8279" y="2652"/>
                  <a:pt x="8279" y="2652"/>
                  <a:pt x="8279" y="2652"/>
                </a:cubicBezTo>
                <a:cubicBezTo>
                  <a:pt x="8279" y="2652"/>
                  <a:pt x="8311" y="2704"/>
                  <a:pt x="8323" y="2697"/>
                </a:cubicBezTo>
                <a:cubicBezTo>
                  <a:pt x="8335" y="2690"/>
                  <a:pt x="8341" y="2685"/>
                  <a:pt x="8341" y="2685"/>
                </a:cubicBezTo>
                <a:cubicBezTo>
                  <a:pt x="8334" y="2673"/>
                  <a:pt x="8334" y="2673"/>
                  <a:pt x="8334" y="2673"/>
                </a:cubicBezTo>
                <a:cubicBezTo>
                  <a:pt x="8334" y="2673"/>
                  <a:pt x="8347" y="2647"/>
                  <a:pt x="8347" y="2633"/>
                </a:cubicBezTo>
                <a:cubicBezTo>
                  <a:pt x="8347" y="2619"/>
                  <a:pt x="8356" y="2602"/>
                  <a:pt x="8356" y="2602"/>
                </a:cubicBezTo>
                <a:cubicBezTo>
                  <a:pt x="8361" y="2612"/>
                  <a:pt x="8361" y="2612"/>
                  <a:pt x="8361" y="2612"/>
                </a:cubicBezTo>
                <a:cubicBezTo>
                  <a:pt x="8363" y="2618"/>
                  <a:pt x="8363" y="2618"/>
                  <a:pt x="8363" y="2618"/>
                </a:cubicBezTo>
                <a:cubicBezTo>
                  <a:pt x="8363" y="2618"/>
                  <a:pt x="8364" y="2618"/>
                  <a:pt x="8364" y="2618"/>
                </a:cubicBezTo>
                <a:cubicBezTo>
                  <a:pt x="8358" y="2619"/>
                  <a:pt x="8358" y="2623"/>
                  <a:pt x="8358" y="2624"/>
                </a:cubicBezTo>
                <a:cubicBezTo>
                  <a:pt x="8358" y="2624"/>
                  <a:pt x="8358" y="2624"/>
                  <a:pt x="8358" y="2624"/>
                </a:cubicBezTo>
                <a:cubicBezTo>
                  <a:pt x="8358" y="2633"/>
                  <a:pt x="8346" y="2700"/>
                  <a:pt x="8358" y="2712"/>
                </a:cubicBezTo>
                <a:cubicBezTo>
                  <a:pt x="8370" y="2723"/>
                  <a:pt x="8395" y="2723"/>
                  <a:pt x="8400" y="2737"/>
                </a:cubicBezTo>
                <a:cubicBezTo>
                  <a:pt x="8406" y="2751"/>
                  <a:pt x="8422" y="2788"/>
                  <a:pt x="8431" y="2797"/>
                </a:cubicBezTo>
                <a:cubicBezTo>
                  <a:pt x="8440" y="2806"/>
                  <a:pt x="8459" y="2821"/>
                  <a:pt x="8466" y="2833"/>
                </a:cubicBezTo>
                <a:cubicBezTo>
                  <a:pt x="8474" y="2846"/>
                  <a:pt x="8478" y="2884"/>
                  <a:pt x="8491" y="2896"/>
                </a:cubicBezTo>
                <a:cubicBezTo>
                  <a:pt x="8503" y="2908"/>
                  <a:pt x="8530" y="2897"/>
                  <a:pt x="8547" y="2916"/>
                </a:cubicBezTo>
                <a:cubicBezTo>
                  <a:pt x="8564" y="2935"/>
                  <a:pt x="8578" y="2994"/>
                  <a:pt x="8578" y="3023"/>
                </a:cubicBezTo>
                <a:cubicBezTo>
                  <a:pt x="8578" y="3053"/>
                  <a:pt x="8613" y="3089"/>
                  <a:pt x="8613" y="3089"/>
                </a:cubicBezTo>
                <a:cubicBezTo>
                  <a:pt x="8613" y="3089"/>
                  <a:pt x="8637" y="3086"/>
                  <a:pt x="8646" y="3094"/>
                </a:cubicBezTo>
                <a:cubicBezTo>
                  <a:pt x="8654" y="3102"/>
                  <a:pt x="8690" y="3167"/>
                  <a:pt x="8704" y="3191"/>
                </a:cubicBezTo>
                <a:cubicBezTo>
                  <a:pt x="8718" y="3215"/>
                  <a:pt x="8766" y="3273"/>
                  <a:pt x="8765" y="3289"/>
                </a:cubicBezTo>
                <a:cubicBezTo>
                  <a:pt x="8765" y="3296"/>
                  <a:pt x="8763" y="3305"/>
                  <a:pt x="8760" y="3314"/>
                </a:cubicBezTo>
                <a:cubicBezTo>
                  <a:pt x="8758" y="3323"/>
                  <a:pt x="8755" y="3332"/>
                  <a:pt x="8754" y="3337"/>
                </a:cubicBezTo>
                <a:cubicBezTo>
                  <a:pt x="8752" y="3347"/>
                  <a:pt x="8776" y="3366"/>
                  <a:pt x="8776" y="3366"/>
                </a:cubicBezTo>
                <a:cubicBezTo>
                  <a:pt x="8767" y="3443"/>
                  <a:pt x="8767" y="3443"/>
                  <a:pt x="8767" y="3443"/>
                </a:cubicBezTo>
                <a:cubicBezTo>
                  <a:pt x="8788" y="3465"/>
                  <a:pt x="8788" y="3465"/>
                  <a:pt x="8788" y="3465"/>
                </a:cubicBezTo>
                <a:cubicBezTo>
                  <a:pt x="8788" y="3465"/>
                  <a:pt x="8793" y="3494"/>
                  <a:pt x="8812" y="3498"/>
                </a:cubicBezTo>
                <a:cubicBezTo>
                  <a:pt x="8831" y="3503"/>
                  <a:pt x="8846" y="3502"/>
                  <a:pt x="8858" y="3494"/>
                </a:cubicBezTo>
                <a:cubicBezTo>
                  <a:pt x="8870" y="3486"/>
                  <a:pt x="8874" y="3460"/>
                  <a:pt x="8885" y="3460"/>
                </a:cubicBezTo>
                <a:cubicBezTo>
                  <a:pt x="8897" y="3459"/>
                  <a:pt x="8912" y="3466"/>
                  <a:pt x="8934" y="3463"/>
                </a:cubicBezTo>
                <a:cubicBezTo>
                  <a:pt x="8956" y="3460"/>
                  <a:pt x="8982" y="3455"/>
                  <a:pt x="8995" y="3455"/>
                </a:cubicBezTo>
                <a:cubicBezTo>
                  <a:pt x="9008" y="3456"/>
                  <a:pt x="9029" y="3422"/>
                  <a:pt x="9044" y="3416"/>
                </a:cubicBezTo>
                <a:cubicBezTo>
                  <a:pt x="9060" y="3411"/>
                  <a:pt x="9068" y="3391"/>
                  <a:pt x="9086" y="3386"/>
                </a:cubicBezTo>
                <a:cubicBezTo>
                  <a:pt x="9104" y="3380"/>
                  <a:pt x="9149" y="3354"/>
                  <a:pt x="9149" y="3354"/>
                </a:cubicBezTo>
                <a:cubicBezTo>
                  <a:pt x="9198" y="3353"/>
                  <a:pt x="9198" y="3353"/>
                  <a:pt x="9198" y="3353"/>
                </a:cubicBezTo>
                <a:cubicBezTo>
                  <a:pt x="9198" y="3353"/>
                  <a:pt x="9218" y="3308"/>
                  <a:pt x="9231" y="3298"/>
                </a:cubicBezTo>
                <a:cubicBezTo>
                  <a:pt x="9232" y="3296"/>
                  <a:pt x="9235" y="3295"/>
                  <a:pt x="9239" y="3293"/>
                </a:cubicBezTo>
                <a:cubicBezTo>
                  <a:pt x="9266" y="3282"/>
                  <a:pt x="9344" y="3263"/>
                  <a:pt x="9347" y="3258"/>
                </a:cubicBezTo>
                <a:cubicBezTo>
                  <a:pt x="9352" y="3252"/>
                  <a:pt x="9354" y="3223"/>
                  <a:pt x="9354" y="3223"/>
                </a:cubicBezTo>
                <a:cubicBezTo>
                  <a:pt x="9354" y="3223"/>
                  <a:pt x="9396" y="3217"/>
                  <a:pt x="9405" y="3206"/>
                </a:cubicBezTo>
                <a:cubicBezTo>
                  <a:pt x="9413" y="3196"/>
                  <a:pt x="9413" y="3178"/>
                  <a:pt x="9413" y="3178"/>
                </a:cubicBezTo>
                <a:cubicBezTo>
                  <a:pt x="9413" y="3178"/>
                  <a:pt x="9445" y="3167"/>
                  <a:pt x="9454" y="3152"/>
                </a:cubicBezTo>
                <a:cubicBezTo>
                  <a:pt x="9464" y="3136"/>
                  <a:pt x="9459" y="3098"/>
                  <a:pt x="9468" y="3097"/>
                </a:cubicBezTo>
                <a:cubicBezTo>
                  <a:pt x="9477" y="3096"/>
                  <a:pt x="9487" y="3108"/>
                  <a:pt x="9497" y="3097"/>
                </a:cubicBezTo>
                <a:cubicBezTo>
                  <a:pt x="9508" y="3086"/>
                  <a:pt x="9503" y="3066"/>
                  <a:pt x="9503" y="3066"/>
                </a:cubicBezTo>
                <a:cubicBezTo>
                  <a:pt x="9540" y="3032"/>
                  <a:pt x="9540" y="3032"/>
                  <a:pt x="9540" y="3032"/>
                </a:cubicBezTo>
                <a:cubicBezTo>
                  <a:pt x="9540" y="3032"/>
                  <a:pt x="9549" y="2992"/>
                  <a:pt x="9544" y="2982"/>
                </a:cubicBezTo>
                <a:cubicBezTo>
                  <a:pt x="9540" y="2972"/>
                  <a:pt x="9524" y="2975"/>
                  <a:pt x="9524" y="2975"/>
                </a:cubicBezTo>
                <a:cubicBezTo>
                  <a:pt x="9524" y="2975"/>
                  <a:pt x="9502" y="2935"/>
                  <a:pt x="9487" y="2922"/>
                </a:cubicBezTo>
                <a:cubicBezTo>
                  <a:pt x="9472" y="2909"/>
                  <a:pt x="9422" y="2900"/>
                  <a:pt x="9422" y="2900"/>
                </a:cubicBezTo>
                <a:cubicBezTo>
                  <a:pt x="9422" y="2900"/>
                  <a:pt x="9379" y="2886"/>
                  <a:pt x="9376" y="2871"/>
                </a:cubicBezTo>
                <a:cubicBezTo>
                  <a:pt x="9375" y="2866"/>
                  <a:pt x="9372" y="2861"/>
                  <a:pt x="9369" y="2855"/>
                </a:cubicBezTo>
                <a:cubicBezTo>
                  <a:pt x="9364" y="2842"/>
                  <a:pt x="9357" y="2827"/>
                  <a:pt x="9359" y="2815"/>
                </a:cubicBezTo>
                <a:cubicBezTo>
                  <a:pt x="9362" y="2798"/>
                  <a:pt x="9367" y="2770"/>
                  <a:pt x="9360" y="2767"/>
                </a:cubicBezTo>
                <a:cubicBezTo>
                  <a:pt x="9352" y="2764"/>
                  <a:pt x="9331" y="2815"/>
                  <a:pt x="9331" y="2815"/>
                </a:cubicBezTo>
                <a:cubicBezTo>
                  <a:pt x="9331" y="2815"/>
                  <a:pt x="9317" y="2817"/>
                  <a:pt x="9311" y="2825"/>
                </a:cubicBezTo>
                <a:cubicBezTo>
                  <a:pt x="9306" y="2834"/>
                  <a:pt x="9276" y="2866"/>
                  <a:pt x="9276" y="2866"/>
                </a:cubicBezTo>
                <a:cubicBezTo>
                  <a:pt x="9276" y="2866"/>
                  <a:pt x="9276" y="2894"/>
                  <a:pt x="9267" y="2895"/>
                </a:cubicBezTo>
                <a:cubicBezTo>
                  <a:pt x="9258" y="2896"/>
                  <a:pt x="9214" y="2891"/>
                  <a:pt x="9207" y="2891"/>
                </a:cubicBezTo>
                <a:cubicBezTo>
                  <a:pt x="9201" y="2891"/>
                  <a:pt x="9170" y="2908"/>
                  <a:pt x="9161" y="2904"/>
                </a:cubicBezTo>
                <a:cubicBezTo>
                  <a:pt x="9156" y="2902"/>
                  <a:pt x="9150" y="2896"/>
                  <a:pt x="9146" y="2891"/>
                </a:cubicBezTo>
                <a:cubicBezTo>
                  <a:pt x="9146" y="2891"/>
                  <a:pt x="9146" y="2891"/>
                  <a:pt x="9146" y="2891"/>
                </a:cubicBezTo>
                <a:cubicBezTo>
                  <a:pt x="9142" y="2886"/>
                  <a:pt x="9139" y="2880"/>
                  <a:pt x="9140" y="2876"/>
                </a:cubicBezTo>
                <a:cubicBezTo>
                  <a:pt x="9140" y="2876"/>
                  <a:pt x="9140" y="2875"/>
                  <a:pt x="9140" y="2875"/>
                </a:cubicBezTo>
                <a:cubicBezTo>
                  <a:pt x="9145" y="2866"/>
                  <a:pt x="9159" y="2836"/>
                  <a:pt x="9157" y="2815"/>
                </a:cubicBezTo>
                <a:cubicBezTo>
                  <a:pt x="9155" y="2794"/>
                  <a:pt x="9141" y="2780"/>
                  <a:pt x="9132" y="2783"/>
                </a:cubicBezTo>
                <a:cubicBezTo>
                  <a:pt x="9122" y="2786"/>
                  <a:pt x="9120" y="2812"/>
                  <a:pt x="9119" y="2827"/>
                </a:cubicBezTo>
                <a:cubicBezTo>
                  <a:pt x="9119" y="2842"/>
                  <a:pt x="9119" y="2863"/>
                  <a:pt x="9111" y="2864"/>
                </a:cubicBezTo>
                <a:cubicBezTo>
                  <a:pt x="9111" y="2864"/>
                  <a:pt x="9111" y="2864"/>
                  <a:pt x="9110" y="2863"/>
                </a:cubicBezTo>
                <a:cubicBezTo>
                  <a:pt x="9103" y="2861"/>
                  <a:pt x="9096" y="2822"/>
                  <a:pt x="9090" y="2817"/>
                </a:cubicBezTo>
                <a:cubicBezTo>
                  <a:pt x="9084" y="2812"/>
                  <a:pt x="9068" y="2809"/>
                  <a:pt x="9065" y="2795"/>
                </a:cubicBezTo>
                <a:cubicBezTo>
                  <a:pt x="9061" y="2781"/>
                  <a:pt x="9066" y="2759"/>
                  <a:pt x="9053" y="2749"/>
                </a:cubicBezTo>
                <a:cubicBezTo>
                  <a:pt x="9039" y="2738"/>
                  <a:pt x="9021" y="2740"/>
                  <a:pt x="9015" y="2728"/>
                </a:cubicBezTo>
                <a:cubicBezTo>
                  <a:pt x="9009" y="2715"/>
                  <a:pt x="9016" y="2702"/>
                  <a:pt x="9010" y="2698"/>
                </a:cubicBezTo>
                <a:cubicBezTo>
                  <a:pt x="9004" y="2694"/>
                  <a:pt x="8992" y="2681"/>
                  <a:pt x="8992" y="2681"/>
                </a:cubicBezTo>
                <a:cubicBezTo>
                  <a:pt x="8991" y="2664"/>
                  <a:pt x="8991" y="2664"/>
                  <a:pt x="8991" y="2664"/>
                </a:cubicBezTo>
                <a:cubicBezTo>
                  <a:pt x="8991" y="2664"/>
                  <a:pt x="8988" y="2661"/>
                  <a:pt x="8983" y="2658"/>
                </a:cubicBezTo>
                <a:cubicBezTo>
                  <a:pt x="8973" y="2650"/>
                  <a:pt x="8957" y="2636"/>
                  <a:pt x="8958" y="2625"/>
                </a:cubicBezTo>
                <a:cubicBezTo>
                  <a:pt x="8958" y="2625"/>
                  <a:pt x="8958" y="2625"/>
                  <a:pt x="8958" y="2624"/>
                </a:cubicBezTo>
                <a:cubicBezTo>
                  <a:pt x="8950" y="2619"/>
                  <a:pt x="8950" y="2619"/>
                  <a:pt x="8950" y="2619"/>
                </a:cubicBezTo>
                <a:cubicBezTo>
                  <a:pt x="8949" y="2605"/>
                  <a:pt x="8949" y="2605"/>
                  <a:pt x="8949" y="2605"/>
                </a:cubicBezTo>
                <a:cubicBezTo>
                  <a:pt x="8949" y="2605"/>
                  <a:pt x="8963" y="2603"/>
                  <a:pt x="8967" y="2603"/>
                </a:cubicBezTo>
                <a:cubicBezTo>
                  <a:pt x="8971" y="2603"/>
                  <a:pt x="8971" y="2594"/>
                  <a:pt x="8971" y="2594"/>
                </a:cubicBezTo>
                <a:cubicBezTo>
                  <a:pt x="8971" y="2594"/>
                  <a:pt x="8971" y="2586"/>
                  <a:pt x="8962" y="2586"/>
                </a:cubicBezTo>
                <a:cubicBezTo>
                  <a:pt x="8953" y="2586"/>
                  <a:pt x="8953" y="2591"/>
                  <a:pt x="8953" y="2591"/>
                </a:cubicBezTo>
                <a:cubicBezTo>
                  <a:pt x="8949" y="2578"/>
                  <a:pt x="8949" y="2578"/>
                  <a:pt x="8949" y="2578"/>
                </a:cubicBezTo>
                <a:cubicBezTo>
                  <a:pt x="8951" y="2583"/>
                  <a:pt x="8951" y="2583"/>
                  <a:pt x="8951" y="2583"/>
                </a:cubicBezTo>
                <a:cubicBezTo>
                  <a:pt x="8969" y="2577"/>
                  <a:pt x="8969" y="2577"/>
                  <a:pt x="8969" y="2577"/>
                </a:cubicBezTo>
                <a:cubicBezTo>
                  <a:pt x="8972" y="2572"/>
                  <a:pt x="8972" y="2572"/>
                  <a:pt x="8972" y="2572"/>
                </a:cubicBezTo>
                <a:cubicBezTo>
                  <a:pt x="8972" y="2572"/>
                  <a:pt x="8972" y="2572"/>
                  <a:pt x="8972" y="2572"/>
                </a:cubicBezTo>
                <a:cubicBezTo>
                  <a:pt x="8979" y="2579"/>
                  <a:pt x="8990" y="2584"/>
                  <a:pt x="8995" y="2581"/>
                </a:cubicBezTo>
                <a:cubicBezTo>
                  <a:pt x="9002" y="2576"/>
                  <a:pt x="8980" y="2565"/>
                  <a:pt x="8996" y="2558"/>
                </a:cubicBezTo>
                <a:cubicBezTo>
                  <a:pt x="9012" y="2551"/>
                  <a:pt x="9011" y="2569"/>
                  <a:pt x="9011" y="2569"/>
                </a:cubicBezTo>
                <a:cubicBezTo>
                  <a:pt x="9018" y="2575"/>
                  <a:pt x="9018" y="2575"/>
                  <a:pt x="9018" y="2575"/>
                </a:cubicBezTo>
                <a:cubicBezTo>
                  <a:pt x="9019" y="2574"/>
                  <a:pt x="9021" y="2574"/>
                  <a:pt x="9024" y="2575"/>
                </a:cubicBezTo>
                <a:cubicBezTo>
                  <a:pt x="9026" y="2576"/>
                  <a:pt x="9027" y="2576"/>
                  <a:pt x="9029" y="2577"/>
                </a:cubicBezTo>
                <a:cubicBezTo>
                  <a:pt x="9030" y="2576"/>
                  <a:pt x="9031" y="2574"/>
                  <a:pt x="9031" y="2573"/>
                </a:cubicBezTo>
                <a:cubicBezTo>
                  <a:pt x="9032" y="2569"/>
                  <a:pt x="9043" y="2566"/>
                  <a:pt x="9046" y="2568"/>
                </a:cubicBezTo>
                <a:cubicBezTo>
                  <a:pt x="9049" y="2570"/>
                  <a:pt x="9044" y="2591"/>
                  <a:pt x="9051" y="2594"/>
                </a:cubicBezTo>
                <a:cubicBezTo>
                  <a:pt x="9058" y="2597"/>
                  <a:pt x="9073" y="2608"/>
                  <a:pt x="9073" y="2608"/>
                </a:cubicBezTo>
                <a:cubicBezTo>
                  <a:pt x="9073" y="2608"/>
                  <a:pt x="9071" y="2613"/>
                  <a:pt x="9071" y="2618"/>
                </a:cubicBezTo>
                <a:cubicBezTo>
                  <a:pt x="9076" y="2624"/>
                  <a:pt x="9081" y="2630"/>
                  <a:pt x="9084" y="2636"/>
                </a:cubicBezTo>
                <a:cubicBezTo>
                  <a:pt x="9084" y="2636"/>
                  <a:pt x="9084" y="2636"/>
                  <a:pt x="9084" y="2636"/>
                </a:cubicBezTo>
                <a:cubicBezTo>
                  <a:pt x="9088" y="2638"/>
                  <a:pt x="9091" y="2640"/>
                  <a:pt x="9091" y="2640"/>
                </a:cubicBezTo>
                <a:cubicBezTo>
                  <a:pt x="9100" y="2653"/>
                  <a:pt x="9100" y="2653"/>
                  <a:pt x="9100" y="2653"/>
                </a:cubicBezTo>
                <a:cubicBezTo>
                  <a:pt x="9100" y="2653"/>
                  <a:pt x="9102" y="2677"/>
                  <a:pt x="9112" y="2679"/>
                </a:cubicBezTo>
                <a:cubicBezTo>
                  <a:pt x="9122" y="2681"/>
                  <a:pt x="9122" y="2697"/>
                  <a:pt x="9122" y="2697"/>
                </a:cubicBezTo>
                <a:cubicBezTo>
                  <a:pt x="9144" y="2697"/>
                  <a:pt x="9144" y="2697"/>
                  <a:pt x="9144" y="2697"/>
                </a:cubicBezTo>
                <a:cubicBezTo>
                  <a:pt x="9156" y="2709"/>
                  <a:pt x="9156" y="2709"/>
                  <a:pt x="9156" y="2709"/>
                </a:cubicBezTo>
                <a:cubicBezTo>
                  <a:pt x="9164" y="2707"/>
                  <a:pt x="9171" y="2705"/>
                  <a:pt x="9178" y="2709"/>
                </a:cubicBezTo>
                <a:cubicBezTo>
                  <a:pt x="9188" y="2714"/>
                  <a:pt x="9217" y="2739"/>
                  <a:pt x="9239" y="2756"/>
                </a:cubicBezTo>
                <a:cubicBezTo>
                  <a:pt x="9240" y="2757"/>
                  <a:pt x="9241" y="2757"/>
                  <a:pt x="9242" y="2757"/>
                </a:cubicBezTo>
                <a:cubicBezTo>
                  <a:pt x="9248" y="2757"/>
                  <a:pt x="9259" y="2759"/>
                  <a:pt x="9259" y="2759"/>
                </a:cubicBezTo>
                <a:cubicBezTo>
                  <a:pt x="9259" y="2759"/>
                  <a:pt x="9262" y="2773"/>
                  <a:pt x="9278" y="2768"/>
                </a:cubicBezTo>
                <a:cubicBezTo>
                  <a:pt x="9294" y="2763"/>
                  <a:pt x="9297" y="2756"/>
                  <a:pt x="9297" y="2756"/>
                </a:cubicBezTo>
                <a:cubicBezTo>
                  <a:pt x="9313" y="2758"/>
                  <a:pt x="9313" y="2758"/>
                  <a:pt x="9313" y="2758"/>
                </a:cubicBezTo>
                <a:cubicBezTo>
                  <a:pt x="9319" y="2744"/>
                  <a:pt x="9319" y="2744"/>
                  <a:pt x="9319" y="2744"/>
                </a:cubicBezTo>
                <a:cubicBezTo>
                  <a:pt x="9333" y="2742"/>
                  <a:pt x="9333" y="2742"/>
                  <a:pt x="9333" y="2742"/>
                </a:cubicBezTo>
                <a:cubicBezTo>
                  <a:pt x="9349" y="2727"/>
                  <a:pt x="9349" y="2727"/>
                  <a:pt x="9349" y="2727"/>
                </a:cubicBezTo>
                <a:cubicBezTo>
                  <a:pt x="9354" y="2735"/>
                  <a:pt x="9354" y="2735"/>
                  <a:pt x="9354" y="2735"/>
                </a:cubicBezTo>
                <a:cubicBezTo>
                  <a:pt x="9362" y="2733"/>
                  <a:pt x="9369" y="2732"/>
                  <a:pt x="9372" y="2736"/>
                </a:cubicBezTo>
                <a:cubicBezTo>
                  <a:pt x="9385" y="2747"/>
                  <a:pt x="9399" y="2770"/>
                  <a:pt x="9401" y="2788"/>
                </a:cubicBezTo>
                <a:cubicBezTo>
                  <a:pt x="9403" y="2807"/>
                  <a:pt x="9431" y="2805"/>
                  <a:pt x="9431" y="2805"/>
                </a:cubicBezTo>
                <a:cubicBezTo>
                  <a:pt x="9431" y="2805"/>
                  <a:pt x="9430" y="2812"/>
                  <a:pt x="9443" y="2815"/>
                </a:cubicBezTo>
                <a:cubicBezTo>
                  <a:pt x="9456" y="2818"/>
                  <a:pt x="9487" y="2814"/>
                  <a:pt x="9487" y="2814"/>
                </a:cubicBezTo>
                <a:cubicBezTo>
                  <a:pt x="9487" y="2814"/>
                  <a:pt x="9513" y="2834"/>
                  <a:pt x="9518" y="2834"/>
                </a:cubicBezTo>
                <a:cubicBezTo>
                  <a:pt x="9523" y="2834"/>
                  <a:pt x="9541" y="2825"/>
                  <a:pt x="9541" y="2825"/>
                </a:cubicBezTo>
                <a:cubicBezTo>
                  <a:pt x="9541" y="2825"/>
                  <a:pt x="9567" y="2841"/>
                  <a:pt x="9585" y="2842"/>
                </a:cubicBezTo>
                <a:cubicBezTo>
                  <a:pt x="9591" y="2842"/>
                  <a:pt x="9597" y="2841"/>
                  <a:pt x="9602" y="2839"/>
                </a:cubicBezTo>
                <a:cubicBezTo>
                  <a:pt x="9603" y="2839"/>
                  <a:pt x="9603" y="2839"/>
                  <a:pt x="9603" y="2839"/>
                </a:cubicBezTo>
                <a:cubicBezTo>
                  <a:pt x="9613" y="2835"/>
                  <a:pt x="9621" y="2830"/>
                  <a:pt x="9621" y="2830"/>
                </a:cubicBezTo>
                <a:cubicBezTo>
                  <a:pt x="9621" y="2830"/>
                  <a:pt x="9643" y="2837"/>
                  <a:pt x="9653" y="2837"/>
                </a:cubicBezTo>
                <a:cubicBezTo>
                  <a:pt x="9663" y="2838"/>
                  <a:pt x="9692" y="2822"/>
                  <a:pt x="9692" y="2822"/>
                </a:cubicBezTo>
                <a:cubicBezTo>
                  <a:pt x="9692" y="2822"/>
                  <a:pt x="9708" y="2830"/>
                  <a:pt x="9718" y="2828"/>
                </a:cubicBezTo>
                <a:cubicBezTo>
                  <a:pt x="9729" y="2826"/>
                  <a:pt x="9751" y="2817"/>
                  <a:pt x="9751" y="2817"/>
                </a:cubicBezTo>
                <a:cubicBezTo>
                  <a:pt x="9777" y="2824"/>
                  <a:pt x="9777" y="2824"/>
                  <a:pt x="9777" y="2824"/>
                </a:cubicBezTo>
                <a:cubicBezTo>
                  <a:pt x="9777" y="2824"/>
                  <a:pt x="9792" y="2803"/>
                  <a:pt x="9810" y="2815"/>
                </a:cubicBezTo>
                <a:cubicBezTo>
                  <a:pt x="9827" y="2826"/>
                  <a:pt x="9828" y="2861"/>
                  <a:pt x="9842" y="2864"/>
                </a:cubicBezTo>
                <a:cubicBezTo>
                  <a:pt x="9856" y="2867"/>
                  <a:pt x="9882" y="2867"/>
                  <a:pt x="9891" y="2876"/>
                </a:cubicBezTo>
                <a:cubicBezTo>
                  <a:pt x="9901" y="2885"/>
                  <a:pt x="9902" y="2906"/>
                  <a:pt x="9913" y="2907"/>
                </a:cubicBezTo>
                <a:cubicBezTo>
                  <a:pt x="9916" y="2907"/>
                  <a:pt x="9920" y="2907"/>
                  <a:pt x="9924" y="2907"/>
                </a:cubicBezTo>
                <a:cubicBezTo>
                  <a:pt x="9935" y="2908"/>
                  <a:pt x="9947" y="2908"/>
                  <a:pt x="9947" y="2908"/>
                </a:cubicBezTo>
                <a:cubicBezTo>
                  <a:pt x="9947" y="2908"/>
                  <a:pt x="9937" y="2932"/>
                  <a:pt x="9950" y="2941"/>
                </a:cubicBezTo>
                <a:cubicBezTo>
                  <a:pt x="9962" y="2951"/>
                  <a:pt x="9995" y="2954"/>
                  <a:pt x="10002" y="2952"/>
                </a:cubicBezTo>
                <a:cubicBezTo>
                  <a:pt x="10008" y="2950"/>
                  <a:pt x="10032" y="2933"/>
                  <a:pt x="10032" y="2933"/>
                </a:cubicBezTo>
                <a:cubicBezTo>
                  <a:pt x="10032" y="2933"/>
                  <a:pt x="10042" y="2945"/>
                  <a:pt x="10030" y="2956"/>
                </a:cubicBezTo>
                <a:cubicBezTo>
                  <a:pt x="10018" y="2967"/>
                  <a:pt x="9994" y="2974"/>
                  <a:pt x="9994" y="2974"/>
                </a:cubicBezTo>
                <a:cubicBezTo>
                  <a:pt x="9994" y="2974"/>
                  <a:pt x="9956" y="2979"/>
                  <a:pt x="9954" y="2990"/>
                </a:cubicBezTo>
                <a:cubicBezTo>
                  <a:pt x="9952" y="3001"/>
                  <a:pt x="9982" y="3025"/>
                  <a:pt x="9994" y="3034"/>
                </a:cubicBezTo>
                <a:cubicBezTo>
                  <a:pt x="10007" y="3043"/>
                  <a:pt x="10030" y="3071"/>
                  <a:pt x="10060" y="3073"/>
                </a:cubicBezTo>
                <a:cubicBezTo>
                  <a:pt x="10091" y="3076"/>
                  <a:pt x="10129" y="3049"/>
                  <a:pt x="10125" y="3030"/>
                </a:cubicBezTo>
                <a:cubicBezTo>
                  <a:pt x="10121" y="3012"/>
                  <a:pt x="10131" y="2997"/>
                  <a:pt x="10141" y="2988"/>
                </a:cubicBezTo>
                <a:cubicBezTo>
                  <a:pt x="10150" y="2978"/>
                  <a:pt x="10172" y="2973"/>
                  <a:pt x="10162" y="2990"/>
                </a:cubicBezTo>
                <a:cubicBezTo>
                  <a:pt x="10153" y="3007"/>
                  <a:pt x="10130" y="3022"/>
                  <a:pt x="10137" y="3036"/>
                </a:cubicBezTo>
                <a:cubicBezTo>
                  <a:pt x="10144" y="3050"/>
                  <a:pt x="10162" y="3048"/>
                  <a:pt x="10162" y="3063"/>
                </a:cubicBezTo>
                <a:cubicBezTo>
                  <a:pt x="10161" y="3077"/>
                  <a:pt x="10157" y="3093"/>
                  <a:pt x="10151" y="3116"/>
                </a:cubicBezTo>
                <a:cubicBezTo>
                  <a:pt x="10144" y="3140"/>
                  <a:pt x="10144" y="3162"/>
                  <a:pt x="10151" y="3191"/>
                </a:cubicBezTo>
                <a:cubicBezTo>
                  <a:pt x="10159" y="3219"/>
                  <a:pt x="10171" y="3269"/>
                  <a:pt x="10182" y="3284"/>
                </a:cubicBezTo>
                <a:cubicBezTo>
                  <a:pt x="10193" y="3300"/>
                  <a:pt x="10196" y="3294"/>
                  <a:pt x="10191" y="3317"/>
                </a:cubicBezTo>
                <a:cubicBezTo>
                  <a:pt x="10186" y="3340"/>
                  <a:pt x="10223" y="3347"/>
                  <a:pt x="10223" y="3347"/>
                </a:cubicBezTo>
                <a:cubicBezTo>
                  <a:pt x="10223" y="3347"/>
                  <a:pt x="10228" y="3379"/>
                  <a:pt x="10236" y="3390"/>
                </a:cubicBezTo>
                <a:cubicBezTo>
                  <a:pt x="10245" y="3402"/>
                  <a:pt x="10263" y="3411"/>
                  <a:pt x="10263" y="3411"/>
                </a:cubicBezTo>
                <a:cubicBezTo>
                  <a:pt x="10263" y="3411"/>
                  <a:pt x="10268" y="3477"/>
                  <a:pt x="10278" y="3507"/>
                </a:cubicBezTo>
                <a:cubicBezTo>
                  <a:pt x="10289" y="3537"/>
                  <a:pt x="10326" y="3578"/>
                  <a:pt x="10331" y="3590"/>
                </a:cubicBezTo>
                <a:cubicBezTo>
                  <a:pt x="10336" y="3603"/>
                  <a:pt x="10338" y="3629"/>
                  <a:pt x="10337" y="3641"/>
                </a:cubicBezTo>
                <a:cubicBezTo>
                  <a:pt x="10335" y="3653"/>
                  <a:pt x="10403" y="3757"/>
                  <a:pt x="10403" y="3757"/>
                </a:cubicBezTo>
                <a:cubicBezTo>
                  <a:pt x="10403" y="3757"/>
                  <a:pt x="10436" y="3748"/>
                  <a:pt x="10442" y="3739"/>
                </a:cubicBezTo>
                <a:cubicBezTo>
                  <a:pt x="10447" y="3729"/>
                  <a:pt x="10439" y="3707"/>
                  <a:pt x="10450" y="3700"/>
                </a:cubicBezTo>
                <a:cubicBezTo>
                  <a:pt x="10460" y="3693"/>
                  <a:pt x="10464" y="3701"/>
                  <a:pt x="10474" y="3698"/>
                </a:cubicBezTo>
                <a:cubicBezTo>
                  <a:pt x="10485" y="3695"/>
                  <a:pt x="10502" y="3682"/>
                  <a:pt x="10502" y="3682"/>
                </a:cubicBezTo>
                <a:cubicBezTo>
                  <a:pt x="10502" y="3682"/>
                  <a:pt x="10487" y="3686"/>
                  <a:pt x="10490" y="3669"/>
                </a:cubicBezTo>
                <a:cubicBezTo>
                  <a:pt x="10492" y="3652"/>
                  <a:pt x="10499" y="3649"/>
                  <a:pt x="10511" y="3643"/>
                </a:cubicBezTo>
                <a:cubicBezTo>
                  <a:pt x="10523" y="3637"/>
                  <a:pt x="10537" y="3634"/>
                  <a:pt x="10537" y="3626"/>
                </a:cubicBezTo>
                <a:cubicBezTo>
                  <a:pt x="10538" y="3617"/>
                  <a:pt x="10525" y="3585"/>
                  <a:pt x="10525" y="3566"/>
                </a:cubicBezTo>
                <a:cubicBezTo>
                  <a:pt x="10524" y="3548"/>
                  <a:pt x="10523" y="3519"/>
                  <a:pt x="10529" y="3516"/>
                </a:cubicBezTo>
                <a:cubicBezTo>
                  <a:pt x="10536" y="3512"/>
                  <a:pt x="10533" y="3504"/>
                  <a:pt x="10534" y="3472"/>
                </a:cubicBezTo>
                <a:cubicBezTo>
                  <a:pt x="10536" y="3440"/>
                  <a:pt x="10516" y="3440"/>
                  <a:pt x="10514" y="3427"/>
                </a:cubicBezTo>
                <a:cubicBezTo>
                  <a:pt x="10512" y="3415"/>
                  <a:pt x="10522" y="3409"/>
                  <a:pt x="10523" y="3397"/>
                </a:cubicBezTo>
                <a:cubicBezTo>
                  <a:pt x="10525" y="3385"/>
                  <a:pt x="10518" y="3378"/>
                  <a:pt x="10518" y="3362"/>
                </a:cubicBezTo>
                <a:cubicBezTo>
                  <a:pt x="10519" y="3346"/>
                  <a:pt x="10555" y="3344"/>
                  <a:pt x="10555" y="3337"/>
                </a:cubicBezTo>
                <a:cubicBezTo>
                  <a:pt x="10555" y="3330"/>
                  <a:pt x="10555" y="3314"/>
                  <a:pt x="10562" y="3309"/>
                </a:cubicBezTo>
                <a:cubicBezTo>
                  <a:pt x="10570" y="3304"/>
                  <a:pt x="10584" y="3305"/>
                  <a:pt x="10584" y="3305"/>
                </a:cubicBezTo>
                <a:cubicBezTo>
                  <a:pt x="10587" y="3299"/>
                  <a:pt x="10587" y="3299"/>
                  <a:pt x="10587" y="3299"/>
                </a:cubicBezTo>
                <a:cubicBezTo>
                  <a:pt x="10587" y="3299"/>
                  <a:pt x="10610" y="3310"/>
                  <a:pt x="10612" y="3299"/>
                </a:cubicBezTo>
                <a:cubicBezTo>
                  <a:pt x="10614" y="3288"/>
                  <a:pt x="10633" y="3253"/>
                  <a:pt x="10639" y="3243"/>
                </a:cubicBezTo>
                <a:cubicBezTo>
                  <a:pt x="10646" y="3234"/>
                  <a:pt x="10668" y="3235"/>
                  <a:pt x="10675" y="3221"/>
                </a:cubicBezTo>
                <a:cubicBezTo>
                  <a:pt x="10682" y="3208"/>
                  <a:pt x="10693" y="3180"/>
                  <a:pt x="10703" y="3171"/>
                </a:cubicBezTo>
                <a:cubicBezTo>
                  <a:pt x="10712" y="3161"/>
                  <a:pt x="10751" y="3141"/>
                  <a:pt x="10751" y="3141"/>
                </a:cubicBezTo>
                <a:cubicBezTo>
                  <a:pt x="10744" y="3121"/>
                  <a:pt x="10744" y="3121"/>
                  <a:pt x="10744" y="3121"/>
                </a:cubicBezTo>
                <a:cubicBezTo>
                  <a:pt x="10750" y="3116"/>
                  <a:pt x="10750" y="3116"/>
                  <a:pt x="10750" y="3116"/>
                </a:cubicBezTo>
                <a:cubicBezTo>
                  <a:pt x="10763" y="3135"/>
                  <a:pt x="10763" y="3135"/>
                  <a:pt x="10763" y="3135"/>
                </a:cubicBezTo>
                <a:cubicBezTo>
                  <a:pt x="10804" y="3096"/>
                  <a:pt x="10804" y="3096"/>
                  <a:pt x="10804" y="3096"/>
                </a:cubicBezTo>
                <a:cubicBezTo>
                  <a:pt x="10811" y="3078"/>
                  <a:pt x="10811" y="3078"/>
                  <a:pt x="10811" y="3078"/>
                </a:cubicBezTo>
                <a:cubicBezTo>
                  <a:pt x="10811" y="3078"/>
                  <a:pt x="10797" y="3061"/>
                  <a:pt x="10797" y="3050"/>
                </a:cubicBezTo>
                <a:cubicBezTo>
                  <a:pt x="10798" y="3039"/>
                  <a:pt x="10821" y="3043"/>
                  <a:pt x="10833" y="3028"/>
                </a:cubicBezTo>
                <a:cubicBezTo>
                  <a:pt x="10845" y="3012"/>
                  <a:pt x="10841" y="2999"/>
                  <a:pt x="10841" y="2999"/>
                </a:cubicBezTo>
                <a:cubicBezTo>
                  <a:pt x="10852" y="3004"/>
                  <a:pt x="10852" y="3004"/>
                  <a:pt x="10852" y="3004"/>
                </a:cubicBezTo>
                <a:cubicBezTo>
                  <a:pt x="10858" y="3022"/>
                  <a:pt x="10858" y="3022"/>
                  <a:pt x="10858" y="3022"/>
                </a:cubicBezTo>
                <a:cubicBezTo>
                  <a:pt x="10866" y="2999"/>
                  <a:pt x="10866" y="2999"/>
                  <a:pt x="10866" y="2999"/>
                </a:cubicBezTo>
                <a:cubicBezTo>
                  <a:pt x="10866" y="2999"/>
                  <a:pt x="10874" y="3041"/>
                  <a:pt x="10881" y="3044"/>
                </a:cubicBezTo>
                <a:cubicBezTo>
                  <a:pt x="10889" y="3046"/>
                  <a:pt x="10892" y="3018"/>
                  <a:pt x="10892" y="3018"/>
                </a:cubicBezTo>
                <a:cubicBezTo>
                  <a:pt x="10909" y="3041"/>
                  <a:pt x="10909" y="3041"/>
                  <a:pt x="10909" y="3041"/>
                </a:cubicBezTo>
                <a:cubicBezTo>
                  <a:pt x="10911" y="3002"/>
                  <a:pt x="10911" y="3002"/>
                  <a:pt x="10911" y="3002"/>
                </a:cubicBezTo>
                <a:cubicBezTo>
                  <a:pt x="10911" y="3002"/>
                  <a:pt x="10953" y="3018"/>
                  <a:pt x="10961" y="3016"/>
                </a:cubicBezTo>
                <a:cubicBezTo>
                  <a:pt x="10969" y="3013"/>
                  <a:pt x="10953" y="2995"/>
                  <a:pt x="10962" y="2993"/>
                </a:cubicBezTo>
                <a:cubicBezTo>
                  <a:pt x="10971" y="2991"/>
                  <a:pt x="10988" y="3011"/>
                  <a:pt x="11001" y="3006"/>
                </a:cubicBezTo>
                <a:cubicBezTo>
                  <a:pt x="11014" y="3002"/>
                  <a:pt x="11009" y="2989"/>
                  <a:pt x="11009" y="2989"/>
                </a:cubicBezTo>
                <a:cubicBezTo>
                  <a:pt x="11001" y="2968"/>
                  <a:pt x="11001" y="2968"/>
                  <a:pt x="11001" y="2968"/>
                </a:cubicBezTo>
                <a:cubicBezTo>
                  <a:pt x="11032" y="3001"/>
                  <a:pt x="11032" y="3001"/>
                  <a:pt x="11032" y="3001"/>
                </a:cubicBezTo>
                <a:cubicBezTo>
                  <a:pt x="11032" y="3001"/>
                  <a:pt x="11020" y="3040"/>
                  <a:pt x="11029" y="3046"/>
                </a:cubicBezTo>
                <a:cubicBezTo>
                  <a:pt x="11032" y="3048"/>
                  <a:pt x="11037" y="3049"/>
                  <a:pt x="11041" y="3050"/>
                </a:cubicBezTo>
                <a:cubicBezTo>
                  <a:pt x="11041" y="3050"/>
                  <a:pt x="11041" y="3050"/>
                  <a:pt x="11041" y="3050"/>
                </a:cubicBezTo>
                <a:cubicBezTo>
                  <a:pt x="11046" y="3050"/>
                  <a:pt x="11050" y="3050"/>
                  <a:pt x="11050" y="3050"/>
                </a:cubicBezTo>
                <a:cubicBezTo>
                  <a:pt x="11050" y="3081"/>
                  <a:pt x="11050" y="3081"/>
                  <a:pt x="11050" y="3081"/>
                </a:cubicBezTo>
                <a:cubicBezTo>
                  <a:pt x="11050" y="3081"/>
                  <a:pt x="11073" y="3087"/>
                  <a:pt x="11082" y="3097"/>
                </a:cubicBezTo>
                <a:cubicBezTo>
                  <a:pt x="11092" y="3107"/>
                  <a:pt x="11100" y="3129"/>
                  <a:pt x="11100" y="3129"/>
                </a:cubicBezTo>
                <a:cubicBezTo>
                  <a:pt x="11122" y="3124"/>
                  <a:pt x="11122" y="3124"/>
                  <a:pt x="11122" y="3124"/>
                </a:cubicBezTo>
                <a:cubicBezTo>
                  <a:pt x="11108" y="3153"/>
                  <a:pt x="11108" y="3153"/>
                  <a:pt x="11108" y="3153"/>
                </a:cubicBezTo>
                <a:cubicBezTo>
                  <a:pt x="11108" y="3153"/>
                  <a:pt x="11139" y="3160"/>
                  <a:pt x="11151" y="3169"/>
                </a:cubicBezTo>
                <a:cubicBezTo>
                  <a:pt x="11163" y="3178"/>
                  <a:pt x="11171" y="3214"/>
                  <a:pt x="11173" y="3221"/>
                </a:cubicBezTo>
                <a:cubicBezTo>
                  <a:pt x="11175" y="3227"/>
                  <a:pt x="11189" y="3240"/>
                  <a:pt x="11189" y="3240"/>
                </a:cubicBezTo>
                <a:cubicBezTo>
                  <a:pt x="11178" y="3252"/>
                  <a:pt x="11178" y="3252"/>
                  <a:pt x="11178" y="3252"/>
                </a:cubicBezTo>
                <a:cubicBezTo>
                  <a:pt x="11186" y="3313"/>
                  <a:pt x="11186" y="3313"/>
                  <a:pt x="11186" y="3313"/>
                </a:cubicBezTo>
                <a:cubicBezTo>
                  <a:pt x="11175" y="3321"/>
                  <a:pt x="11175" y="3321"/>
                  <a:pt x="11175" y="3321"/>
                </a:cubicBezTo>
                <a:cubicBezTo>
                  <a:pt x="11175" y="3321"/>
                  <a:pt x="11181" y="3340"/>
                  <a:pt x="11190" y="3339"/>
                </a:cubicBezTo>
                <a:cubicBezTo>
                  <a:pt x="11199" y="3338"/>
                  <a:pt x="11209" y="3330"/>
                  <a:pt x="11209" y="3330"/>
                </a:cubicBezTo>
                <a:cubicBezTo>
                  <a:pt x="11209" y="3330"/>
                  <a:pt x="11213" y="3345"/>
                  <a:pt x="11224" y="3340"/>
                </a:cubicBezTo>
                <a:cubicBezTo>
                  <a:pt x="11236" y="3336"/>
                  <a:pt x="11247" y="3313"/>
                  <a:pt x="11247" y="3313"/>
                </a:cubicBezTo>
                <a:cubicBezTo>
                  <a:pt x="11247" y="3313"/>
                  <a:pt x="11269" y="3309"/>
                  <a:pt x="11281" y="3300"/>
                </a:cubicBezTo>
                <a:cubicBezTo>
                  <a:pt x="11293" y="3290"/>
                  <a:pt x="11279" y="3261"/>
                  <a:pt x="11286" y="3255"/>
                </a:cubicBezTo>
                <a:close/>
                <a:moveTo>
                  <a:pt x="8218" y="4658"/>
                </a:moveTo>
                <a:cubicBezTo>
                  <a:pt x="8216" y="4663"/>
                  <a:pt x="8213" y="4668"/>
                  <a:pt x="8210" y="4670"/>
                </a:cubicBezTo>
                <a:cubicBezTo>
                  <a:pt x="8202" y="4674"/>
                  <a:pt x="8201" y="4657"/>
                  <a:pt x="8201" y="4657"/>
                </a:cubicBezTo>
                <a:cubicBezTo>
                  <a:pt x="8201" y="4657"/>
                  <a:pt x="8193" y="4652"/>
                  <a:pt x="8182" y="4648"/>
                </a:cubicBezTo>
                <a:cubicBezTo>
                  <a:pt x="8175" y="4645"/>
                  <a:pt x="8180" y="4638"/>
                  <a:pt x="8184" y="4632"/>
                </a:cubicBezTo>
                <a:cubicBezTo>
                  <a:pt x="8187" y="4629"/>
                  <a:pt x="8189" y="4627"/>
                  <a:pt x="8189" y="4627"/>
                </a:cubicBezTo>
                <a:cubicBezTo>
                  <a:pt x="8189" y="4627"/>
                  <a:pt x="8182" y="4615"/>
                  <a:pt x="8177" y="4611"/>
                </a:cubicBezTo>
                <a:cubicBezTo>
                  <a:pt x="8173" y="4607"/>
                  <a:pt x="8176" y="4589"/>
                  <a:pt x="8176" y="4582"/>
                </a:cubicBezTo>
                <a:cubicBezTo>
                  <a:pt x="8176" y="4575"/>
                  <a:pt x="8164" y="4579"/>
                  <a:pt x="8161" y="4578"/>
                </a:cubicBezTo>
                <a:cubicBezTo>
                  <a:pt x="8158" y="4577"/>
                  <a:pt x="8155" y="4567"/>
                  <a:pt x="8155" y="4559"/>
                </a:cubicBezTo>
                <a:cubicBezTo>
                  <a:pt x="8155" y="4551"/>
                  <a:pt x="8146" y="4550"/>
                  <a:pt x="8139" y="4543"/>
                </a:cubicBezTo>
                <a:cubicBezTo>
                  <a:pt x="8132" y="4536"/>
                  <a:pt x="8130" y="4519"/>
                  <a:pt x="8131" y="4513"/>
                </a:cubicBezTo>
                <a:cubicBezTo>
                  <a:pt x="8132" y="4507"/>
                  <a:pt x="8137" y="4497"/>
                  <a:pt x="8137" y="4490"/>
                </a:cubicBezTo>
                <a:cubicBezTo>
                  <a:pt x="8137" y="4483"/>
                  <a:pt x="8127" y="4483"/>
                  <a:pt x="8123" y="4473"/>
                </a:cubicBezTo>
                <a:cubicBezTo>
                  <a:pt x="8119" y="4463"/>
                  <a:pt x="8123" y="4451"/>
                  <a:pt x="8124" y="4439"/>
                </a:cubicBezTo>
                <a:cubicBezTo>
                  <a:pt x="8125" y="4427"/>
                  <a:pt x="8126" y="4416"/>
                  <a:pt x="8129" y="4403"/>
                </a:cubicBezTo>
                <a:cubicBezTo>
                  <a:pt x="8131" y="4395"/>
                  <a:pt x="8137" y="4396"/>
                  <a:pt x="8141" y="4399"/>
                </a:cubicBezTo>
                <a:cubicBezTo>
                  <a:pt x="8141" y="4406"/>
                  <a:pt x="8142" y="4425"/>
                  <a:pt x="8147" y="4435"/>
                </a:cubicBezTo>
                <a:cubicBezTo>
                  <a:pt x="8148" y="4435"/>
                  <a:pt x="8150" y="4434"/>
                  <a:pt x="8152" y="4434"/>
                </a:cubicBezTo>
                <a:cubicBezTo>
                  <a:pt x="8152" y="4434"/>
                  <a:pt x="8151" y="4434"/>
                  <a:pt x="8151" y="4434"/>
                </a:cubicBezTo>
                <a:cubicBezTo>
                  <a:pt x="8149" y="4443"/>
                  <a:pt x="8149" y="4443"/>
                  <a:pt x="8149" y="4443"/>
                </a:cubicBezTo>
                <a:cubicBezTo>
                  <a:pt x="8149" y="4443"/>
                  <a:pt x="8155" y="4454"/>
                  <a:pt x="8158" y="4458"/>
                </a:cubicBezTo>
                <a:cubicBezTo>
                  <a:pt x="8161" y="4462"/>
                  <a:pt x="8157" y="4475"/>
                  <a:pt x="8157" y="4475"/>
                </a:cubicBezTo>
                <a:cubicBezTo>
                  <a:pt x="8157" y="4475"/>
                  <a:pt x="8168" y="4505"/>
                  <a:pt x="8164" y="4510"/>
                </a:cubicBezTo>
                <a:cubicBezTo>
                  <a:pt x="8160" y="4515"/>
                  <a:pt x="8157" y="4518"/>
                  <a:pt x="8158" y="4528"/>
                </a:cubicBezTo>
                <a:cubicBezTo>
                  <a:pt x="8159" y="4538"/>
                  <a:pt x="8167" y="4543"/>
                  <a:pt x="8173" y="4545"/>
                </a:cubicBezTo>
                <a:cubicBezTo>
                  <a:pt x="8179" y="4547"/>
                  <a:pt x="8196" y="4565"/>
                  <a:pt x="8200" y="4571"/>
                </a:cubicBezTo>
                <a:cubicBezTo>
                  <a:pt x="8204" y="4577"/>
                  <a:pt x="8200" y="4586"/>
                  <a:pt x="8198" y="4594"/>
                </a:cubicBezTo>
                <a:cubicBezTo>
                  <a:pt x="8196" y="4602"/>
                  <a:pt x="8205" y="4619"/>
                  <a:pt x="8205" y="4619"/>
                </a:cubicBezTo>
                <a:cubicBezTo>
                  <a:pt x="8223" y="4643"/>
                  <a:pt x="8223" y="4643"/>
                  <a:pt x="8223" y="4643"/>
                </a:cubicBezTo>
                <a:cubicBezTo>
                  <a:pt x="8223" y="4643"/>
                  <a:pt x="8221" y="4650"/>
                  <a:pt x="8218" y="4658"/>
                </a:cubicBezTo>
                <a:close/>
                <a:moveTo>
                  <a:pt x="8429" y="4817"/>
                </a:moveTo>
                <a:cubicBezTo>
                  <a:pt x="8429" y="4817"/>
                  <a:pt x="8429" y="4817"/>
                  <a:pt x="8428" y="4817"/>
                </a:cubicBezTo>
                <a:cubicBezTo>
                  <a:pt x="8429" y="4817"/>
                  <a:pt x="8429" y="4817"/>
                  <a:pt x="8429" y="4817"/>
                </a:cubicBezTo>
                <a:close/>
                <a:moveTo>
                  <a:pt x="8428" y="4817"/>
                </a:moveTo>
                <a:cubicBezTo>
                  <a:pt x="8425" y="4817"/>
                  <a:pt x="8417" y="4818"/>
                  <a:pt x="8408" y="4818"/>
                </a:cubicBezTo>
                <a:cubicBezTo>
                  <a:pt x="8417" y="4818"/>
                  <a:pt x="8425" y="4817"/>
                  <a:pt x="8428" y="4817"/>
                </a:cubicBezTo>
                <a:close/>
                <a:moveTo>
                  <a:pt x="8400" y="4818"/>
                </a:moveTo>
                <a:cubicBezTo>
                  <a:pt x="8400" y="4818"/>
                  <a:pt x="8400" y="4818"/>
                  <a:pt x="8399" y="4818"/>
                </a:cubicBezTo>
                <a:cubicBezTo>
                  <a:pt x="8398" y="4822"/>
                  <a:pt x="8398" y="4826"/>
                  <a:pt x="8398" y="4828"/>
                </a:cubicBezTo>
                <a:cubicBezTo>
                  <a:pt x="8398" y="4831"/>
                  <a:pt x="8395" y="4837"/>
                  <a:pt x="8386" y="4845"/>
                </a:cubicBezTo>
                <a:cubicBezTo>
                  <a:pt x="8377" y="4853"/>
                  <a:pt x="8387" y="4860"/>
                  <a:pt x="8391" y="4865"/>
                </a:cubicBezTo>
                <a:cubicBezTo>
                  <a:pt x="8395" y="4870"/>
                  <a:pt x="8395" y="4888"/>
                  <a:pt x="8390" y="4900"/>
                </a:cubicBezTo>
                <a:cubicBezTo>
                  <a:pt x="8387" y="4907"/>
                  <a:pt x="8387" y="4915"/>
                  <a:pt x="8388" y="4920"/>
                </a:cubicBezTo>
                <a:cubicBezTo>
                  <a:pt x="8388" y="4925"/>
                  <a:pt x="8390" y="4928"/>
                  <a:pt x="8392" y="4929"/>
                </a:cubicBezTo>
                <a:cubicBezTo>
                  <a:pt x="8397" y="4931"/>
                  <a:pt x="8401" y="4937"/>
                  <a:pt x="8401" y="4937"/>
                </a:cubicBezTo>
                <a:cubicBezTo>
                  <a:pt x="8401" y="4937"/>
                  <a:pt x="8406" y="4962"/>
                  <a:pt x="8400" y="4964"/>
                </a:cubicBezTo>
                <a:cubicBezTo>
                  <a:pt x="8394" y="4966"/>
                  <a:pt x="8392" y="4953"/>
                  <a:pt x="8392" y="4953"/>
                </a:cubicBezTo>
                <a:cubicBezTo>
                  <a:pt x="8392" y="4953"/>
                  <a:pt x="8380" y="4959"/>
                  <a:pt x="8377" y="4957"/>
                </a:cubicBezTo>
                <a:cubicBezTo>
                  <a:pt x="8374" y="4955"/>
                  <a:pt x="8374" y="4941"/>
                  <a:pt x="8373" y="4934"/>
                </a:cubicBezTo>
                <a:cubicBezTo>
                  <a:pt x="8372" y="4927"/>
                  <a:pt x="8370" y="4924"/>
                  <a:pt x="8368" y="4920"/>
                </a:cubicBezTo>
                <a:cubicBezTo>
                  <a:pt x="8366" y="4916"/>
                  <a:pt x="8368" y="4903"/>
                  <a:pt x="8368" y="4895"/>
                </a:cubicBezTo>
                <a:cubicBezTo>
                  <a:pt x="8368" y="4887"/>
                  <a:pt x="8363" y="4881"/>
                  <a:pt x="8351" y="4871"/>
                </a:cubicBezTo>
                <a:cubicBezTo>
                  <a:pt x="8339" y="4861"/>
                  <a:pt x="8348" y="4863"/>
                  <a:pt x="8346" y="4854"/>
                </a:cubicBezTo>
                <a:cubicBezTo>
                  <a:pt x="8344" y="4845"/>
                  <a:pt x="8354" y="4837"/>
                  <a:pt x="8364" y="4826"/>
                </a:cubicBezTo>
                <a:cubicBezTo>
                  <a:pt x="8374" y="4815"/>
                  <a:pt x="8370" y="4813"/>
                  <a:pt x="8371" y="4808"/>
                </a:cubicBezTo>
                <a:cubicBezTo>
                  <a:pt x="8372" y="4803"/>
                  <a:pt x="8368" y="4798"/>
                  <a:pt x="8368" y="4790"/>
                </a:cubicBezTo>
                <a:cubicBezTo>
                  <a:pt x="8368" y="4782"/>
                  <a:pt x="8366" y="4767"/>
                  <a:pt x="8365" y="4751"/>
                </a:cubicBezTo>
                <a:cubicBezTo>
                  <a:pt x="8364" y="4735"/>
                  <a:pt x="8362" y="4744"/>
                  <a:pt x="8351" y="4737"/>
                </a:cubicBezTo>
                <a:cubicBezTo>
                  <a:pt x="8340" y="4730"/>
                  <a:pt x="8348" y="4721"/>
                  <a:pt x="8347" y="4710"/>
                </a:cubicBezTo>
                <a:cubicBezTo>
                  <a:pt x="8347" y="4710"/>
                  <a:pt x="8351" y="4697"/>
                  <a:pt x="8361" y="4702"/>
                </a:cubicBezTo>
                <a:cubicBezTo>
                  <a:pt x="8371" y="4707"/>
                  <a:pt x="8379" y="4728"/>
                  <a:pt x="8379" y="4728"/>
                </a:cubicBezTo>
                <a:cubicBezTo>
                  <a:pt x="8381" y="4763"/>
                  <a:pt x="8381" y="4763"/>
                  <a:pt x="8381" y="4763"/>
                </a:cubicBezTo>
                <a:cubicBezTo>
                  <a:pt x="8381" y="4763"/>
                  <a:pt x="8386" y="4764"/>
                  <a:pt x="8386" y="4771"/>
                </a:cubicBezTo>
                <a:cubicBezTo>
                  <a:pt x="8386" y="4778"/>
                  <a:pt x="8383" y="4780"/>
                  <a:pt x="8380" y="4788"/>
                </a:cubicBezTo>
                <a:cubicBezTo>
                  <a:pt x="8377" y="4796"/>
                  <a:pt x="8399" y="4806"/>
                  <a:pt x="8399" y="4806"/>
                </a:cubicBezTo>
                <a:cubicBezTo>
                  <a:pt x="8398" y="4818"/>
                  <a:pt x="8398" y="4818"/>
                  <a:pt x="8398" y="4818"/>
                </a:cubicBezTo>
                <a:cubicBezTo>
                  <a:pt x="8399" y="4818"/>
                  <a:pt x="8399" y="4818"/>
                  <a:pt x="8400" y="4818"/>
                </a:cubicBezTo>
                <a:close/>
                <a:moveTo>
                  <a:pt x="8250" y="4289"/>
                </a:moveTo>
                <a:cubicBezTo>
                  <a:pt x="8252" y="4275"/>
                  <a:pt x="8260" y="4257"/>
                  <a:pt x="8261" y="4251"/>
                </a:cubicBezTo>
                <a:cubicBezTo>
                  <a:pt x="8261" y="4250"/>
                  <a:pt x="8261" y="4250"/>
                  <a:pt x="8261" y="4249"/>
                </a:cubicBezTo>
                <a:cubicBezTo>
                  <a:pt x="8261" y="4244"/>
                  <a:pt x="8255" y="4238"/>
                  <a:pt x="8253" y="4232"/>
                </a:cubicBezTo>
                <a:cubicBezTo>
                  <a:pt x="8251" y="4225"/>
                  <a:pt x="8258" y="4217"/>
                  <a:pt x="8262" y="4213"/>
                </a:cubicBezTo>
                <a:cubicBezTo>
                  <a:pt x="8266" y="4209"/>
                  <a:pt x="8260" y="4197"/>
                  <a:pt x="8269" y="4190"/>
                </a:cubicBezTo>
                <a:cubicBezTo>
                  <a:pt x="8278" y="4183"/>
                  <a:pt x="8308" y="4185"/>
                  <a:pt x="8311" y="4183"/>
                </a:cubicBezTo>
                <a:cubicBezTo>
                  <a:pt x="8314" y="4181"/>
                  <a:pt x="8321" y="4169"/>
                  <a:pt x="8327" y="4169"/>
                </a:cubicBezTo>
                <a:cubicBezTo>
                  <a:pt x="8333" y="4169"/>
                  <a:pt x="8333" y="4186"/>
                  <a:pt x="8333" y="4186"/>
                </a:cubicBezTo>
                <a:cubicBezTo>
                  <a:pt x="8333" y="4186"/>
                  <a:pt x="8340" y="4179"/>
                  <a:pt x="8351" y="4182"/>
                </a:cubicBezTo>
                <a:cubicBezTo>
                  <a:pt x="8353" y="4182"/>
                  <a:pt x="8355" y="4183"/>
                  <a:pt x="8358" y="4184"/>
                </a:cubicBezTo>
                <a:cubicBezTo>
                  <a:pt x="8358" y="4185"/>
                  <a:pt x="8358" y="4185"/>
                  <a:pt x="8358" y="4186"/>
                </a:cubicBezTo>
                <a:cubicBezTo>
                  <a:pt x="8358" y="4197"/>
                  <a:pt x="8367" y="4207"/>
                  <a:pt x="8374" y="4208"/>
                </a:cubicBezTo>
                <a:cubicBezTo>
                  <a:pt x="8381" y="4209"/>
                  <a:pt x="8381" y="4200"/>
                  <a:pt x="8381" y="4200"/>
                </a:cubicBezTo>
                <a:cubicBezTo>
                  <a:pt x="8395" y="4199"/>
                  <a:pt x="8395" y="4199"/>
                  <a:pt x="8395" y="4199"/>
                </a:cubicBezTo>
                <a:cubicBezTo>
                  <a:pt x="8398" y="4211"/>
                  <a:pt x="8398" y="4211"/>
                  <a:pt x="8398" y="4211"/>
                </a:cubicBezTo>
                <a:cubicBezTo>
                  <a:pt x="8389" y="4213"/>
                  <a:pt x="8389" y="4213"/>
                  <a:pt x="8389" y="4213"/>
                </a:cubicBezTo>
                <a:cubicBezTo>
                  <a:pt x="8379" y="4221"/>
                  <a:pt x="8379" y="4221"/>
                  <a:pt x="8379" y="4221"/>
                </a:cubicBezTo>
                <a:cubicBezTo>
                  <a:pt x="8379" y="4221"/>
                  <a:pt x="8374" y="4211"/>
                  <a:pt x="8365" y="4221"/>
                </a:cubicBezTo>
                <a:cubicBezTo>
                  <a:pt x="8356" y="4231"/>
                  <a:pt x="8369" y="4240"/>
                  <a:pt x="8369" y="4240"/>
                </a:cubicBezTo>
                <a:cubicBezTo>
                  <a:pt x="8366" y="4249"/>
                  <a:pt x="8366" y="4249"/>
                  <a:pt x="8366" y="4249"/>
                </a:cubicBezTo>
                <a:cubicBezTo>
                  <a:pt x="8360" y="4249"/>
                  <a:pt x="8355" y="4249"/>
                  <a:pt x="8355" y="4250"/>
                </a:cubicBezTo>
                <a:cubicBezTo>
                  <a:pt x="8355" y="4250"/>
                  <a:pt x="8355" y="4250"/>
                  <a:pt x="8355" y="4250"/>
                </a:cubicBezTo>
                <a:cubicBezTo>
                  <a:pt x="8355" y="4259"/>
                  <a:pt x="8358" y="4273"/>
                  <a:pt x="8358" y="4273"/>
                </a:cubicBezTo>
                <a:cubicBezTo>
                  <a:pt x="8343" y="4280"/>
                  <a:pt x="8343" y="4280"/>
                  <a:pt x="8343" y="4280"/>
                </a:cubicBezTo>
                <a:cubicBezTo>
                  <a:pt x="8343" y="4280"/>
                  <a:pt x="8330" y="4289"/>
                  <a:pt x="8325" y="4304"/>
                </a:cubicBezTo>
                <a:cubicBezTo>
                  <a:pt x="8320" y="4319"/>
                  <a:pt x="8355" y="4308"/>
                  <a:pt x="8355" y="4308"/>
                </a:cubicBezTo>
                <a:cubicBezTo>
                  <a:pt x="8355" y="4308"/>
                  <a:pt x="8336" y="4324"/>
                  <a:pt x="8330" y="4327"/>
                </a:cubicBezTo>
                <a:cubicBezTo>
                  <a:pt x="8324" y="4330"/>
                  <a:pt x="8320" y="4321"/>
                  <a:pt x="8311" y="4320"/>
                </a:cubicBezTo>
                <a:cubicBezTo>
                  <a:pt x="8302" y="4319"/>
                  <a:pt x="8303" y="4338"/>
                  <a:pt x="8303" y="4338"/>
                </a:cubicBezTo>
                <a:cubicBezTo>
                  <a:pt x="8310" y="4348"/>
                  <a:pt x="8310" y="4348"/>
                  <a:pt x="8310" y="4348"/>
                </a:cubicBezTo>
                <a:cubicBezTo>
                  <a:pt x="8310" y="4348"/>
                  <a:pt x="8307" y="4349"/>
                  <a:pt x="8297" y="4348"/>
                </a:cubicBezTo>
                <a:cubicBezTo>
                  <a:pt x="8287" y="4347"/>
                  <a:pt x="8299" y="4322"/>
                  <a:pt x="8299" y="4322"/>
                </a:cubicBezTo>
                <a:cubicBezTo>
                  <a:pt x="8287" y="4327"/>
                  <a:pt x="8287" y="4327"/>
                  <a:pt x="8287" y="4327"/>
                </a:cubicBezTo>
                <a:cubicBezTo>
                  <a:pt x="8287" y="4327"/>
                  <a:pt x="8279" y="4315"/>
                  <a:pt x="8272" y="4315"/>
                </a:cubicBezTo>
                <a:cubicBezTo>
                  <a:pt x="8262" y="4315"/>
                  <a:pt x="8263" y="4341"/>
                  <a:pt x="8258" y="4341"/>
                </a:cubicBezTo>
                <a:cubicBezTo>
                  <a:pt x="8253" y="4341"/>
                  <a:pt x="8253" y="4329"/>
                  <a:pt x="8253" y="4329"/>
                </a:cubicBezTo>
                <a:cubicBezTo>
                  <a:pt x="8253" y="4329"/>
                  <a:pt x="8248" y="4303"/>
                  <a:pt x="8250" y="4289"/>
                </a:cubicBezTo>
                <a:close/>
                <a:moveTo>
                  <a:pt x="8586" y="1964"/>
                </a:moveTo>
                <a:cubicBezTo>
                  <a:pt x="8578" y="1973"/>
                  <a:pt x="8560" y="1988"/>
                  <a:pt x="8550" y="1992"/>
                </a:cubicBezTo>
                <a:cubicBezTo>
                  <a:pt x="8536" y="1997"/>
                  <a:pt x="8492" y="1991"/>
                  <a:pt x="8492" y="1991"/>
                </a:cubicBezTo>
                <a:cubicBezTo>
                  <a:pt x="8456" y="2002"/>
                  <a:pt x="8456" y="2002"/>
                  <a:pt x="8456" y="2002"/>
                </a:cubicBezTo>
                <a:cubicBezTo>
                  <a:pt x="8413" y="1986"/>
                  <a:pt x="8413" y="1986"/>
                  <a:pt x="8413" y="1986"/>
                </a:cubicBezTo>
                <a:cubicBezTo>
                  <a:pt x="8395" y="1992"/>
                  <a:pt x="8395" y="1992"/>
                  <a:pt x="8395" y="1992"/>
                </a:cubicBezTo>
                <a:cubicBezTo>
                  <a:pt x="8395" y="1992"/>
                  <a:pt x="8386" y="1970"/>
                  <a:pt x="8378" y="1972"/>
                </a:cubicBezTo>
                <a:cubicBezTo>
                  <a:pt x="8370" y="1973"/>
                  <a:pt x="8361" y="1980"/>
                  <a:pt x="8361" y="1980"/>
                </a:cubicBezTo>
                <a:cubicBezTo>
                  <a:pt x="8345" y="1970"/>
                  <a:pt x="8345" y="1970"/>
                  <a:pt x="8345" y="1970"/>
                </a:cubicBezTo>
                <a:cubicBezTo>
                  <a:pt x="8342" y="1955"/>
                  <a:pt x="8342" y="1955"/>
                  <a:pt x="8342" y="1955"/>
                </a:cubicBezTo>
                <a:cubicBezTo>
                  <a:pt x="8312" y="1960"/>
                  <a:pt x="8312" y="1960"/>
                  <a:pt x="8312" y="1960"/>
                </a:cubicBezTo>
                <a:cubicBezTo>
                  <a:pt x="8293" y="1950"/>
                  <a:pt x="8293" y="1950"/>
                  <a:pt x="8293" y="1950"/>
                </a:cubicBezTo>
                <a:cubicBezTo>
                  <a:pt x="8290" y="1935"/>
                  <a:pt x="8290" y="1935"/>
                  <a:pt x="8290" y="1935"/>
                </a:cubicBezTo>
                <a:cubicBezTo>
                  <a:pt x="8290" y="1935"/>
                  <a:pt x="8268" y="1946"/>
                  <a:pt x="8255" y="1946"/>
                </a:cubicBezTo>
                <a:cubicBezTo>
                  <a:pt x="8242" y="1946"/>
                  <a:pt x="8224" y="1940"/>
                  <a:pt x="8212" y="1941"/>
                </a:cubicBezTo>
                <a:cubicBezTo>
                  <a:pt x="8201" y="1942"/>
                  <a:pt x="8166" y="1956"/>
                  <a:pt x="8160" y="1962"/>
                </a:cubicBezTo>
                <a:cubicBezTo>
                  <a:pt x="8155" y="1969"/>
                  <a:pt x="8140" y="1972"/>
                  <a:pt x="8140" y="1972"/>
                </a:cubicBezTo>
                <a:cubicBezTo>
                  <a:pt x="8134" y="1987"/>
                  <a:pt x="8134" y="1987"/>
                  <a:pt x="8134" y="1987"/>
                </a:cubicBezTo>
                <a:cubicBezTo>
                  <a:pt x="8134" y="1987"/>
                  <a:pt x="8134" y="1991"/>
                  <a:pt x="8120" y="1988"/>
                </a:cubicBezTo>
                <a:cubicBezTo>
                  <a:pt x="8108" y="1985"/>
                  <a:pt x="8084" y="1982"/>
                  <a:pt x="8071" y="1982"/>
                </a:cubicBezTo>
                <a:cubicBezTo>
                  <a:pt x="8059" y="1982"/>
                  <a:pt x="8019" y="1973"/>
                  <a:pt x="8019" y="1973"/>
                </a:cubicBezTo>
                <a:cubicBezTo>
                  <a:pt x="8019" y="1973"/>
                  <a:pt x="7994" y="1976"/>
                  <a:pt x="7991" y="1963"/>
                </a:cubicBezTo>
                <a:cubicBezTo>
                  <a:pt x="7989" y="1956"/>
                  <a:pt x="7988" y="1949"/>
                  <a:pt x="7987" y="1944"/>
                </a:cubicBezTo>
                <a:cubicBezTo>
                  <a:pt x="7978" y="1945"/>
                  <a:pt x="7964" y="1943"/>
                  <a:pt x="7964" y="1943"/>
                </a:cubicBezTo>
                <a:cubicBezTo>
                  <a:pt x="7962" y="1940"/>
                  <a:pt x="7961" y="1938"/>
                  <a:pt x="7960" y="1936"/>
                </a:cubicBezTo>
                <a:cubicBezTo>
                  <a:pt x="7966" y="1928"/>
                  <a:pt x="7966" y="1928"/>
                  <a:pt x="7966" y="1928"/>
                </a:cubicBezTo>
                <a:cubicBezTo>
                  <a:pt x="7976" y="1941"/>
                  <a:pt x="7976" y="1941"/>
                  <a:pt x="7976" y="1941"/>
                </a:cubicBezTo>
                <a:cubicBezTo>
                  <a:pt x="7976" y="1941"/>
                  <a:pt x="7990" y="1943"/>
                  <a:pt x="7999" y="1942"/>
                </a:cubicBezTo>
                <a:cubicBezTo>
                  <a:pt x="7998" y="1939"/>
                  <a:pt x="7998" y="1937"/>
                  <a:pt x="7998" y="1937"/>
                </a:cubicBezTo>
                <a:cubicBezTo>
                  <a:pt x="7975" y="1909"/>
                  <a:pt x="7975" y="1909"/>
                  <a:pt x="7975" y="1909"/>
                </a:cubicBezTo>
                <a:cubicBezTo>
                  <a:pt x="7975" y="1909"/>
                  <a:pt x="7985" y="1904"/>
                  <a:pt x="7989" y="1897"/>
                </a:cubicBezTo>
                <a:cubicBezTo>
                  <a:pt x="7993" y="1890"/>
                  <a:pt x="7982" y="1876"/>
                  <a:pt x="7991" y="1869"/>
                </a:cubicBezTo>
                <a:cubicBezTo>
                  <a:pt x="8000" y="1862"/>
                  <a:pt x="8017" y="1866"/>
                  <a:pt x="8017" y="1866"/>
                </a:cubicBezTo>
                <a:cubicBezTo>
                  <a:pt x="8017" y="1866"/>
                  <a:pt x="8015" y="1857"/>
                  <a:pt x="8014" y="1845"/>
                </a:cubicBezTo>
                <a:cubicBezTo>
                  <a:pt x="8012" y="1834"/>
                  <a:pt x="8013" y="1820"/>
                  <a:pt x="8018" y="1813"/>
                </a:cubicBezTo>
                <a:cubicBezTo>
                  <a:pt x="8027" y="1801"/>
                  <a:pt x="8033" y="1791"/>
                  <a:pt x="8033" y="1791"/>
                </a:cubicBezTo>
                <a:cubicBezTo>
                  <a:pt x="8033" y="1791"/>
                  <a:pt x="8065" y="1801"/>
                  <a:pt x="8061" y="1778"/>
                </a:cubicBezTo>
                <a:cubicBezTo>
                  <a:pt x="8058" y="1762"/>
                  <a:pt x="8053" y="1753"/>
                  <a:pt x="8050" y="1750"/>
                </a:cubicBezTo>
                <a:cubicBezTo>
                  <a:pt x="8050" y="1748"/>
                  <a:pt x="8049" y="1748"/>
                  <a:pt x="8049" y="1748"/>
                </a:cubicBezTo>
                <a:cubicBezTo>
                  <a:pt x="8049" y="1748"/>
                  <a:pt x="8066" y="1741"/>
                  <a:pt x="8074" y="1735"/>
                </a:cubicBezTo>
                <a:cubicBezTo>
                  <a:pt x="8083" y="1729"/>
                  <a:pt x="8096" y="1705"/>
                  <a:pt x="8096" y="1705"/>
                </a:cubicBezTo>
                <a:cubicBezTo>
                  <a:pt x="8117" y="1696"/>
                  <a:pt x="8117" y="1696"/>
                  <a:pt x="8117" y="1696"/>
                </a:cubicBezTo>
                <a:cubicBezTo>
                  <a:pt x="8126" y="1685"/>
                  <a:pt x="8126" y="1685"/>
                  <a:pt x="8126" y="1685"/>
                </a:cubicBezTo>
                <a:cubicBezTo>
                  <a:pt x="8137" y="1690"/>
                  <a:pt x="8137" y="1690"/>
                  <a:pt x="8137" y="1690"/>
                </a:cubicBezTo>
                <a:cubicBezTo>
                  <a:pt x="8137" y="1690"/>
                  <a:pt x="8159" y="1694"/>
                  <a:pt x="8162" y="1694"/>
                </a:cubicBezTo>
                <a:cubicBezTo>
                  <a:pt x="8165" y="1694"/>
                  <a:pt x="8173" y="1688"/>
                  <a:pt x="8173" y="1688"/>
                </a:cubicBezTo>
                <a:cubicBezTo>
                  <a:pt x="8161" y="1704"/>
                  <a:pt x="8161" y="1704"/>
                  <a:pt x="8161" y="1704"/>
                </a:cubicBezTo>
                <a:cubicBezTo>
                  <a:pt x="8161" y="1704"/>
                  <a:pt x="8143" y="1698"/>
                  <a:pt x="8146" y="1705"/>
                </a:cubicBezTo>
                <a:cubicBezTo>
                  <a:pt x="8149" y="1712"/>
                  <a:pt x="8169" y="1717"/>
                  <a:pt x="8169" y="1717"/>
                </a:cubicBezTo>
                <a:cubicBezTo>
                  <a:pt x="8201" y="1718"/>
                  <a:pt x="8201" y="1718"/>
                  <a:pt x="8201" y="1718"/>
                </a:cubicBezTo>
                <a:cubicBezTo>
                  <a:pt x="8214" y="1719"/>
                  <a:pt x="8214" y="1719"/>
                  <a:pt x="8214" y="1719"/>
                </a:cubicBezTo>
                <a:cubicBezTo>
                  <a:pt x="8221" y="1730"/>
                  <a:pt x="8221" y="1730"/>
                  <a:pt x="8221" y="1730"/>
                </a:cubicBezTo>
                <a:cubicBezTo>
                  <a:pt x="8221" y="1730"/>
                  <a:pt x="8175" y="1756"/>
                  <a:pt x="8178" y="1759"/>
                </a:cubicBezTo>
                <a:cubicBezTo>
                  <a:pt x="8181" y="1762"/>
                  <a:pt x="8223" y="1763"/>
                  <a:pt x="8225" y="1776"/>
                </a:cubicBezTo>
                <a:cubicBezTo>
                  <a:pt x="8227" y="1790"/>
                  <a:pt x="8215" y="1804"/>
                  <a:pt x="8220" y="1806"/>
                </a:cubicBezTo>
                <a:cubicBezTo>
                  <a:pt x="8226" y="1808"/>
                  <a:pt x="8247" y="1810"/>
                  <a:pt x="8247" y="1810"/>
                </a:cubicBezTo>
                <a:cubicBezTo>
                  <a:pt x="8247" y="1810"/>
                  <a:pt x="8261" y="1791"/>
                  <a:pt x="8268" y="1791"/>
                </a:cubicBezTo>
                <a:cubicBezTo>
                  <a:pt x="8276" y="1791"/>
                  <a:pt x="8279" y="1797"/>
                  <a:pt x="8289" y="1791"/>
                </a:cubicBezTo>
                <a:cubicBezTo>
                  <a:pt x="8299" y="1785"/>
                  <a:pt x="8297" y="1773"/>
                  <a:pt x="8304" y="1772"/>
                </a:cubicBezTo>
                <a:cubicBezTo>
                  <a:pt x="8311" y="1771"/>
                  <a:pt x="8317" y="1780"/>
                  <a:pt x="8317" y="1780"/>
                </a:cubicBezTo>
                <a:cubicBezTo>
                  <a:pt x="8340" y="1776"/>
                  <a:pt x="8340" y="1776"/>
                  <a:pt x="8340" y="1776"/>
                </a:cubicBezTo>
                <a:cubicBezTo>
                  <a:pt x="8342" y="1765"/>
                  <a:pt x="8342" y="1765"/>
                  <a:pt x="8342" y="1765"/>
                </a:cubicBezTo>
                <a:cubicBezTo>
                  <a:pt x="8348" y="1756"/>
                  <a:pt x="8348" y="1756"/>
                  <a:pt x="8348" y="1756"/>
                </a:cubicBezTo>
                <a:cubicBezTo>
                  <a:pt x="8348" y="1756"/>
                  <a:pt x="8334" y="1750"/>
                  <a:pt x="8328" y="1756"/>
                </a:cubicBezTo>
                <a:cubicBezTo>
                  <a:pt x="8322" y="1762"/>
                  <a:pt x="8298" y="1763"/>
                  <a:pt x="8298" y="1763"/>
                </a:cubicBezTo>
                <a:cubicBezTo>
                  <a:pt x="8298" y="1763"/>
                  <a:pt x="8280" y="1757"/>
                  <a:pt x="8279" y="1747"/>
                </a:cubicBezTo>
                <a:cubicBezTo>
                  <a:pt x="8278" y="1737"/>
                  <a:pt x="8266" y="1738"/>
                  <a:pt x="8266" y="1738"/>
                </a:cubicBezTo>
                <a:cubicBezTo>
                  <a:pt x="8254" y="1725"/>
                  <a:pt x="8254" y="1725"/>
                  <a:pt x="8254" y="1725"/>
                </a:cubicBezTo>
                <a:cubicBezTo>
                  <a:pt x="8229" y="1723"/>
                  <a:pt x="8229" y="1723"/>
                  <a:pt x="8229" y="1723"/>
                </a:cubicBezTo>
                <a:cubicBezTo>
                  <a:pt x="8222" y="1715"/>
                  <a:pt x="8222" y="1715"/>
                  <a:pt x="8222" y="1715"/>
                </a:cubicBezTo>
                <a:cubicBezTo>
                  <a:pt x="8238" y="1714"/>
                  <a:pt x="8238" y="1714"/>
                  <a:pt x="8238" y="1714"/>
                </a:cubicBezTo>
                <a:cubicBezTo>
                  <a:pt x="8238" y="1714"/>
                  <a:pt x="8257" y="1718"/>
                  <a:pt x="8263" y="1717"/>
                </a:cubicBezTo>
                <a:cubicBezTo>
                  <a:pt x="8270" y="1715"/>
                  <a:pt x="8285" y="1703"/>
                  <a:pt x="8285" y="1703"/>
                </a:cubicBezTo>
                <a:cubicBezTo>
                  <a:pt x="8291" y="1708"/>
                  <a:pt x="8291" y="1708"/>
                  <a:pt x="8291" y="1708"/>
                </a:cubicBezTo>
                <a:cubicBezTo>
                  <a:pt x="8291" y="1708"/>
                  <a:pt x="8305" y="1695"/>
                  <a:pt x="8314" y="1692"/>
                </a:cubicBezTo>
                <a:cubicBezTo>
                  <a:pt x="8324" y="1689"/>
                  <a:pt x="8350" y="1688"/>
                  <a:pt x="8350" y="1688"/>
                </a:cubicBezTo>
                <a:cubicBezTo>
                  <a:pt x="8378" y="1666"/>
                  <a:pt x="8378" y="1666"/>
                  <a:pt x="8378" y="1666"/>
                </a:cubicBezTo>
                <a:cubicBezTo>
                  <a:pt x="8378" y="1666"/>
                  <a:pt x="8378" y="1666"/>
                  <a:pt x="8378" y="1666"/>
                </a:cubicBezTo>
                <a:cubicBezTo>
                  <a:pt x="8378" y="1666"/>
                  <a:pt x="8379" y="1666"/>
                  <a:pt x="8379" y="1666"/>
                </a:cubicBezTo>
                <a:cubicBezTo>
                  <a:pt x="8379" y="1666"/>
                  <a:pt x="8379" y="1666"/>
                  <a:pt x="8379" y="1666"/>
                </a:cubicBezTo>
                <a:cubicBezTo>
                  <a:pt x="8379" y="1666"/>
                  <a:pt x="8379" y="1666"/>
                  <a:pt x="8379" y="1666"/>
                </a:cubicBezTo>
                <a:cubicBezTo>
                  <a:pt x="8379" y="1666"/>
                  <a:pt x="8379" y="1666"/>
                  <a:pt x="8380" y="1666"/>
                </a:cubicBezTo>
                <a:cubicBezTo>
                  <a:pt x="8380" y="1666"/>
                  <a:pt x="8380" y="1666"/>
                  <a:pt x="8380" y="1666"/>
                </a:cubicBezTo>
                <a:cubicBezTo>
                  <a:pt x="8381" y="1667"/>
                  <a:pt x="8381" y="1667"/>
                  <a:pt x="8382" y="1667"/>
                </a:cubicBezTo>
                <a:cubicBezTo>
                  <a:pt x="8387" y="1669"/>
                  <a:pt x="8397" y="1671"/>
                  <a:pt x="8405" y="1668"/>
                </a:cubicBezTo>
                <a:cubicBezTo>
                  <a:pt x="8404" y="1669"/>
                  <a:pt x="8403" y="1669"/>
                  <a:pt x="8403" y="1669"/>
                </a:cubicBezTo>
                <a:cubicBezTo>
                  <a:pt x="8404" y="1669"/>
                  <a:pt x="8405" y="1668"/>
                  <a:pt x="8407" y="1668"/>
                </a:cubicBezTo>
                <a:cubicBezTo>
                  <a:pt x="8418" y="1662"/>
                  <a:pt x="8447" y="1653"/>
                  <a:pt x="8448" y="1662"/>
                </a:cubicBezTo>
                <a:cubicBezTo>
                  <a:pt x="8449" y="1670"/>
                  <a:pt x="8427" y="1686"/>
                  <a:pt x="8427" y="1686"/>
                </a:cubicBezTo>
                <a:cubicBezTo>
                  <a:pt x="8394" y="1696"/>
                  <a:pt x="8394" y="1696"/>
                  <a:pt x="8394" y="1696"/>
                </a:cubicBezTo>
                <a:cubicBezTo>
                  <a:pt x="8424" y="1719"/>
                  <a:pt x="8424" y="1719"/>
                  <a:pt x="8424" y="1719"/>
                </a:cubicBezTo>
                <a:cubicBezTo>
                  <a:pt x="8424" y="1719"/>
                  <a:pt x="8400" y="1724"/>
                  <a:pt x="8399" y="1734"/>
                </a:cubicBezTo>
                <a:cubicBezTo>
                  <a:pt x="8398" y="1744"/>
                  <a:pt x="8398" y="1755"/>
                  <a:pt x="8398" y="1755"/>
                </a:cubicBezTo>
                <a:cubicBezTo>
                  <a:pt x="8398" y="1755"/>
                  <a:pt x="8385" y="1764"/>
                  <a:pt x="8380" y="1764"/>
                </a:cubicBezTo>
                <a:cubicBezTo>
                  <a:pt x="8375" y="1764"/>
                  <a:pt x="8360" y="1753"/>
                  <a:pt x="8360" y="1753"/>
                </a:cubicBezTo>
                <a:cubicBezTo>
                  <a:pt x="8356" y="1764"/>
                  <a:pt x="8356" y="1764"/>
                  <a:pt x="8356" y="1764"/>
                </a:cubicBezTo>
                <a:cubicBezTo>
                  <a:pt x="8356" y="1764"/>
                  <a:pt x="8368" y="1777"/>
                  <a:pt x="8371" y="1777"/>
                </a:cubicBezTo>
                <a:cubicBezTo>
                  <a:pt x="8374" y="1777"/>
                  <a:pt x="8383" y="1796"/>
                  <a:pt x="8383" y="1796"/>
                </a:cubicBezTo>
                <a:cubicBezTo>
                  <a:pt x="8408" y="1794"/>
                  <a:pt x="8408" y="1794"/>
                  <a:pt x="8408" y="1794"/>
                </a:cubicBezTo>
                <a:cubicBezTo>
                  <a:pt x="8408" y="1794"/>
                  <a:pt x="8426" y="1813"/>
                  <a:pt x="8432" y="1813"/>
                </a:cubicBezTo>
                <a:cubicBezTo>
                  <a:pt x="8438" y="1813"/>
                  <a:pt x="8450" y="1814"/>
                  <a:pt x="8450" y="1814"/>
                </a:cubicBezTo>
                <a:cubicBezTo>
                  <a:pt x="8450" y="1814"/>
                  <a:pt x="8481" y="1851"/>
                  <a:pt x="8489" y="1854"/>
                </a:cubicBezTo>
                <a:cubicBezTo>
                  <a:pt x="8493" y="1855"/>
                  <a:pt x="8500" y="1858"/>
                  <a:pt x="8505" y="1861"/>
                </a:cubicBezTo>
                <a:cubicBezTo>
                  <a:pt x="8504" y="1861"/>
                  <a:pt x="8503" y="1862"/>
                  <a:pt x="8503" y="1863"/>
                </a:cubicBezTo>
                <a:cubicBezTo>
                  <a:pt x="8504" y="1864"/>
                  <a:pt x="8505" y="1865"/>
                  <a:pt x="8505" y="1865"/>
                </a:cubicBezTo>
                <a:cubicBezTo>
                  <a:pt x="8505" y="1865"/>
                  <a:pt x="8545" y="1888"/>
                  <a:pt x="8554" y="1891"/>
                </a:cubicBezTo>
                <a:cubicBezTo>
                  <a:pt x="8562" y="1894"/>
                  <a:pt x="8577" y="1907"/>
                  <a:pt x="8577" y="1907"/>
                </a:cubicBezTo>
                <a:cubicBezTo>
                  <a:pt x="8577" y="1907"/>
                  <a:pt x="8581" y="1935"/>
                  <a:pt x="8581" y="1938"/>
                </a:cubicBezTo>
                <a:cubicBezTo>
                  <a:pt x="8581" y="1942"/>
                  <a:pt x="8593" y="1957"/>
                  <a:pt x="8593" y="1957"/>
                </a:cubicBezTo>
                <a:cubicBezTo>
                  <a:pt x="8593" y="1957"/>
                  <a:pt x="8591" y="1959"/>
                  <a:pt x="8586" y="1964"/>
                </a:cubicBezTo>
                <a:close/>
                <a:moveTo>
                  <a:pt x="8770" y="1610"/>
                </a:moveTo>
                <a:cubicBezTo>
                  <a:pt x="8770" y="1610"/>
                  <a:pt x="8770" y="1610"/>
                  <a:pt x="8770" y="1610"/>
                </a:cubicBezTo>
                <a:cubicBezTo>
                  <a:pt x="8770" y="1610"/>
                  <a:pt x="8770" y="1610"/>
                  <a:pt x="8770" y="1610"/>
                </a:cubicBezTo>
                <a:cubicBezTo>
                  <a:pt x="8770" y="1610"/>
                  <a:pt x="8770" y="1610"/>
                  <a:pt x="8770" y="1610"/>
                </a:cubicBezTo>
                <a:close/>
                <a:moveTo>
                  <a:pt x="8771" y="1494"/>
                </a:moveTo>
                <a:cubicBezTo>
                  <a:pt x="8770" y="1493"/>
                  <a:pt x="8769" y="1492"/>
                  <a:pt x="8768" y="1492"/>
                </a:cubicBezTo>
                <a:cubicBezTo>
                  <a:pt x="8769" y="1492"/>
                  <a:pt x="8770" y="1493"/>
                  <a:pt x="8771" y="1494"/>
                </a:cubicBezTo>
                <a:cubicBezTo>
                  <a:pt x="8771" y="1494"/>
                  <a:pt x="8771" y="1494"/>
                  <a:pt x="8771" y="1494"/>
                </a:cubicBezTo>
                <a:close/>
                <a:moveTo>
                  <a:pt x="9119" y="1937"/>
                </a:moveTo>
                <a:cubicBezTo>
                  <a:pt x="9119" y="1941"/>
                  <a:pt x="9122" y="1941"/>
                  <a:pt x="9129" y="1953"/>
                </a:cubicBezTo>
                <a:cubicBezTo>
                  <a:pt x="9135" y="1965"/>
                  <a:pt x="9171" y="1974"/>
                  <a:pt x="9169" y="1985"/>
                </a:cubicBezTo>
                <a:cubicBezTo>
                  <a:pt x="9166" y="1995"/>
                  <a:pt x="9166" y="2001"/>
                  <a:pt x="9159" y="1999"/>
                </a:cubicBezTo>
                <a:cubicBezTo>
                  <a:pt x="9153" y="1998"/>
                  <a:pt x="9138" y="1985"/>
                  <a:pt x="9141" y="1989"/>
                </a:cubicBezTo>
                <a:cubicBezTo>
                  <a:pt x="9143" y="1993"/>
                  <a:pt x="9138" y="2002"/>
                  <a:pt x="9138" y="2002"/>
                </a:cubicBezTo>
                <a:cubicBezTo>
                  <a:pt x="9111" y="2003"/>
                  <a:pt x="9111" y="2003"/>
                  <a:pt x="9111" y="2003"/>
                </a:cubicBezTo>
                <a:cubicBezTo>
                  <a:pt x="9103" y="1990"/>
                  <a:pt x="9103" y="1990"/>
                  <a:pt x="9103" y="1990"/>
                </a:cubicBezTo>
                <a:cubicBezTo>
                  <a:pt x="9099" y="1995"/>
                  <a:pt x="9099" y="1995"/>
                  <a:pt x="9099" y="1995"/>
                </a:cubicBezTo>
                <a:cubicBezTo>
                  <a:pt x="9099" y="1995"/>
                  <a:pt x="9089" y="1985"/>
                  <a:pt x="9083" y="1975"/>
                </a:cubicBezTo>
                <a:cubicBezTo>
                  <a:pt x="9078" y="1966"/>
                  <a:pt x="9082" y="1951"/>
                  <a:pt x="9078" y="1950"/>
                </a:cubicBezTo>
                <a:cubicBezTo>
                  <a:pt x="9077" y="1950"/>
                  <a:pt x="9075" y="1949"/>
                  <a:pt x="9073" y="1948"/>
                </a:cubicBezTo>
                <a:cubicBezTo>
                  <a:pt x="9073" y="1948"/>
                  <a:pt x="9073" y="1948"/>
                  <a:pt x="9073" y="1948"/>
                </a:cubicBezTo>
                <a:cubicBezTo>
                  <a:pt x="9075" y="1942"/>
                  <a:pt x="9081" y="1922"/>
                  <a:pt x="9089" y="1921"/>
                </a:cubicBezTo>
                <a:cubicBezTo>
                  <a:pt x="9094" y="1920"/>
                  <a:pt x="9102" y="1921"/>
                  <a:pt x="9108" y="1922"/>
                </a:cubicBezTo>
                <a:cubicBezTo>
                  <a:pt x="9108" y="1925"/>
                  <a:pt x="9109" y="1927"/>
                  <a:pt x="9109" y="1927"/>
                </a:cubicBezTo>
                <a:cubicBezTo>
                  <a:pt x="9109" y="1927"/>
                  <a:pt x="9119" y="1933"/>
                  <a:pt x="9119" y="1937"/>
                </a:cubicBezTo>
                <a:close/>
                <a:moveTo>
                  <a:pt x="8999" y="1443"/>
                </a:moveTo>
                <a:cubicBezTo>
                  <a:pt x="8998" y="1442"/>
                  <a:pt x="8997" y="1441"/>
                  <a:pt x="8997" y="1441"/>
                </a:cubicBezTo>
                <a:cubicBezTo>
                  <a:pt x="8997" y="1441"/>
                  <a:pt x="8998" y="1442"/>
                  <a:pt x="8999" y="1443"/>
                </a:cubicBezTo>
                <a:close/>
                <a:moveTo>
                  <a:pt x="8994" y="1439"/>
                </a:moveTo>
                <a:cubicBezTo>
                  <a:pt x="8993" y="1439"/>
                  <a:pt x="8991" y="1439"/>
                  <a:pt x="8990" y="1439"/>
                </a:cubicBezTo>
                <a:cubicBezTo>
                  <a:pt x="8991" y="1439"/>
                  <a:pt x="8993" y="1439"/>
                  <a:pt x="8994" y="1439"/>
                </a:cubicBezTo>
                <a:close/>
                <a:moveTo>
                  <a:pt x="8852" y="1687"/>
                </a:moveTo>
                <a:cubicBezTo>
                  <a:pt x="8851" y="1687"/>
                  <a:pt x="8851" y="1687"/>
                  <a:pt x="8851" y="1687"/>
                </a:cubicBezTo>
                <a:cubicBezTo>
                  <a:pt x="8850" y="1687"/>
                  <a:pt x="8850" y="1687"/>
                  <a:pt x="8849" y="1686"/>
                </a:cubicBezTo>
                <a:cubicBezTo>
                  <a:pt x="8850" y="1687"/>
                  <a:pt x="8851" y="1687"/>
                  <a:pt x="8852" y="1687"/>
                </a:cubicBezTo>
                <a:close/>
                <a:moveTo>
                  <a:pt x="8846" y="1660"/>
                </a:moveTo>
                <a:cubicBezTo>
                  <a:pt x="8846" y="1660"/>
                  <a:pt x="8846" y="1660"/>
                  <a:pt x="8846" y="1660"/>
                </a:cubicBezTo>
                <a:cubicBezTo>
                  <a:pt x="8845" y="1683"/>
                  <a:pt x="8845" y="1683"/>
                  <a:pt x="8845" y="1683"/>
                </a:cubicBezTo>
                <a:lnTo>
                  <a:pt x="8846" y="1660"/>
                </a:lnTo>
                <a:close/>
                <a:moveTo>
                  <a:pt x="8820" y="1496"/>
                </a:moveTo>
                <a:cubicBezTo>
                  <a:pt x="8820" y="1496"/>
                  <a:pt x="8820" y="1496"/>
                  <a:pt x="8820" y="1496"/>
                </a:cubicBezTo>
                <a:cubicBezTo>
                  <a:pt x="8820" y="1496"/>
                  <a:pt x="8819" y="1495"/>
                  <a:pt x="8819" y="1495"/>
                </a:cubicBezTo>
                <a:cubicBezTo>
                  <a:pt x="8819" y="1495"/>
                  <a:pt x="8820" y="1495"/>
                  <a:pt x="8820" y="1496"/>
                </a:cubicBezTo>
                <a:close/>
                <a:moveTo>
                  <a:pt x="8818" y="1493"/>
                </a:moveTo>
                <a:cubicBezTo>
                  <a:pt x="8818" y="1493"/>
                  <a:pt x="8818" y="1493"/>
                  <a:pt x="8818" y="1494"/>
                </a:cubicBezTo>
                <a:cubicBezTo>
                  <a:pt x="8818" y="1494"/>
                  <a:pt x="8818" y="1494"/>
                  <a:pt x="8818" y="1494"/>
                </a:cubicBezTo>
                <a:cubicBezTo>
                  <a:pt x="8818" y="1493"/>
                  <a:pt x="8818" y="1493"/>
                  <a:pt x="8818" y="1492"/>
                </a:cubicBezTo>
                <a:cubicBezTo>
                  <a:pt x="8818" y="1493"/>
                  <a:pt x="8818" y="1493"/>
                  <a:pt x="8818" y="1493"/>
                </a:cubicBezTo>
                <a:close/>
                <a:moveTo>
                  <a:pt x="8817" y="1491"/>
                </a:moveTo>
                <a:cubicBezTo>
                  <a:pt x="8817" y="1491"/>
                  <a:pt x="8817" y="1491"/>
                  <a:pt x="8817" y="1491"/>
                </a:cubicBezTo>
                <a:cubicBezTo>
                  <a:pt x="8817" y="1491"/>
                  <a:pt x="8816" y="1491"/>
                  <a:pt x="8816" y="1490"/>
                </a:cubicBezTo>
                <a:cubicBezTo>
                  <a:pt x="8816" y="1491"/>
                  <a:pt x="8816" y="1491"/>
                  <a:pt x="8817" y="1491"/>
                </a:cubicBezTo>
                <a:close/>
                <a:moveTo>
                  <a:pt x="8814" y="1488"/>
                </a:moveTo>
                <a:cubicBezTo>
                  <a:pt x="8814" y="1488"/>
                  <a:pt x="8814" y="1489"/>
                  <a:pt x="8814" y="1489"/>
                </a:cubicBezTo>
                <a:cubicBezTo>
                  <a:pt x="8814" y="1489"/>
                  <a:pt x="8815" y="1489"/>
                  <a:pt x="8815" y="1490"/>
                </a:cubicBezTo>
                <a:cubicBezTo>
                  <a:pt x="8815" y="1489"/>
                  <a:pt x="8815" y="1489"/>
                  <a:pt x="8814" y="1489"/>
                </a:cubicBezTo>
                <a:cubicBezTo>
                  <a:pt x="8815" y="1489"/>
                  <a:pt x="8815" y="1489"/>
                  <a:pt x="8815" y="1490"/>
                </a:cubicBezTo>
                <a:cubicBezTo>
                  <a:pt x="8815" y="1490"/>
                  <a:pt x="8815" y="1490"/>
                  <a:pt x="8815" y="1490"/>
                </a:cubicBezTo>
                <a:cubicBezTo>
                  <a:pt x="8815" y="1489"/>
                  <a:pt x="8814" y="1489"/>
                  <a:pt x="8814" y="1488"/>
                </a:cubicBezTo>
                <a:cubicBezTo>
                  <a:pt x="8814" y="1488"/>
                  <a:pt x="8814" y="1488"/>
                  <a:pt x="8814" y="1488"/>
                </a:cubicBezTo>
                <a:close/>
                <a:moveTo>
                  <a:pt x="8931" y="2133"/>
                </a:moveTo>
                <a:cubicBezTo>
                  <a:pt x="8931" y="2133"/>
                  <a:pt x="8931" y="2134"/>
                  <a:pt x="8932" y="2136"/>
                </a:cubicBezTo>
                <a:cubicBezTo>
                  <a:pt x="8931" y="2134"/>
                  <a:pt x="8931" y="2133"/>
                  <a:pt x="8931" y="2133"/>
                </a:cubicBezTo>
                <a:close/>
                <a:moveTo>
                  <a:pt x="9173" y="2214"/>
                </a:moveTo>
                <a:cubicBezTo>
                  <a:pt x="9161" y="2216"/>
                  <a:pt x="9150" y="2209"/>
                  <a:pt x="9150" y="2209"/>
                </a:cubicBezTo>
                <a:cubicBezTo>
                  <a:pt x="9150" y="2209"/>
                  <a:pt x="9125" y="2214"/>
                  <a:pt x="9112" y="2217"/>
                </a:cubicBezTo>
                <a:cubicBezTo>
                  <a:pt x="9099" y="2220"/>
                  <a:pt x="9092" y="2229"/>
                  <a:pt x="9084" y="2228"/>
                </a:cubicBezTo>
                <a:cubicBezTo>
                  <a:pt x="9076" y="2227"/>
                  <a:pt x="9068" y="2218"/>
                  <a:pt x="9058" y="2218"/>
                </a:cubicBezTo>
                <a:cubicBezTo>
                  <a:pt x="9048" y="2218"/>
                  <a:pt x="9036" y="2218"/>
                  <a:pt x="9022" y="2208"/>
                </a:cubicBezTo>
                <a:cubicBezTo>
                  <a:pt x="9008" y="2198"/>
                  <a:pt x="9000" y="2181"/>
                  <a:pt x="9000" y="2181"/>
                </a:cubicBezTo>
                <a:cubicBezTo>
                  <a:pt x="9000" y="2181"/>
                  <a:pt x="8971" y="2178"/>
                  <a:pt x="8968" y="2178"/>
                </a:cubicBezTo>
                <a:cubicBezTo>
                  <a:pt x="8965" y="2178"/>
                  <a:pt x="8953" y="2171"/>
                  <a:pt x="8946" y="2163"/>
                </a:cubicBezTo>
                <a:cubicBezTo>
                  <a:pt x="8941" y="2157"/>
                  <a:pt x="8935" y="2143"/>
                  <a:pt x="8932" y="2136"/>
                </a:cubicBezTo>
                <a:cubicBezTo>
                  <a:pt x="8934" y="2129"/>
                  <a:pt x="8936" y="2120"/>
                  <a:pt x="8935" y="2116"/>
                </a:cubicBezTo>
                <a:cubicBezTo>
                  <a:pt x="8933" y="2110"/>
                  <a:pt x="8923" y="2107"/>
                  <a:pt x="8923" y="2107"/>
                </a:cubicBezTo>
                <a:cubicBezTo>
                  <a:pt x="8934" y="2103"/>
                  <a:pt x="8934" y="2103"/>
                  <a:pt x="8934" y="2103"/>
                </a:cubicBezTo>
                <a:cubicBezTo>
                  <a:pt x="8934" y="2084"/>
                  <a:pt x="8934" y="2084"/>
                  <a:pt x="8934" y="2084"/>
                </a:cubicBezTo>
                <a:cubicBezTo>
                  <a:pt x="8934" y="2084"/>
                  <a:pt x="8946" y="2097"/>
                  <a:pt x="8952" y="2089"/>
                </a:cubicBezTo>
                <a:cubicBezTo>
                  <a:pt x="8958" y="2081"/>
                  <a:pt x="8942" y="2071"/>
                  <a:pt x="8942" y="2071"/>
                </a:cubicBezTo>
                <a:cubicBezTo>
                  <a:pt x="8945" y="2058"/>
                  <a:pt x="8945" y="2058"/>
                  <a:pt x="8945" y="2058"/>
                </a:cubicBezTo>
                <a:cubicBezTo>
                  <a:pt x="8944" y="2035"/>
                  <a:pt x="8944" y="2035"/>
                  <a:pt x="8944" y="2035"/>
                </a:cubicBezTo>
                <a:cubicBezTo>
                  <a:pt x="8954" y="2037"/>
                  <a:pt x="8954" y="2037"/>
                  <a:pt x="8954" y="2037"/>
                </a:cubicBezTo>
                <a:cubicBezTo>
                  <a:pt x="8962" y="2028"/>
                  <a:pt x="8962" y="2028"/>
                  <a:pt x="8962" y="2028"/>
                </a:cubicBezTo>
                <a:cubicBezTo>
                  <a:pt x="8984" y="2030"/>
                  <a:pt x="8984" y="2030"/>
                  <a:pt x="8984" y="2030"/>
                </a:cubicBezTo>
                <a:cubicBezTo>
                  <a:pt x="8984" y="2030"/>
                  <a:pt x="8983" y="2025"/>
                  <a:pt x="8979" y="2017"/>
                </a:cubicBezTo>
                <a:cubicBezTo>
                  <a:pt x="8975" y="2009"/>
                  <a:pt x="8959" y="2016"/>
                  <a:pt x="8949" y="2016"/>
                </a:cubicBezTo>
                <a:cubicBezTo>
                  <a:pt x="8939" y="2016"/>
                  <a:pt x="8937" y="1998"/>
                  <a:pt x="8937" y="1998"/>
                </a:cubicBezTo>
                <a:cubicBezTo>
                  <a:pt x="8920" y="1980"/>
                  <a:pt x="8920" y="1980"/>
                  <a:pt x="8920" y="1980"/>
                </a:cubicBezTo>
                <a:cubicBezTo>
                  <a:pt x="8921" y="1971"/>
                  <a:pt x="8921" y="1971"/>
                  <a:pt x="8921" y="1971"/>
                </a:cubicBezTo>
                <a:cubicBezTo>
                  <a:pt x="8889" y="1944"/>
                  <a:pt x="8889" y="1944"/>
                  <a:pt x="8889" y="1944"/>
                </a:cubicBezTo>
                <a:cubicBezTo>
                  <a:pt x="8882" y="1941"/>
                  <a:pt x="8882" y="1941"/>
                  <a:pt x="8882" y="1941"/>
                </a:cubicBezTo>
                <a:cubicBezTo>
                  <a:pt x="8882" y="1941"/>
                  <a:pt x="8877" y="1927"/>
                  <a:pt x="8872" y="1919"/>
                </a:cubicBezTo>
                <a:cubicBezTo>
                  <a:pt x="8867" y="1911"/>
                  <a:pt x="8848" y="1907"/>
                  <a:pt x="8848" y="1907"/>
                </a:cubicBezTo>
                <a:cubicBezTo>
                  <a:pt x="8848" y="1892"/>
                  <a:pt x="8848" y="1892"/>
                  <a:pt x="8848" y="1892"/>
                </a:cubicBezTo>
                <a:cubicBezTo>
                  <a:pt x="8848" y="1892"/>
                  <a:pt x="8840" y="1888"/>
                  <a:pt x="8831" y="1877"/>
                </a:cubicBezTo>
                <a:cubicBezTo>
                  <a:pt x="8822" y="1866"/>
                  <a:pt x="8834" y="1852"/>
                  <a:pt x="8829" y="1839"/>
                </a:cubicBezTo>
                <a:cubicBezTo>
                  <a:pt x="8824" y="1826"/>
                  <a:pt x="8803" y="1812"/>
                  <a:pt x="8803" y="1812"/>
                </a:cubicBezTo>
                <a:cubicBezTo>
                  <a:pt x="8803" y="1812"/>
                  <a:pt x="8794" y="1811"/>
                  <a:pt x="8785" y="1806"/>
                </a:cubicBezTo>
                <a:cubicBezTo>
                  <a:pt x="8776" y="1801"/>
                  <a:pt x="8798" y="1780"/>
                  <a:pt x="8798" y="1780"/>
                </a:cubicBezTo>
                <a:cubicBezTo>
                  <a:pt x="8798" y="1780"/>
                  <a:pt x="8813" y="1767"/>
                  <a:pt x="8816" y="1760"/>
                </a:cubicBezTo>
                <a:cubicBezTo>
                  <a:pt x="8819" y="1753"/>
                  <a:pt x="8805" y="1738"/>
                  <a:pt x="8805" y="1738"/>
                </a:cubicBezTo>
                <a:cubicBezTo>
                  <a:pt x="8805" y="1738"/>
                  <a:pt x="8819" y="1744"/>
                  <a:pt x="8822" y="1744"/>
                </a:cubicBezTo>
                <a:cubicBezTo>
                  <a:pt x="8825" y="1744"/>
                  <a:pt x="8837" y="1743"/>
                  <a:pt x="8840" y="1737"/>
                </a:cubicBezTo>
                <a:cubicBezTo>
                  <a:pt x="8843" y="1731"/>
                  <a:pt x="8846" y="1737"/>
                  <a:pt x="8858" y="1735"/>
                </a:cubicBezTo>
                <a:cubicBezTo>
                  <a:pt x="8870" y="1733"/>
                  <a:pt x="8853" y="1720"/>
                  <a:pt x="8853" y="1720"/>
                </a:cubicBezTo>
                <a:cubicBezTo>
                  <a:pt x="8853" y="1720"/>
                  <a:pt x="8869" y="1721"/>
                  <a:pt x="8872" y="1721"/>
                </a:cubicBezTo>
                <a:cubicBezTo>
                  <a:pt x="8874" y="1721"/>
                  <a:pt x="8873" y="1711"/>
                  <a:pt x="8872" y="1708"/>
                </a:cubicBezTo>
                <a:cubicBezTo>
                  <a:pt x="8873" y="1708"/>
                  <a:pt x="8874" y="1709"/>
                  <a:pt x="8874" y="1709"/>
                </a:cubicBezTo>
                <a:cubicBezTo>
                  <a:pt x="8881" y="1699"/>
                  <a:pt x="8881" y="1699"/>
                  <a:pt x="8881" y="1699"/>
                </a:cubicBezTo>
                <a:cubicBezTo>
                  <a:pt x="8881" y="1699"/>
                  <a:pt x="8890" y="1701"/>
                  <a:pt x="8897" y="1694"/>
                </a:cubicBezTo>
                <a:cubicBezTo>
                  <a:pt x="8903" y="1687"/>
                  <a:pt x="8953" y="1666"/>
                  <a:pt x="8959" y="1669"/>
                </a:cubicBezTo>
                <a:cubicBezTo>
                  <a:pt x="8966" y="1671"/>
                  <a:pt x="8987" y="1687"/>
                  <a:pt x="8997" y="1687"/>
                </a:cubicBezTo>
                <a:cubicBezTo>
                  <a:pt x="9006" y="1687"/>
                  <a:pt x="9014" y="1669"/>
                  <a:pt x="9034" y="1694"/>
                </a:cubicBezTo>
                <a:cubicBezTo>
                  <a:pt x="9054" y="1719"/>
                  <a:pt x="9038" y="1727"/>
                  <a:pt x="9035" y="1735"/>
                </a:cubicBezTo>
                <a:cubicBezTo>
                  <a:pt x="9033" y="1743"/>
                  <a:pt x="9054" y="1759"/>
                  <a:pt x="9061" y="1762"/>
                </a:cubicBezTo>
                <a:cubicBezTo>
                  <a:pt x="9067" y="1765"/>
                  <a:pt x="9078" y="1750"/>
                  <a:pt x="9086" y="1746"/>
                </a:cubicBezTo>
                <a:cubicBezTo>
                  <a:pt x="9094" y="1742"/>
                  <a:pt x="9097" y="1755"/>
                  <a:pt x="9097" y="1763"/>
                </a:cubicBezTo>
                <a:cubicBezTo>
                  <a:pt x="9097" y="1771"/>
                  <a:pt x="9109" y="1781"/>
                  <a:pt x="9109" y="1781"/>
                </a:cubicBezTo>
                <a:cubicBezTo>
                  <a:pt x="9082" y="1782"/>
                  <a:pt x="9082" y="1782"/>
                  <a:pt x="9082" y="1782"/>
                </a:cubicBezTo>
                <a:cubicBezTo>
                  <a:pt x="9082" y="1782"/>
                  <a:pt x="9083" y="1802"/>
                  <a:pt x="9070" y="1793"/>
                </a:cubicBezTo>
                <a:cubicBezTo>
                  <a:pt x="9057" y="1783"/>
                  <a:pt x="9083" y="1770"/>
                  <a:pt x="9083" y="1770"/>
                </a:cubicBezTo>
                <a:cubicBezTo>
                  <a:pt x="9083" y="1770"/>
                  <a:pt x="9035" y="1767"/>
                  <a:pt x="9027" y="1765"/>
                </a:cubicBezTo>
                <a:cubicBezTo>
                  <a:pt x="9019" y="1762"/>
                  <a:pt x="8977" y="1754"/>
                  <a:pt x="8977" y="1754"/>
                </a:cubicBezTo>
                <a:cubicBezTo>
                  <a:pt x="8985" y="1777"/>
                  <a:pt x="8985" y="1777"/>
                  <a:pt x="8985" y="1777"/>
                </a:cubicBezTo>
                <a:cubicBezTo>
                  <a:pt x="8985" y="1777"/>
                  <a:pt x="8969" y="1770"/>
                  <a:pt x="8963" y="1783"/>
                </a:cubicBezTo>
                <a:cubicBezTo>
                  <a:pt x="8958" y="1797"/>
                  <a:pt x="8994" y="1798"/>
                  <a:pt x="8993" y="1806"/>
                </a:cubicBezTo>
                <a:cubicBezTo>
                  <a:pt x="8991" y="1814"/>
                  <a:pt x="8943" y="1789"/>
                  <a:pt x="8938" y="1801"/>
                </a:cubicBezTo>
                <a:cubicBezTo>
                  <a:pt x="8933" y="1813"/>
                  <a:pt x="8966" y="1821"/>
                  <a:pt x="8966" y="1821"/>
                </a:cubicBezTo>
                <a:cubicBezTo>
                  <a:pt x="8966" y="1821"/>
                  <a:pt x="8966" y="1829"/>
                  <a:pt x="8973" y="1837"/>
                </a:cubicBezTo>
                <a:cubicBezTo>
                  <a:pt x="8979" y="1845"/>
                  <a:pt x="8993" y="1861"/>
                  <a:pt x="8993" y="1861"/>
                </a:cubicBezTo>
                <a:cubicBezTo>
                  <a:pt x="8991" y="1875"/>
                  <a:pt x="8991" y="1875"/>
                  <a:pt x="8991" y="1875"/>
                </a:cubicBezTo>
                <a:cubicBezTo>
                  <a:pt x="9014" y="1878"/>
                  <a:pt x="9014" y="1878"/>
                  <a:pt x="9014" y="1878"/>
                </a:cubicBezTo>
                <a:cubicBezTo>
                  <a:pt x="9019" y="1893"/>
                  <a:pt x="9019" y="1893"/>
                  <a:pt x="9019" y="1893"/>
                </a:cubicBezTo>
                <a:cubicBezTo>
                  <a:pt x="9019" y="1893"/>
                  <a:pt x="9054" y="1893"/>
                  <a:pt x="9065" y="1903"/>
                </a:cubicBezTo>
                <a:cubicBezTo>
                  <a:pt x="9075" y="1914"/>
                  <a:pt x="9053" y="1925"/>
                  <a:pt x="9051" y="1935"/>
                </a:cubicBezTo>
                <a:cubicBezTo>
                  <a:pt x="9050" y="1946"/>
                  <a:pt x="9061" y="1947"/>
                  <a:pt x="9061" y="1947"/>
                </a:cubicBezTo>
                <a:cubicBezTo>
                  <a:pt x="9059" y="1953"/>
                  <a:pt x="9073" y="1967"/>
                  <a:pt x="9073" y="1967"/>
                </a:cubicBezTo>
                <a:cubicBezTo>
                  <a:pt x="9073" y="1967"/>
                  <a:pt x="9093" y="1991"/>
                  <a:pt x="9093" y="1995"/>
                </a:cubicBezTo>
                <a:cubicBezTo>
                  <a:pt x="9093" y="1999"/>
                  <a:pt x="9083" y="2010"/>
                  <a:pt x="9083" y="2015"/>
                </a:cubicBezTo>
                <a:cubicBezTo>
                  <a:pt x="9083" y="2021"/>
                  <a:pt x="9099" y="2046"/>
                  <a:pt x="9099" y="2046"/>
                </a:cubicBezTo>
                <a:cubicBezTo>
                  <a:pt x="9119" y="2043"/>
                  <a:pt x="9119" y="2043"/>
                  <a:pt x="9119" y="2043"/>
                </a:cubicBezTo>
                <a:cubicBezTo>
                  <a:pt x="9121" y="2061"/>
                  <a:pt x="9121" y="2061"/>
                  <a:pt x="9121" y="2061"/>
                </a:cubicBezTo>
                <a:cubicBezTo>
                  <a:pt x="9134" y="2067"/>
                  <a:pt x="9134" y="2067"/>
                  <a:pt x="9134" y="2067"/>
                </a:cubicBezTo>
                <a:cubicBezTo>
                  <a:pt x="9134" y="2067"/>
                  <a:pt x="9105" y="2066"/>
                  <a:pt x="9109" y="2075"/>
                </a:cubicBezTo>
                <a:cubicBezTo>
                  <a:pt x="9113" y="2085"/>
                  <a:pt x="9123" y="2079"/>
                  <a:pt x="9130" y="2082"/>
                </a:cubicBezTo>
                <a:cubicBezTo>
                  <a:pt x="9137" y="2085"/>
                  <a:pt x="9149" y="2098"/>
                  <a:pt x="9149" y="2098"/>
                </a:cubicBezTo>
                <a:cubicBezTo>
                  <a:pt x="9153" y="2133"/>
                  <a:pt x="9153" y="2133"/>
                  <a:pt x="9153" y="2133"/>
                </a:cubicBezTo>
                <a:cubicBezTo>
                  <a:pt x="9158" y="2135"/>
                  <a:pt x="9158" y="2135"/>
                  <a:pt x="9158" y="2135"/>
                </a:cubicBezTo>
                <a:cubicBezTo>
                  <a:pt x="9158" y="2135"/>
                  <a:pt x="9155" y="2149"/>
                  <a:pt x="9155" y="2157"/>
                </a:cubicBezTo>
                <a:cubicBezTo>
                  <a:pt x="9155" y="2165"/>
                  <a:pt x="9165" y="2186"/>
                  <a:pt x="9165" y="2186"/>
                </a:cubicBezTo>
                <a:cubicBezTo>
                  <a:pt x="9165" y="2186"/>
                  <a:pt x="9185" y="2212"/>
                  <a:pt x="9173" y="2214"/>
                </a:cubicBezTo>
                <a:close/>
                <a:moveTo>
                  <a:pt x="9387" y="1710"/>
                </a:moveTo>
                <a:cubicBezTo>
                  <a:pt x="9384" y="1716"/>
                  <a:pt x="9370" y="1720"/>
                  <a:pt x="9370" y="1720"/>
                </a:cubicBezTo>
                <a:cubicBezTo>
                  <a:pt x="9370" y="1720"/>
                  <a:pt x="9362" y="1727"/>
                  <a:pt x="9358" y="1731"/>
                </a:cubicBezTo>
                <a:cubicBezTo>
                  <a:pt x="9354" y="1735"/>
                  <a:pt x="9338" y="1730"/>
                  <a:pt x="9335" y="1732"/>
                </a:cubicBezTo>
                <a:cubicBezTo>
                  <a:pt x="9332" y="1734"/>
                  <a:pt x="9332" y="1745"/>
                  <a:pt x="9332" y="1745"/>
                </a:cubicBezTo>
                <a:cubicBezTo>
                  <a:pt x="9332" y="1745"/>
                  <a:pt x="9347" y="1751"/>
                  <a:pt x="9351" y="1752"/>
                </a:cubicBezTo>
                <a:cubicBezTo>
                  <a:pt x="9355" y="1753"/>
                  <a:pt x="9358" y="1762"/>
                  <a:pt x="9352" y="1771"/>
                </a:cubicBezTo>
                <a:cubicBezTo>
                  <a:pt x="9349" y="1775"/>
                  <a:pt x="9352" y="1781"/>
                  <a:pt x="9355" y="1788"/>
                </a:cubicBezTo>
                <a:cubicBezTo>
                  <a:pt x="9359" y="1797"/>
                  <a:pt x="9364" y="1806"/>
                  <a:pt x="9361" y="1811"/>
                </a:cubicBezTo>
                <a:cubicBezTo>
                  <a:pt x="9356" y="1820"/>
                  <a:pt x="9352" y="1825"/>
                  <a:pt x="9352" y="1825"/>
                </a:cubicBezTo>
                <a:cubicBezTo>
                  <a:pt x="9352" y="1825"/>
                  <a:pt x="9340" y="1826"/>
                  <a:pt x="9332" y="1820"/>
                </a:cubicBezTo>
                <a:cubicBezTo>
                  <a:pt x="9324" y="1814"/>
                  <a:pt x="9327" y="1805"/>
                  <a:pt x="9327" y="1805"/>
                </a:cubicBezTo>
                <a:cubicBezTo>
                  <a:pt x="9320" y="1786"/>
                  <a:pt x="9320" y="1786"/>
                  <a:pt x="9320" y="1786"/>
                </a:cubicBezTo>
                <a:cubicBezTo>
                  <a:pt x="9323" y="1773"/>
                  <a:pt x="9323" y="1773"/>
                  <a:pt x="9323" y="1773"/>
                </a:cubicBezTo>
                <a:cubicBezTo>
                  <a:pt x="9325" y="1764"/>
                  <a:pt x="9325" y="1764"/>
                  <a:pt x="9325" y="1764"/>
                </a:cubicBezTo>
                <a:cubicBezTo>
                  <a:pt x="9325" y="1764"/>
                  <a:pt x="9317" y="1749"/>
                  <a:pt x="9310" y="1744"/>
                </a:cubicBezTo>
                <a:cubicBezTo>
                  <a:pt x="9303" y="1739"/>
                  <a:pt x="9302" y="1736"/>
                  <a:pt x="9302" y="1736"/>
                </a:cubicBezTo>
                <a:cubicBezTo>
                  <a:pt x="9293" y="1750"/>
                  <a:pt x="9293" y="1750"/>
                  <a:pt x="9293" y="1750"/>
                </a:cubicBezTo>
                <a:cubicBezTo>
                  <a:pt x="9290" y="1757"/>
                  <a:pt x="9290" y="1757"/>
                  <a:pt x="9290" y="1757"/>
                </a:cubicBezTo>
                <a:cubicBezTo>
                  <a:pt x="9284" y="1770"/>
                  <a:pt x="9284" y="1770"/>
                  <a:pt x="9284" y="1770"/>
                </a:cubicBezTo>
                <a:cubicBezTo>
                  <a:pt x="9284" y="1770"/>
                  <a:pt x="9297" y="1778"/>
                  <a:pt x="9297" y="1787"/>
                </a:cubicBezTo>
                <a:cubicBezTo>
                  <a:pt x="9297" y="1796"/>
                  <a:pt x="9294" y="1795"/>
                  <a:pt x="9294" y="1795"/>
                </a:cubicBezTo>
                <a:cubicBezTo>
                  <a:pt x="9294" y="1795"/>
                  <a:pt x="9295" y="1805"/>
                  <a:pt x="9284" y="1807"/>
                </a:cubicBezTo>
                <a:cubicBezTo>
                  <a:pt x="9273" y="1809"/>
                  <a:pt x="9276" y="1789"/>
                  <a:pt x="9270" y="1787"/>
                </a:cubicBezTo>
                <a:cubicBezTo>
                  <a:pt x="9264" y="1785"/>
                  <a:pt x="9277" y="1771"/>
                  <a:pt x="9277" y="1771"/>
                </a:cubicBezTo>
                <a:cubicBezTo>
                  <a:pt x="9281" y="1753"/>
                  <a:pt x="9281" y="1753"/>
                  <a:pt x="9281" y="1753"/>
                </a:cubicBezTo>
                <a:cubicBezTo>
                  <a:pt x="9281" y="1752"/>
                  <a:pt x="9281" y="1752"/>
                  <a:pt x="9281" y="1752"/>
                </a:cubicBezTo>
                <a:cubicBezTo>
                  <a:pt x="9281" y="1752"/>
                  <a:pt x="9285" y="1740"/>
                  <a:pt x="9286" y="1730"/>
                </a:cubicBezTo>
                <a:cubicBezTo>
                  <a:pt x="9287" y="1720"/>
                  <a:pt x="9306" y="1725"/>
                  <a:pt x="9306" y="1725"/>
                </a:cubicBezTo>
                <a:cubicBezTo>
                  <a:pt x="9311" y="1740"/>
                  <a:pt x="9311" y="1740"/>
                  <a:pt x="9311" y="1740"/>
                </a:cubicBezTo>
                <a:cubicBezTo>
                  <a:pt x="9311" y="1740"/>
                  <a:pt x="9325" y="1734"/>
                  <a:pt x="9327" y="1731"/>
                </a:cubicBezTo>
                <a:cubicBezTo>
                  <a:pt x="9329" y="1728"/>
                  <a:pt x="9313" y="1710"/>
                  <a:pt x="9313" y="1710"/>
                </a:cubicBezTo>
                <a:cubicBezTo>
                  <a:pt x="9323" y="1710"/>
                  <a:pt x="9323" y="1710"/>
                  <a:pt x="9323" y="1710"/>
                </a:cubicBezTo>
                <a:cubicBezTo>
                  <a:pt x="9332" y="1719"/>
                  <a:pt x="9332" y="1719"/>
                  <a:pt x="9332" y="1719"/>
                </a:cubicBezTo>
                <a:cubicBezTo>
                  <a:pt x="9349" y="1718"/>
                  <a:pt x="9349" y="1718"/>
                  <a:pt x="9349" y="1718"/>
                </a:cubicBezTo>
                <a:cubicBezTo>
                  <a:pt x="9349" y="1718"/>
                  <a:pt x="9363" y="1722"/>
                  <a:pt x="9366" y="1718"/>
                </a:cubicBezTo>
                <a:cubicBezTo>
                  <a:pt x="9369" y="1714"/>
                  <a:pt x="9364" y="1710"/>
                  <a:pt x="9360" y="1710"/>
                </a:cubicBezTo>
                <a:cubicBezTo>
                  <a:pt x="9356" y="1710"/>
                  <a:pt x="9348" y="1705"/>
                  <a:pt x="9348" y="1705"/>
                </a:cubicBezTo>
                <a:cubicBezTo>
                  <a:pt x="9348" y="1705"/>
                  <a:pt x="9332" y="1709"/>
                  <a:pt x="9329" y="1699"/>
                </a:cubicBezTo>
                <a:cubicBezTo>
                  <a:pt x="9326" y="1689"/>
                  <a:pt x="9349" y="1691"/>
                  <a:pt x="9349" y="1691"/>
                </a:cubicBezTo>
                <a:cubicBezTo>
                  <a:pt x="9358" y="1683"/>
                  <a:pt x="9358" y="1683"/>
                  <a:pt x="9358" y="1683"/>
                </a:cubicBezTo>
                <a:cubicBezTo>
                  <a:pt x="9358" y="1683"/>
                  <a:pt x="9370" y="1700"/>
                  <a:pt x="9373" y="1700"/>
                </a:cubicBezTo>
                <a:cubicBezTo>
                  <a:pt x="9376" y="1700"/>
                  <a:pt x="9381" y="1694"/>
                  <a:pt x="9381" y="1694"/>
                </a:cubicBezTo>
                <a:cubicBezTo>
                  <a:pt x="9381" y="1694"/>
                  <a:pt x="9390" y="1704"/>
                  <a:pt x="9387" y="1710"/>
                </a:cubicBezTo>
                <a:close/>
                <a:moveTo>
                  <a:pt x="10130" y="1704"/>
                </a:moveTo>
                <a:cubicBezTo>
                  <a:pt x="10125" y="1709"/>
                  <a:pt x="10108" y="1705"/>
                  <a:pt x="10108" y="1705"/>
                </a:cubicBezTo>
                <a:cubicBezTo>
                  <a:pt x="10108" y="1705"/>
                  <a:pt x="10106" y="1711"/>
                  <a:pt x="10101" y="1712"/>
                </a:cubicBezTo>
                <a:cubicBezTo>
                  <a:pt x="10096" y="1713"/>
                  <a:pt x="10085" y="1703"/>
                  <a:pt x="10085" y="1703"/>
                </a:cubicBezTo>
                <a:cubicBezTo>
                  <a:pt x="10065" y="1706"/>
                  <a:pt x="10065" y="1706"/>
                  <a:pt x="10065" y="1706"/>
                </a:cubicBezTo>
                <a:cubicBezTo>
                  <a:pt x="10044" y="1702"/>
                  <a:pt x="10044" y="1702"/>
                  <a:pt x="10044" y="1702"/>
                </a:cubicBezTo>
                <a:cubicBezTo>
                  <a:pt x="10032" y="1703"/>
                  <a:pt x="10032" y="1703"/>
                  <a:pt x="10032" y="1703"/>
                </a:cubicBezTo>
                <a:cubicBezTo>
                  <a:pt x="10015" y="1698"/>
                  <a:pt x="10015" y="1698"/>
                  <a:pt x="10015" y="1698"/>
                </a:cubicBezTo>
                <a:cubicBezTo>
                  <a:pt x="10015" y="1698"/>
                  <a:pt x="10004" y="1699"/>
                  <a:pt x="9991" y="1699"/>
                </a:cubicBezTo>
                <a:cubicBezTo>
                  <a:pt x="9978" y="1699"/>
                  <a:pt x="9981" y="1693"/>
                  <a:pt x="9981" y="1693"/>
                </a:cubicBezTo>
                <a:cubicBezTo>
                  <a:pt x="9981" y="1693"/>
                  <a:pt x="9973" y="1701"/>
                  <a:pt x="9967" y="1703"/>
                </a:cubicBezTo>
                <a:cubicBezTo>
                  <a:pt x="9961" y="1705"/>
                  <a:pt x="9960" y="1715"/>
                  <a:pt x="9954" y="1723"/>
                </a:cubicBezTo>
                <a:cubicBezTo>
                  <a:pt x="9948" y="1731"/>
                  <a:pt x="9940" y="1728"/>
                  <a:pt x="9940" y="1728"/>
                </a:cubicBezTo>
                <a:cubicBezTo>
                  <a:pt x="9944" y="1746"/>
                  <a:pt x="9944" y="1746"/>
                  <a:pt x="9944" y="1746"/>
                </a:cubicBezTo>
                <a:cubicBezTo>
                  <a:pt x="9936" y="1753"/>
                  <a:pt x="9936" y="1753"/>
                  <a:pt x="9936" y="1753"/>
                </a:cubicBezTo>
                <a:cubicBezTo>
                  <a:pt x="9946" y="1764"/>
                  <a:pt x="9946" y="1764"/>
                  <a:pt x="9946" y="1764"/>
                </a:cubicBezTo>
                <a:cubicBezTo>
                  <a:pt x="9945" y="1781"/>
                  <a:pt x="9945" y="1781"/>
                  <a:pt x="9945" y="1781"/>
                </a:cubicBezTo>
                <a:cubicBezTo>
                  <a:pt x="9941" y="1780"/>
                  <a:pt x="9912" y="1746"/>
                  <a:pt x="9912" y="1746"/>
                </a:cubicBezTo>
                <a:cubicBezTo>
                  <a:pt x="9912" y="1746"/>
                  <a:pt x="9908" y="1731"/>
                  <a:pt x="9908" y="1720"/>
                </a:cubicBezTo>
                <a:cubicBezTo>
                  <a:pt x="9908" y="1709"/>
                  <a:pt x="9926" y="1706"/>
                  <a:pt x="9930" y="1705"/>
                </a:cubicBezTo>
                <a:cubicBezTo>
                  <a:pt x="9934" y="1704"/>
                  <a:pt x="9932" y="1693"/>
                  <a:pt x="9938" y="1687"/>
                </a:cubicBezTo>
                <a:cubicBezTo>
                  <a:pt x="9944" y="1681"/>
                  <a:pt x="9969" y="1687"/>
                  <a:pt x="9973" y="1687"/>
                </a:cubicBezTo>
                <a:cubicBezTo>
                  <a:pt x="9977" y="1687"/>
                  <a:pt x="9985" y="1681"/>
                  <a:pt x="9998" y="1682"/>
                </a:cubicBezTo>
                <a:cubicBezTo>
                  <a:pt x="10011" y="1683"/>
                  <a:pt x="10019" y="1690"/>
                  <a:pt x="10026" y="1691"/>
                </a:cubicBezTo>
                <a:cubicBezTo>
                  <a:pt x="10033" y="1692"/>
                  <a:pt x="10038" y="1695"/>
                  <a:pt x="10051" y="1697"/>
                </a:cubicBezTo>
                <a:cubicBezTo>
                  <a:pt x="10064" y="1699"/>
                  <a:pt x="10060" y="1688"/>
                  <a:pt x="10073" y="1688"/>
                </a:cubicBezTo>
                <a:cubicBezTo>
                  <a:pt x="10086" y="1688"/>
                  <a:pt x="10105" y="1693"/>
                  <a:pt x="10105" y="1693"/>
                </a:cubicBezTo>
                <a:cubicBezTo>
                  <a:pt x="10105" y="1693"/>
                  <a:pt x="10115" y="1684"/>
                  <a:pt x="10129" y="1682"/>
                </a:cubicBezTo>
                <a:cubicBezTo>
                  <a:pt x="10143" y="1680"/>
                  <a:pt x="10135" y="1699"/>
                  <a:pt x="10130" y="1704"/>
                </a:cubicBezTo>
                <a:close/>
                <a:moveTo>
                  <a:pt x="11182" y="1348"/>
                </a:moveTo>
                <a:cubicBezTo>
                  <a:pt x="11182" y="1348"/>
                  <a:pt x="11179" y="1362"/>
                  <a:pt x="11178" y="1365"/>
                </a:cubicBezTo>
                <a:cubicBezTo>
                  <a:pt x="11177" y="1368"/>
                  <a:pt x="11164" y="1375"/>
                  <a:pt x="11164" y="1375"/>
                </a:cubicBezTo>
                <a:cubicBezTo>
                  <a:pt x="11164" y="1375"/>
                  <a:pt x="11152" y="1381"/>
                  <a:pt x="11148" y="1381"/>
                </a:cubicBezTo>
                <a:cubicBezTo>
                  <a:pt x="11143" y="1381"/>
                  <a:pt x="11144" y="1393"/>
                  <a:pt x="11144" y="1393"/>
                </a:cubicBezTo>
                <a:cubicBezTo>
                  <a:pt x="11144" y="1393"/>
                  <a:pt x="11142" y="1386"/>
                  <a:pt x="11122" y="1393"/>
                </a:cubicBezTo>
                <a:cubicBezTo>
                  <a:pt x="11101" y="1399"/>
                  <a:pt x="11130" y="1409"/>
                  <a:pt x="11130" y="1409"/>
                </a:cubicBezTo>
                <a:cubicBezTo>
                  <a:pt x="11130" y="1409"/>
                  <a:pt x="11120" y="1417"/>
                  <a:pt x="11118" y="1426"/>
                </a:cubicBezTo>
                <a:cubicBezTo>
                  <a:pt x="11117" y="1436"/>
                  <a:pt x="11102" y="1427"/>
                  <a:pt x="11102" y="1427"/>
                </a:cubicBezTo>
                <a:cubicBezTo>
                  <a:pt x="11102" y="1427"/>
                  <a:pt x="11099" y="1441"/>
                  <a:pt x="11079" y="1441"/>
                </a:cubicBezTo>
                <a:cubicBezTo>
                  <a:pt x="11058" y="1441"/>
                  <a:pt x="11059" y="1436"/>
                  <a:pt x="11059" y="1436"/>
                </a:cubicBezTo>
                <a:cubicBezTo>
                  <a:pt x="11036" y="1430"/>
                  <a:pt x="11036" y="1430"/>
                  <a:pt x="11036" y="1430"/>
                </a:cubicBezTo>
                <a:cubicBezTo>
                  <a:pt x="11047" y="1424"/>
                  <a:pt x="11047" y="1424"/>
                  <a:pt x="11047" y="1424"/>
                </a:cubicBezTo>
                <a:cubicBezTo>
                  <a:pt x="11069" y="1424"/>
                  <a:pt x="11069" y="1424"/>
                  <a:pt x="11069" y="1424"/>
                </a:cubicBezTo>
                <a:cubicBezTo>
                  <a:pt x="11070" y="1419"/>
                  <a:pt x="11070" y="1419"/>
                  <a:pt x="11070" y="1419"/>
                </a:cubicBezTo>
                <a:cubicBezTo>
                  <a:pt x="11070" y="1419"/>
                  <a:pt x="11086" y="1419"/>
                  <a:pt x="11093" y="1412"/>
                </a:cubicBezTo>
                <a:cubicBezTo>
                  <a:pt x="11099" y="1406"/>
                  <a:pt x="11100" y="1387"/>
                  <a:pt x="11100" y="1387"/>
                </a:cubicBezTo>
                <a:cubicBezTo>
                  <a:pt x="11100" y="1387"/>
                  <a:pt x="11104" y="1386"/>
                  <a:pt x="11113" y="1384"/>
                </a:cubicBezTo>
                <a:cubicBezTo>
                  <a:pt x="11122" y="1382"/>
                  <a:pt x="11122" y="1366"/>
                  <a:pt x="11122" y="1366"/>
                </a:cubicBezTo>
                <a:cubicBezTo>
                  <a:pt x="11122" y="1366"/>
                  <a:pt x="11115" y="1362"/>
                  <a:pt x="11116" y="1356"/>
                </a:cubicBezTo>
                <a:cubicBezTo>
                  <a:pt x="11117" y="1351"/>
                  <a:pt x="11136" y="1334"/>
                  <a:pt x="11136" y="1334"/>
                </a:cubicBezTo>
                <a:cubicBezTo>
                  <a:pt x="11136" y="1323"/>
                  <a:pt x="11136" y="1323"/>
                  <a:pt x="11136" y="1323"/>
                </a:cubicBezTo>
                <a:cubicBezTo>
                  <a:pt x="11150" y="1310"/>
                  <a:pt x="11150" y="1310"/>
                  <a:pt x="11150" y="1310"/>
                </a:cubicBezTo>
                <a:cubicBezTo>
                  <a:pt x="11142" y="1299"/>
                  <a:pt x="11142" y="1299"/>
                  <a:pt x="11142" y="1299"/>
                </a:cubicBezTo>
                <a:cubicBezTo>
                  <a:pt x="11141" y="1246"/>
                  <a:pt x="11141" y="1246"/>
                  <a:pt x="11141" y="1246"/>
                </a:cubicBezTo>
                <a:cubicBezTo>
                  <a:pt x="11141" y="1246"/>
                  <a:pt x="11126" y="1224"/>
                  <a:pt x="11144" y="1219"/>
                </a:cubicBezTo>
                <a:cubicBezTo>
                  <a:pt x="11163" y="1215"/>
                  <a:pt x="11159" y="1240"/>
                  <a:pt x="11159" y="1240"/>
                </a:cubicBezTo>
                <a:cubicBezTo>
                  <a:pt x="11159" y="1240"/>
                  <a:pt x="11168" y="1247"/>
                  <a:pt x="11172" y="1262"/>
                </a:cubicBezTo>
                <a:cubicBezTo>
                  <a:pt x="11177" y="1278"/>
                  <a:pt x="11179" y="1288"/>
                  <a:pt x="11179" y="1288"/>
                </a:cubicBezTo>
                <a:cubicBezTo>
                  <a:pt x="11193" y="1307"/>
                  <a:pt x="11193" y="1307"/>
                  <a:pt x="11193" y="1307"/>
                </a:cubicBezTo>
                <a:cubicBezTo>
                  <a:pt x="11187" y="1318"/>
                  <a:pt x="11187" y="1318"/>
                  <a:pt x="11187" y="1318"/>
                </a:cubicBezTo>
                <a:cubicBezTo>
                  <a:pt x="11187" y="1318"/>
                  <a:pt x="11174" y="1324"/>
                  <a:pt x="11176" y="1331"/>
                </a:cubicBezTo>
                <a:cubicBezTo>
                  <a:pt x="11177" y="1339"/>
                  <a:pt x="11193" y="1330"/>
                  <a:pt x="11193" y="1330"/>
                </a:cubicBezTo>
                <a:cubicBezTo>
                  <a:pt x="11195" y="1341"/>
                  <a:pt x="11195" y="1341"/>
                  <a:pt x="11195" y="1341"/>
                </a:cubicBezTo>
                <a:lnTo>
                  <a:pt x="11182" y="1348"/>
                </a:lnTo>
                <a:close/>
                <a:moveTo>
                  <a:pt x="13036" y="1803"/>
                </a:moveTo>
                <a:cubicBezTo>
                  <a:pt x="13024" y="1842"/>
                  <a:pt x="13024" y="1842"/>
                  <a:pt x="13024" y="1842"/>
                </a:cubicBezTo>
                <a:cubicBezTo>
                  <a:pt x="13033" y="1839"/>
                  <a:pt x="13033" y="1839"/>
                  <a:pt x="13033" y="1839"/>
                </a:cubicBezTo>
                <a:cubicBezTo>
                  <a:pt x="13049" y="1812"/>
                  <a:pt x="13049" y="1812"/>
                  <a:pt x="13049" y="1812"/>
                </a:cubicBezTo>
                <a:lnTo>
                  <a:pt x="13036" y="1803"/>
                </a:lnTo>
                <a:close/>
                <a:moveTo>
                  <a:pt x="12612" y="2401"/>
                </a:moveTo>
                <a:cubicBezTo>
                  <a:pt x="12631" y="2434"/>
                  <a:pt x="12631" y="2434"/>
                  <a:pt x="12631" y="2434"/>
                </a:cubicBezTo>
                <a:cubicBezTo>
                  <a:pt x="12643" y="2428"/>
                  <a:pt x="12643" y="2428"/>
                  <a:pt x="12643" y="2428"/>
                </a:cubicBezTo>
                <a:cubicBezTo>
                  <a:pt x="12643" y="2428"/>
                  <a:pt x="12636" y="2409"/>
                  <a:pt x="12644" y="2413"/>
                </a:cubicBezTo>
                <a:cubicBezTo>
                  <a:pt x="12652" y="2417"/>
                  <a:pt x="12664" y="2438"/>
                  <a:pt x="12664" y="2438"/>
                </a:cubicBezTo>
                <a:cubicBezTo>
                  <a:pt x="12663" y="2463"/>
                  <a:pt x="12663" y="2463"/>
                  <a:pt x="12663" y="2463"/>
                </a:cubicBezTo>
                <a:cubicBezTo>
                  <a:pt x="12651" y="2468"/>
                  <a:pt x="12651" y="2468"/>
                  <a:pt x="12651" y="2468"/>
                </a:cubicBezTo>
                <a:cubicBezTo>
                  <a:pt x="12651" y="2468"/>
                  <a:pt x="12662" y="2515"/>
                  <a:pt x="12672" y="2517"/>
                </a:cubicBezTo>
                <a:cubicBezTo>
                  <a:pt x="12682" y="2519"/>
                  <a:pt x="12680" y="2487"/>
                  <a:pt x="12680" y="2487"/>
                </a:cubicBezTo>
                <a:cubicBezTo>
                  <a:pt x="12701" y="2494"/>
                  <a:pt x="12701" y="2494"/>
                  <a:pt x="12701" y="2494"/>
                </a:cubicBezTo>
                <a:cubicBezTo>
                  <a:pt x="12701" y="2494"/>
                  <a:pt x="12698" y="2521"/>
                  <a:pt x="12702" y="2521"/>
                </a:cubicBezTo>
                <a:cubicBezTo>
                  <a:pt x="12706" y="2521"/>
                  <a:pt x="12720" y="2497"/>
                  <a:pt x="12720" y="2497"/>
                </a:cubicBezTo>
                <a:cubicBezTo>
                  <a:pt x="12720" y="2497"/>
                  <a:pt x="12710" y="2461"/>
                  <a:pt x="12710" y="2450"/>
                </a:cubicBezTo>
                <a:cubicBezTo>
                  <a:pt x="12710" y="2439"/>
                  <a:pt x="12725" y="2430"/>
                  <a:pt x="12725" y="2430"/>
                </a:cubicBezTo>
                <a:cubicBezTo>
                  <a:pt x="12724" y="2418"/>
                  <a:pt x="12701" y="2403"/>
                  <a:pt x="12701" y="2403"/>
                </a:cubicBezTo>
                <a:cubicBezTo>
                  <a:pt x="12701" y="2403"/>
                  <a:pt x="12700" y="2393"/>
                  <a:pt x="12693" y="2390"/>
                </a:cubicBezTo>
                <a:cubicBezTo>
                  <a:pt x="12686" y="2387"/>
                  <a:pt x="12681" y="2389"/>
                  <a:pt x="12681" y="2389"/>
                </a:cubicBezTo>
                <a:cubicBezTo>
                  <a:pt x="12681" y="2389"/>
                  <a:pt x="12660" y="2375"/>
                  <a:pt x="12653" y="2375"/>
                </a:cubicBezTo>
                <a:cubicBezTo>
                  <a:pt x="12646" y="2375"/>
                  <a:pt x="12637" y="2387"/>
                  <a:pt x="12637" y="2387"/>
                </a:cubicBezTo>
                <a:lnTo>
                  <a:pt x="12612" y="2401"/>
                </a:lnTo>
                <a:close/>
                <a:moveTo>
                  <a:pt x="12893" y="2165"/>
                </a:moveTo>
                <a:cubicBezTo>
                  <a:pt x="12901" y="2164"/>
                  <a:pt x="12901" y="2164"/>
                  <a:pt x="12901" y="2164"/>
                </a:cubicBezTo>
                <a:cubicBezTo>
                  <a:pt x="12900" y="2148"/>
                  <a:pt x="12900" y="2148"/>
                  <a:pt x="12900" y="2148"/>
                </a:cubicBezTo>
                <a:cubicBezTo>
                  <a:pt x="12894" y="2146"/>
                  <a:pt x="12894" y="2146"/>
                  <a:pt x="12894" y="2146"/>
                </a:cubicBezTo>
                <a:cubicBezTo>
                  <a:pt x="12884" y="2133"/>
                  <a:pt x="12884" y="2133"/>
                  <a:pt x="12884" y="2133"/>
                </a:cubicBezTo>
                <a:cubicBezTo>
                  <a:pt x="12880" y="2141"/>
                  <a:pt x="12880" y="2141"/>
                  <a:pt x="12880" y="2141"/>
                </a:cubicBezTo>
                <a:cubicBezTo>
                  <a:pt x="12888" y="2150"/>
                  <a:pt x="12888" y="2150"/>
                  <a:pt x="12888" y="2150"/>
                </a:cubicBezTo>
                <a:lnTo>
                  <a:pt x="12893" y="2165"/>
                </a:lnTo>
                <a:close/>
                <a:moveTo>
                  <a:pt x="12653" y="2749"/>
                </a:moveTo>
                <a:cubicBezTo>
                  <a:pt x="12643" y="2759"/>
                  <a:pt x="12634" y="2791"/>
                  <a:pt x="12634" y="2791"/>
                </a:cubicBezTo>
                <a:cubicBezTo>
                  <a:pt x="12647" y="2794"/>
                  <a:pt x="12647" y="2794"/>
                  <a:pt x="12647" y="2794"/>
                </a:cubicBezTo>
                <a:cubicBezTo>
                  <a:pt x="12647" y="2794"/>
                  <a:pt x="12659" y="2773"/>
                  <a:pt x="12655" y="2773"/>
                </a:cubicBezTo>
                <a:cubicBezTo>
                  <a:pt x="12651" y="2773"/>
                  <a:pt x="12667" y="2755"/>
                  <a:pt x="12667" y="2755"/>
                </a:cubicBezTo>
                <a:cubicBezTo>
                  <a:pt x="12667" y="2755"/>
                  <a:pt x="12662" y="2738"/>
                  <a:pt x="12653" y="2749"/>
                </a:cubicBezTo>
                <a:close/>
                <a:moveTo>
                  <a:pt x="12661" y="2713"/>
                </a:moveTo>
                <a:cubicBezTo>
                  <a:pt x="12663" y="2725"/>
                  <a:pt x="12663" y="2725"/>
                  <a:pt x="12663" y="2725"/>
                </a:cubicBezTo>
                <a:cubicBezTo>
                  <a:pt x="12678" y="2725"/>
                  <a:pt x="12678" y="2725"/>
                  <a:pt x="12678" y="2725"/>
                </a:cubicBezTo>
                <a:lnTo>
                  <a:pt x="12661" y="2713"/>
                </a:lnTo>
                <a:close/>
                <a:moveTo>
                  <a:pt x="13004" y="1819"/>
                </a:moveTo>
                <a:cubicBezTo>
                  <a:pt x="12997" y="1813"/>
                  <a:pt x="12992" y="1837"/>
                  <a:pt x="12992" y="1837"/>
                </a:cubicBezTo>
                <a:cubicBezTo>
                  <a:pt x="12992" y="1837"/>
                  <a:pt x="12924" y="1821"/>
                  <a:pt x="12909" y="1810"/>
                </a:cubicBezTo>
                <a:cubicBezTo>
                  <a:pt x="12893" y="1799"/>
                  <a:pt x="12819" y="1741"/>
                  <a:pt x="12809" y="1752"/>
                </a:cubicBezTo>
                <a:cubicBezTo>
                  <a:pt x="12799" y="1763"/>
                  <a:pt x="12841" y="1798"/>
                  <a:pt x="12841" y="1798"/>
                </a:cubicBezTo>
                <a:cubicBezTo>
                  <a:pt x="12843" y="1813"/>
                  <a:pt x="12843" y="1813"/>
                  <a:pt x="12843" y="1813"/>
                </a:cubicBezTo>
                <a:cubicBezTo>
                  <a:pt x="12843" y="1813"/>
                  <a:pt x="12860" y="1824"/>
                  <a:pt x="12860" y="1831"/>
                </a:cubicBezTo>
                <a:cubicBezTo>
                  <a:pt x="12860" y="1838"/>
                  <a:pt x="12853" y="1851"/>
                  <a:pt x="12853" y="1851"/>
                </a:cubicBezTo>
                <a:cubicBezTo>
                  <a:pt x="12853" y="1851"/>
                  <a:pt x="12871" y="1873"/>
                  <a:pt x="12866" y="1874"/>
                </a:cubicBezTo>
                <a:cubicBezTo>
                  <a:pt x="12860" y="1875"/>
                  <a:pt x="12828" y="1866"/>
                  <a:pt x="12823" y="1864"/>
                </a:cubicBezTo>
                <a:cubicBezTo>
                  <a:pt x="12817" y="1863"/>
                  <a:pt x="12838" y="1884"/>
                  <a:pt x="12838" y="1884"/>
                </a:cubicBezTo>
                <a:cubicBezTo>
                  <a:pt x="12821" y="1902"/>
                  <a:pt x="12821" y="1902"/>
                  <a:pt x="12821" y="1902"/>
                </a:cubicBezTo>
                <a:cubicBezTo>
                  <a:pt x="12821" y="1902"/>
                  <a:pt x="12827" y="1914"/>
                  <a:pt x="12830" y="1920"/>
                </a:cubicBezTo>
                <a:cubicBezTo>
                  <a:pt x="12832" y="1925"/>
                  <a:pt x="12859" y="1939"/>
                  <a:pt x="12859" y="1939"/>
                </a:cubicBezTo>
                <a:cubicBezTo>
                  <a:pt x="12859" y="1939"/>
                  <a:pt x="12850" y="1972"/>
                  <a:pt x="12873" y="1971"/>
                </a:cubicBezTo>
                <a:cubicBezTo>
                  <a:pt x="12883" y="1970"/>
                  <a:pt x="12867" y="1952"/>
                  <a:pt x="12879" y="1952"/>
                </a:cubicBezTo>
                <a:cubicBezTo>
                  <a:pt x="12892" y="1952"/>
                  <a:pt x="12902" y="1952"/>
                  <a:pt x="12902" y="1952"/>
                </a:cubicBezTo>
                <a:cubicBezTo>
                  <a:pt x="12906" y="1946"/>
                  <a:pt x="12906" y="1946"/>
                  <a:pt x="12906" y="1946"/>
                </a:cubicBezTo>
                <a:cubicBezTo>
                  <a:pt x="12881" y="1930"/>
                  <a:pt x="12881" y="1930"/>
                  <a:pt x="12881" y="1930"/>
                </a:cubicBezTo>
                <a:cubicBezTo>
                  <a:pt x="12868" y="1930"/>
                  <a:pt x="12868" y="1930"/>
                  <a:pt x="12868" y="1930"/>
                </a:cubicBezTo>
                <a:cubicBezTo>
                  <a:pt x="12868" y="1930"/>
                  <a:pt x="12834" y="1917"/>
                  <a:pt x="12850" y="1910"/>
                </a:cubicBezTo>
                <a:cubicBezTo>
                  <a:pt x="12867" y="1903"/>
                  <a:pt x="12878" y="1920"/>
                  <a:pt x="12878" y="1920"/>
                </a:cubicBezTo>
                <a:cubicBezTo>
                  <a:pt x="12878" y="1920"/>
                  <a:pt x="12892" y="1909"/>
                  <a:pt x="12902" y="1907"/>
                </a:cubicBezTo>
                <a:cubicBezTo>
                  <a:pt x="12911" y="1906"/>
                  <a:pt x="12982" y="1943"/>
                  <a:pt x="12988" y="1939"/>
                </a:cubicBezTo>
                <a:cubicBezTo>
                  <a:pt x="12993" y="1935"/>
                  <a:pt x="12974" y="1896"/>
                  <a:pt x="12992" y="1889"/>
                </a:cubicBezTo>
                <a:cubicBezTo>
                  <a:pt x="13010" y="1882"/>
                  <a:pt x="13008" y="1898"/>
                  <a:pt x="13026" y="1888"/>
                </a:cubicBezTo>
                <a:cubicBezTo>
                  <a:pt x="13044" y="1878"/>
                  <a:pt x="13047" y="1871"/>
                  <a:pt x="13047" y="1871"/>
                </a:cubicBezTo>
                <a:cubicBezTo>
                  <a:pt x="13011" y="1848"/>
                  <a:pt x="13011" y="1848"/>
                  <a:pt x="13011" y="1848"/>
                </a:cubicBezTo>
                <a:cubicBezTo>
                  <a:pt x="13011" y="1848"/>
                  <a:pt x="13011" y="1824"/>
                  <a:pt x="13004" y="1819"/>
                </a:cubicBezTo>
                <a:close/>
                <a:moveTo>
                  <a:pt x="8625" y="4453"/>
                </a:moveTo>
                <a:cubicBezTo>
                  <a:pt x="8617" y="4461"/>
                  <a:pt x="8617" y="4488"/>
                  <a:pt x="8630" y="4486"/>
                </a:cubicBezTo>
                <a:cubicBezTo>
                  <a:pt x="8646" y="4484"/>
                  <a:pt x="8632" y="4445"/>
                  <a:pt x="8625" y="4453"/>
                </a:cubicBezTo>
                <a:close/>
                <a:moveTo>
                  <a:pt x="8607" y="4500"/>
                </a:moveTo>
                <a:cubicBezTo>
                  <a:pt x="8591" y="4500"/>
                  <a:pt x="8601" y="4527"/>
                  <a:pt x="8601" y="4527"/>
                </a:cubicBezTo>
                <a:cubicBezTo>
                  <a:pt x="8601" y="4527"/>
                  <a:pt x="8617" y="4545"/>
                  <a:pt x="8627" y="4543"/>
                </a:cubicBezTo>
                <a:cubicBezTo>
                  <a:pt x="8636" y="4541"/>
                  <a:pt x="8619" y="4521"/>
                  <a:pt x="8619" y="4521"/>
                </a:cubicBezTo>
                <a:cubicBezTo>
                  <a:pt x="8619" y="4521"/>
                  <a:pt x="8623" y="4500"/>
                  <a:pt x="8607" y="4500"/>
                </a:cubicBezTo>
                <a:close/>
                <a:moveTo>
                  <a:pt x="9132" y="4961"/>
                </a:moveTo>
                <a:cubicBezTo>
                  <a:pt x="9132" y="4961"/>
                  <a:pt x="9109" y="4913"/>
                  <a:pt x="9109" y="4907"/>
                </a:cubicBezTo>
                <a:cubicBezTo>
                  <a:pt x="9109" y="4902"/>
                  <a:pt x="9109" y="4892"/>
                  <a:pt x="9109" y="4892"/>
                </a:cubicBezTo>
                <a:cubicBezTo>
                  <a:pt x="9073" y="4851"/>
                  <a:pt x="9073" y="4851"/>
                  <a:pt x="9073" y="4851"/>
                </a:cubicBezTo>
                <a:cubicBezTo>
                  <a:pt x="9052" y="4877"/>
                  <a:pt x="9052" y="4877"/>
                  <a:pt x="9052" y="4877"/>
                </a:cubicBezTo>
                <a:cubicBezTo>
                  <a:pt x="9052" y="4877"/>
                  <a:pt x="9054" y="4900"/>
                  <a:pt x="9049" y="4913"/>
                </a:cubicBezTo>
                <a:cubicBezTo>
                  <a:pt x="9043" y="4925"/>
                  <a:pt x="9025" y="4939"/>
                  <a:pt x="9025" y="4939"/>
                </a:cubicBezTo>
                <a:cubicBezTo>
                  <a:pt x="9025" y="4939"/>
                  <a:pt x="9015" y="4932"/>
                  <a:pt x="9008" y="4939"/>
                </a:cubicBezTo>
                <a:cubicBezTo>
                  <a:pt x="9001" y="4946"/>
                  <a:pt x="9015" y="4966"/>
                  <a:pt x="9006" y="4977"/>
                </a:cubicBezTo>
                <a:cubicBezTo>
                  <a:pt x="8997" y="4987"/>
                  <a:pt x="8992" y="4989"/>
                  <a:pt x="8992" y="4989"/>
                </a:cubicBezTo>
                <a:cubicBezTo>
                  <a:pt x="8992" y="4989"/>
                  <a:pt x="8988" y="4969"/>
                  <a:pt x="8981" y="4975"/>
                </a:cubicBezTo>
                <a:cubicBezTo>
                  <a:pt x="8974" y="4980"/>
                  <a:pt x="8976" y="5010"/>
                  <a:pt x="8976" y="5010"/>
                </a:cubicBezTo>
                <a:cubicBezTo>
                  <a:pt x="8967" y="5037"/>
                  <a:pt x="8967" y="5037"/>
                  <a:pt x="8967" y="5037"/>
                </a:cubicBezTo>
                <a:cubicBezTo>
                  <a:pt x="8962" y="5023"/>
                  <a:pt x="8962" y="5023"/>
                  <a:pt x="8962" y="5023"/>
                </a:cubicBezTo>
                <a:cubicBezTo>
                  <a:pt x="8960" y="5001"/>
                  <a:pt x="8960" y="5001"/>
                  <a:pt x="8960" y="5001"/>
                </a:cubicBezTo>
                <a:cubicBezTo>
                  <a:pt x="8951" y="5023"/>
                  <a:pt x="8951" y="5023"/>
                  <a:pt x="8951" y="5023"/>
                </a:cubicBezTo>
                <a:cubicBezTo>
                  <a:pt x="8953" y="5044"/>
                  <a:pt x="8953" y="5044"/>
                  <a:pt x="8953" y="5044"/>
                </a:cubicBezTo>
                <a:cubicBezTo>
                  <a:pt x="8923" y="5039"/>
                  <a:pt x="8923" y="5039"/>
                  <a:pt x="8923" y="5039"/>
                </a:cubicBezTo>
                <a:cubicBezTo>
                  <a:pt x="8910" y="5058"/>
                  <a:pt x="8910" y="5058"/>
                  <a:pt x="8910" y="5058"/>
                </a:cubicBezTo>
                <a:cubicBezTo>
                  <a:pt x="8871" y="5053"/>
                  <a:pt x="8871" y="5053"/>
                  <a:pt x="8871" y="5053"/>
                </a:cubicBezTo>
                <a:cubicBezTo>
                  <a:pt x="8871" y="5069"/>
                  <a:pt x="8871" y="5069"/>
                  <a:pt x="8871" y="5069"/>
                </a:cubicBezTo>
                <a:cubicBezTo>
                  <a:pt x="8841" y="5065"/>
                  <a:pt x="8841" y="5065"/>
                  <a:pt x="8841" y="5065"/>
                </a:cubicBezTo>
                <a:cubicBezTo>
                  <a:pt x="8825" y="5070"/>
                  <a:pt x="8825" y="5070"/>
                  <a:pt x="8825" y="5070"/>
                </a:cubicBezTo>
                <a:cubicBezTo>
                  <a:pt x="8831" y="5090"/>
                  <a:pt x="8831" y="5090"/>
                  <a:pt x="8831" y="5090"/>
                </a:cubicBezTo>
                <a:cubicBezTo>
                  <a:pt x="8831" y="5090"/>
                  <a:pt x="8818" y="5110"/>
                  <a:pt x="8804" y="5122"/>
                </a:cubicBezTo>
                <a:cubicBezTo>
                  <a:pt x="8790" y="5134"/>
                  <a:pt x="8806" y="5178"/>
                  <a:pt x="8808" y="5200"/>
                </a:cubicBezTo>
                <a:cubicBezTo>
                  <a:pt x="8809" y="5221"/>
                  <a:pt x="8816" y="5287"/>
                  <a:pt x="8816" y="5287"/>
                </a:cubicBezTo>
                <a:cubicBezTo>
                  <a:pt x="8816" y="5287"/>
                  <a:pt x="8792" y="5304"/>
                  <a:pt x="8776" y="5324"/>
                </a:cubicBezTo>
                <a:cubicBezTo>
                  <a:pt x="8760" y="5343"/>
                  <a:pt x="8737" y="5341"/>
                  <a:pt x="8742" y="5407"/>
                </a:cubicBezTo>
                <a:cubicBezTo>
                  <a:pt x="8747" y="5473"/>
                  <a:pt x="8778" y="5510"/>
                  <a:pt x="8778" y="5510"/>
                </a:cubicBezTo>
                <a:cubicBezTo>
                  <a:pt x="8765" y="5526"/>
                  <a:pt x="8765" y="5526"/>
                  <a:pt x="8765" y="5526"/>
                </a:cubicBezTo>
                <a:cubicBezTo>
                  <a:pt x="8765" y="5526"/>
                  <a:pt x="8767" y="5540"/>
                  <a:pt x="8797" y="5568"/>
                </a:cubicBezTo>
                <a:cubicBezTo>
                  <a:pt x="8827" y="5597"/>
                  <a:pt x="8870" y="5561"/>
                  <a:pt x="8870" y="5561"/>
                </a:cubicBezTo>
                <a:cubicBezTo>
                  <a:pt x="8870" y="5561"/>
                  <a:pt x="8878" y="5566"/>
                  <a:pt x="8886" y="5563"/>
                </a:cubicBezTo>
                <a:cubicBezTo>
                  <a:pt x="8893" y="5559"/>
                  <a:pt x="8902" y="5550"/>
                  <a:pt x="8926" y="5527"/>
                </a:cubicBezTo>
                <a:cubicBezTo>
                  <a:pt x="8951" y="5504"/>
                  <a:pt x="8948" y="5460"/>
                  <a:pt x="8948" y="5460"/>
                </a:cubicBezTo>
                <a:cubicBezTo>
                  <a:pt x="8948" y="5460"/>
                  <a:pt x="8965" y="5398"/>
                  <a:pt x="9004" y="5329"/>
                </a:cubicBezTo>
                <a:cubicBezTo>
                  <a:pt x="9043" y="5260"/>
                  <a:pt x="9068" y="5187"/>
                  <a:pt x="9075" y="5163"/>
                </a:cubicBezTo>
                <a:cubicBezTo>
                  <a:pt x="9082" y="5138"/>
                  <a:pt x="9068" y="5124"/>
                  <a:pt x="9070" y="5110"/>
                </a:cubicBezTo>
                <a:cubicBezTo>
                  <a:pt x="9072" y="5096"/>
                  <a:pt x="9095" y="5072"/>
                  <a:pt x="9095" y="5072"/>
                </a:cubicBezTo>
                <a:cubicBezTo>
                  <a:pt x="9091" y="5044"/>
                  <a:pt x="9091" y="5044"/>
                  <a:pt x="9091" y="5044"/>
                </a:cubicBezTo>
                <a:cubicBezTo>
                  <a:pt x="9112" y="5039"/>
                  <a:pt x="9112" y="5039"/>
                  <a:pt x="9112" y="5039"/>
                </a:cubicBezTo>
                <a:cubicBezTo>
                  <a:pt x="9112" y="5039"/>
                  <a:pt x="9132" y="5049"/>
                  <a:pt x="9139" y="5044"/>
                </a:cubicBezTo>
                <a:cubicBezTo>
                  <a:pt x="9146" y="5039"/>
                  <a:pt x="9119" y="4994"/>
                  <a:pt x="9119" y="4994"/>
                </a:cubicBezTo>
                <a:lnTo>
                  <a:pt x="9132" y="4961"/>
                </a:lnTo>
                <a:close/>
              </a:path>
            </a:pathLst>
          </a:custGeom>
          <a:solidFill>
            <a:srgbClr val="D8D8D8"/>
          </a:solidFill>
          <a:ln>
            <a:noFill/>
          </a:ln>
        </p:spPr>
        <p:txBody>
          <a:bodyPr anchorCtr="0" anchor="t" bIns="45700" lIns="91425" spcFirstLastPara="1" rIns="91425" wrap="square" tIns="45700">
            <a:noAutofit/>
          </a:bodyPr>
          <a:lstStyle/>
          <a:p>
            <a:pPr indent="0" lvl="0" marL="0" marR="0" rtl="0" algn="l">
              <a:spcBef>
                <a:spcPts val="0"/>
              </a:spcBef>
              <a:spcAft>
                <a:spcPts val="0"/>
              </a:spcAft>
              <a:buNone/>
            </a:pPr>
            <a:r>
              <a:t/>
            </a:r>
            <a:endParaRPr sz="1800">
              <a:solidFill>
                <a:schemeClr val="dk1"/>
              </a:solidFill>
              <a:latin typeface="Calibri"/>
              <a:ea typeface="Calibri"/>
              <a:cs typeface="Calibri"/>
              <a:sym typeface="Calibri"/>
            </a:endParaRPr>
          </a:p>
        </p:txBody>
      </p:sp>
      <p:sp>
        <p:nvSpPr>
          <p:cNvPr id="128" name="Google Shape;128;p21"/>
          <p:cNvSpPr/>
          <p:nvPr/>
        </p:nvSpPr>
        <p:spPr>
          <a:xfrm>
            <a:off x="5037600" y="1077250"/>
            <a:ext cx="981000" cy="999900"/>
          </a:xfrm>
          <a:prstGeom prst="ellipse">
            <a:avLst/>
          </a:prstGeom>
          <a:solidFill>
            <a:schemeClr val="dk2">
              <a:alpha val="80000"/>
            </a:schemeClr>
          </a:solidFill>
          <a:ln>
            <a:noFill/>
          </a:ln>
        </p:spPr>
        <p:txBody>
          <a:bodyPr anchorCtr="0" anchor="ctr" bIns="0" lIns="0" spcFirstLastPara="1" rIns="0" wrap="square" tIns="0">
            <a:noAutofit/>
          </a:bodyPr>
          <a:lstStyle/>
          <a:p>
            <a:pPr indent="0" lvl="0" marL="0" marR="0" rtl="0" algn="ctr">
              <a:spcBef>
                <a:spcPts val="0"/>
              </a:spcBef>
              <a:spcAft>
                <a:spcPts val="0"/>
              </a:spcAft>
              <a:buNone/>
            </a:pPr>
            <a:r>
              <a:rPr b="1" lang="en-US" sz="1000">
                <a:solidFill>
                  <a:schemeClr val="lt1"/>
                </a:solidFill>
              </a:rPr>
              <a:t>GREAT BRITAIN</a:t>
            </a:r>
            <a:endParaRPr sz="1000"/>
          </a:p>
        </p:txBody>
      </p:sp>
      <p:sp>
        <p:nvSpPr>
          <p:cNvPr id="129" name="Google Shape;129;p21"/>
          <p:cNvSpPr/>
          <p:nvPr/>
        </p:nvSpPr>
        <p:spPr>
          <a:xfrm>
            <a:off x="203214" y="1194756"/>
            <a:ext cx="1790100" cy="1790100"/>
          </a:xfrm>
          <a:prstGeom prst="ellipse">
            <a:avLst/>
          </a:prstGeom>
          <a:solidFill>
            <a:schemeClr val="accent2">
              <a:alpha val="80000"/>
            </a:schemeClr>
          </a:solidFill>
          <a:ln>
            <a:noFill/>
          </a:ln>
        </p:spPr>
        <p:txBody>
          <a:bodyPr anchorCtr="0" anchor="ctr" bIns="0" lIns="0" spcFirstLastPara="1" rIns="0" wrap="square" tIns="0">
            <a:noAutofit/>
          </a:bodyPr>
          <a:lstStyle/>
          <a:p>
            <a:pPr indent="0" lvl="0" marL="0" marR="0" rtl="0" algn="ctr">
              <a:spcBef>
                <a:spcPts val="0"/>
              </a:spcBef>
              <a:spcAft>
                <a:spcPts val="0"/>
              </a:spcAft>
              <a:buNone/>
            </a:pPr>
            <a:r>
              <a:rPr b="1" lang="en-US">
                <a:solidFill>
                  <a:schemeClr val="lt1"/>
                </a:solidFill>
              </a:rPr>
              <a:t>US &amp; CANADA</a:t>
            </a:r>
            <a:endParaRPr/>
          </a:p>
        </p:txBody>
      </p:sp>
      <p:sp>
        <p:nvSpPr>
          <p:cNvPr id="130" name="Google Shape;130;p21"/>
          <p:cNvSpPr/>
          <p:nvPr/>
        </p:nvSpPr>
        <p:spPr>
          <a:xfrm>
            <a:off x="4419750" y="1575325"/>
            <a:ext cx="981000" cy="940200"/>
          </a:xfrm>
          <a:prstGeom prst="ellipse">
            <a:avLst/>
          </a:prstGeom>
          <a:solidFill>
            <a:schemeClr val="accent5">
              <a:alpha val="80000"/>
            </a:schemeClr>
          </a:solidFill>
          <a:ln>
            <a:noFill/>
          </a:ln>
        </p:spPr>
        <p:txBody>
          <a:bodyPr anchorCtr="0" anchor="ctr" bIns="0" lIns="0" spcFirstLastPara="1" rIns="0" wrap="square" tIns="0">
            <a:noAutofit/>
          </a:bodyPr>
          <a:lstStyle/>
          <a:p>
            <a:pPr indent="0" lvl="0" marL="0" marR="0" rtl="0" algn="ctr">
              <a:spcBef>
                <a:spcPts val="0"/>
              </a:spcBef>
              <a:spcAft>
                <a:spcPts val="0"/>
              </a:spcAft>
              <a:buNone/>
            </a:pPr>
            <a:r>
              <a:rPr b="1" lang="en-US" sz="1000">
                <a:solidFill>
                  <a:schemeClr val="lt1"/>
                </a:solidFill>
              </a:rPr>
              <a:t>GERMANY</a:t>
            </a:r>
            <a:endParaRPr sz="1000"/>
          </a:p>
        </p:txBody>
      </p:sp>
      <p:sp>
        <p:nvSpPr>
          <p:cNvPr id="131" name="Google Shape;131;p21"/>
          <p:cNvSpPr/>
          <p:nvPr/>
        </p:nvSpPr>
        <p:spPr>
          <a:xfrm>
            <a:off x="9253225" y="1287375"/>
            <a:ext cx="831600" cy="831600"/>
          </a:xfrm>
          <a:prstGeom prst="ellipse">
            <a:avLst/>
          </a:prstGeom>
          <a:solidFill>
            <a:schemeClr val="accent4">
              <a:alpha val="80000"/>
            </a:schemeClr>
          </a:solidFill>
          <a:ln>
            <a:noFill/>
          </a:ln>
        </p:spPr>
        <p:txBody>
          <a:bodyPr anchorCtr="0" anchor="ctr" bIns="0" lIns="0" spcFirstLastPara="1" rIns="0" wrap="square" tIns="0">
            <a:noAutofit/>
          </a:bodyPr>
          <a:lstStyle/>
          <a:p>
            <a:pPr indent="0" lvl="0" marL="0" marR="0" rtl="0" algn="ctr">
              <a:spcBef>
                <a:spcPts val="0"/>
              </a:spcBef>
              <a:spcAft>
                <a:spcPts val="0"/>
              </a:spcAft>
              <a:buNone/>
            </a:pPr>
            <a:r>
              <a:rPr b="1" lang="en-US" sz="1000">
                <a:solidFill>
                  <a:schemeClr val="lt1"/>
                </a:solidFill>
              </a:rPr>
              <a:t>RUSSIA</a:t>
            </a:r>
            <a:endParaRPr b="1" sz="1000">
              <a:solidFill>
                <a:schemeClr val="lt1"/>
              </a:solidFill>
            </a:endParaRPr>
          </a:p>
        </p:txBody>
      </p:sp>
      <p:sp>
        <p:nvSpPr>
          <p:cNvPr id="132" name="Google Shape;132;p21"/>
          <p:cNvSpPr txBox="1"/>
          <p:nvPr>
            <p:ph type="title"/>
          </p:nvPr>
        </p:nvSpPr>
        <p:spPr>
          <a:xfrm>
            <a:off x="838200" y="365125"/>
            <a:ext cx="10515600" cy="480131"/>
          </a:xfrm>
          <a:prstGeom prst="rect">
            <a:avLst/>
          </a:prstGeom>
          <a:noFill/>
          <a:ln>
            <a:noFill/>
          </a:ln>
        </p:spPr>
        <p:txBody>
          <a:bodyPr anchorCtr="0" anchor="t" bIns="45700" lIns="0" spcFirstLastPara="1" rIns="0" wrap="square" tIns="45700">
            <a:spAutoFit/>
          </a:bodyPr>
          <a:lstStyle/>
          <a:p>
            <a:pPr indent="0" lvl="0" marL="0" rtl="0" algn="l">
              <a:lnSpc>
                <a:spcPct val="90000"/>
              </a:lnSpc>
              <a:spcBef>
                <a:spcPts val="0"/>
              </a:spcBef>
              <a:spcAft>
                <a:spcPts val="0"/>
              </a:spcAft>
              <a:buClr>
                <a:srgbClr val="C5093B"/>
              </a:buClr>
              <a:buSzPts val="2800"/>
              <a:buFont typeface="Arial"/>
              <a:buNone/>
            </a:pPr>
            <a:r>
              <a:rPr lang="en-US"/>
              <a:t>Demographics of our subscribers</a:t>
            </a:r>
            <a:endParaRPr/>
          </a:p>
        </p:txBody>
      </p:sp>
      <p:sp>
        <p:nvSpPr>
          <p:cNvPr id="133" name="Google Shape;133;p21"/>
          <p:cNvSpPr txBox="1"/>
          <p:nvPr>
            <p:ph idx="11" type="ftr"/>
          </p:nvPr>
        </p:nvSpPr>
        <p:spPr>
          <a:xfrm>
            <a:off x="7928904" y="6513308"/>
            <a:ext cx="4114800" cy="365125"/>
          </a:xfrm>
          <a:prstGeom prst="rect">
            <a:avLst/>
          </a:prstGeom>
          <a:noFill/>
          <a:ln>
            <a:noFill/>
          </a:ln>
        </p:spPr>
        <p:txBody>
          <a:bodyPr anchorCtr="0" anchor="ctr" bIns="45700" lIns="91425" spcFirstLastPara="1" rIns="91425" wrap="square" tIns="45700">
            <a:noAutofit/>
          </a:bodyPr>
          <a:lstStyle/>
          <a:p>
            <a:pPr indent="0" lvl="0" marL="0" rtl="0" algn="r">
              <a:spcBef>
                <a:spcPts val="0"/>
              </a:spcBef>
              <a:spcAft>
                <a:spcPts val="0"/>
              </a:spcAft>
              <a:buNone/>
            </a:pPr>
            <a:r>
              <a:rPr lang="en-US"/>
              <a:t>Name of Initiative</a:t>
            </a:r>
            <a:endParaRPr/>
          </a:p>
        </p:txBody>
      </p:sp>
      <p:sp>
        <p:nvSpPr>
          <p:cNvPr id="134" name="Google Shape;134;p21"/>
          <p:cNvSpPr txBox="1"/>
          <p:nvPr>
            <p:ph idx="12" type="sldNum"/>
          </p:nvPr>
        </p:nvSpPr>
        <p:spPr>
          <a:xfrm>
            <a:off x="9300504" y="6126298"/>
            <a:ext cx="2743200" cy="365125"/>
          </a:xfrm>
          <a:prstGeom prst="rect">
            <a:avLst/>
          </a:prstGeom>
          <a:noFill/>
          <a:ln>
            <a:noFill/>
          </a:ln>
        </p:spPr>
        <p:txBody>
          <a:bodyPr anchorCtr="0" anchor="ctr"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
        <p:nvSpPr>
          <p:cNvPr id="135" name="Google Shape;135;p21"/>
          <p:cNvSpPr/>
          <p:nvPr/>
        </p:nvSpPr>
        <p:spPr>
          <a:xfrm>
            <a:off x="5361375" y="1899725"/>
            <a:ext cx="603900" cy="615900"/>
          </a:xfrm>
          <a:prstGeom prst="ellipse">
            <a:avLst/>
          </a:prstGeom>
          <a:solidFill>
            <a:schemeClr val="dk2">
              <a:alpha val="80000"/>
            </a:schemeClr>
          </a:solidFill>
          <a:ln>
            <a:noFill/>
          </a:ln>
        </p:spPr>
        <p:txBody>
          <a:bodyPr anchorCtr="0" anchor="ctr" bIns="0" lIns="0" spcFirstLastPara="1" rIns="0" wrap="square" tIns="0">
            <a:noAutofit/>
          </a:bodyPr>
          <a:lstStyle/>
          <a:p>
            <a:pPr indent="0" lvl="0" marL="0" marR="0" rtl="0" algn="ctr">
              <a:spcBef>
                <a:spcPts val="0"/>
              </a:spcBef>
              <a:spcAft>
                <a:spcPts val="0"/>
              </a:spcAft>
              <a:buNone/>
            </a:pPr>
            <a:r>
              <a:rPr b="1" lang="en-US" sz="800">
                <a:solidFill>
                  <a:schemeClr val="lt1"/>
                </a:solidFill>
              </a:rPr>
              <a:t>FRA</a:t>
            </a:r>
            <a:r>
              <a:rPr b="1" lang="en-US" sz="800">
                <a:solidFill>
                  <a:schemeClr val="lt1"/>
                </a:solidFill>
              </a:rPr>
              <a:t>NCE</a:t>
            </a:r>
            <a:endParaRPr sz="800"/>
          </a:p>
        </p:txBody>
      </p:sp>
      <p:sp>
        <p:nvSpPr>
          <p:cNvPr id="136" name="Google Shape;136;p21"/>
          <p:cNvSpPr/>
          <p:nvPr/>
        </p:nvSpPr>
        <p:spPr>
          <a:xfrm>
            <a:off x="8801250" y="2118975"/>
            <a:ext cx="603900" cy="578700"/>
          </a:xfrm>
          <a:prstGeom prst="ellipse">
            <a:avLst/>
          </a:prstGeom>
          <a:solidFill>
            <a:schemeClr val="accent5">
              <a:alpha val="80000"/>
            </a:schemeClr>
          </a:solidFill>
          <a:ln>
            <a:noFill/>
          </a:ln>
        </p:spPr>
        <p:txBody>
          <a:bodyPr anchorCtr="0" anchor="ctr" bIns="0" lIns="0" spcFirstLastPara="1" rIns="0" wrap="square" tIns="0">
            <a:noAutofit/>
          </a:bodyPr>
          <a:lstStyle/>
          <a:p>
            <a:pPr indent="0" lvl="0" marL="0" marR="0" rtl="0" algn="ctr">
              <a:spcBef>
                <a:spcPts val="0"/>
              </a:spcBef>
              <a:spcAft>
                <a:spcPts val="0"/>
              </a:spcAft>
              <a:buNone/>
            </a:pPr>
            <a:r>
              <a:rPr b="1" lang="en-US" sz="1000">
                <a:solidFill>
                  <a:schemeClr val="lt1"/>
                </a:solidFill>
              </a:rPr>
              <a:t>CHINA</a:t>
            </a:r>
            <a:endParaRPr sz="1000"/>
          </a:p>
        </p:txBody>
      </p:sp>
      <p:sp>
        <p:nvSpPr>
          <p:cNvPr id="137" name="Google Shape;137;p21"/>
          <p:cNvSpPr/>
          <p:nvPr/>
        </p:nvSpPr>
        <p:spPr>
          <a:xfrm>
            <a:off x="10630150" y="2217550"/>
            <a:ext cx="381000" cy="365100"/>
          </a:xfrm>
          <a:prstGeom prst="ellipse">
            <a:avLst/>
          </a:prstGeom>
          <a:solidFill>
            <a:schemeClr val="accent5">
              <a:alpha val="80000"/>
            </a:schemeClr>
          </a:solidFill>
          <a:ln>
            <a:noFill/>
          </a:ln>
        </p:spPr>
        <p:txBody>
          <a:bodyPr anchorCtr="0" anchor="ctr" bIns="0" lIns="0" spcFirstLastPara="1" rIns="0" wrap="square" tIns="0">
            <a:noAutofit/>
          </a:bodyPr>
          <a:lstStyle/>
          <a:p>
            <a:pPr indent="0" lvl="0" marL="0" marR="0" rtl="0" algn="l">
              <a:spcBef>
                <a:spcPts val="0"/>
              </a:spcBef>
              <a:spcAft>
                <a:spcPts val="0"/>
              </a:spcAft>
              <a:buNone/>
            </a:pPr>
            <a:r>
              <a:rPr b="1" lang="en-US" sz="600">
                <a:solidFill>
                  <a:schemeClr val="lt1"/>
                </a:solidFill>
              </a:rPr>
              <a:t>JAPAN</a:t>
            </a:r>
            <a:endParaRPr sz="600"/>
          </a:p>
        </p:txBody>
      </p:sp>
      <p:sp>
        <p:nvSpPr>
          <p:cNvPr id="138" name="Google Shape;138;p21"/>
          <p:cNvSpPr/>
          <p:nvPr/>
        </p:nvSpPr>
        <p:spPr>
          <a:xfrm>
            <a:off x="10707541" y="4890455"/>
            <a:ext cx="303600" cy="303600"/>
          </a:xfrm>
          <a:prstGeom prst="ellipse">
            <a:avLst/>
          </a:prstGeom>
          <a:solidFill>
            <a:schemeClr val="accent2">
              <a:alpha val="80000"/>
            </a:schemeClr>
          </a:solidFill>
          <a:ln>
            <a:noFill/>
          </a:ln>
        </p:spPr>
        <p:txBody>
          <a:bodyPr anchorCtr="0" anchor="ctr" bIns="0" lIns="0" spcFirstLastPara="1" rIns="0" wrap="square" tIns="0">
            <a:noAutofit/>
          </a:bodyPr>
          <a:lstStyle/>
          <a:p>
            <a:pPr indent="0" lvl="0" marL="0" marR="0" rtl="0" algn="ctr">
              <a:spcBef>
                <a:spcPts val="0"/>
              </a:spcBef>
              <a:spcAft>
                <a:spcPts val="0"/>
              </a:spcAft>
              <a:buNone/>
            </a:pPr>
            <a:r>
              <a:rPr b="1" lang="en-US" sz="600">
                <a:solidFill>
                  <a:schemeClr val="lt1"/>
                </a:solidFill>
              </a:rPr>
              <a:t>AUS</a:t>
            </a:r>
            <a:endParaRPr sz="600"/>
          </a:p>
        </p:txBody>
      </p:sp>
    </p:spTree>
  </p:cSld>
  <p:clrMapOvr>
    <a:masterClrMapping/>
  </p:clrMapOvr>
  <p:timing>
    <p:tnLst>
      <p:par>
        <p:cTn dur="indefinite" nodeType="tmRoot" restart="never">
          <p:childTnLst>
            <p:seq concurrent="1" nextAc="seek">
              <p:cTn dur="indefinite" id="2" nodeType="mainSeq">
                <p:childTnLst>
                  <p:par>
                    <p:cTn fill="hold">
                      <p:stCondLst>
                        <p:cond delay="indefinite"/>
                        <p:cond evt="onBegin" delay="0">
                          <p:tn val="2"/>
                        </p:cond>
                      </p:stCondLst>
                      <p:childTnLst>
                        <p:par>
                          <p:cTn fill="hold">
                            <p:stCondLst>
                              <p:cond delay="0"/>
                            </p:stCondLst>
                            <p:childTnLst>
                              <p:par>
                                <p:cTn fill="hold" nodeType="afterEffect" presetClass="entr" presetID="10" presetSubtype="0">
                                  <p:stCondLst>
                                    <p:cond delay="0"/>
                                  </p:stCondLst>
                                  <p:childTnLst>
                                    <p:set>
                                      <p:cBhvr>
                                        <p:cTn dur="1" fill="hold">
                                          <p:stCondLst>
                                            <p:cond delay="0"/>
                                          </p:stCondLst>
                                        </p:cTn>
                                        <p:tgtEl>
                                          <p:spTgt spid="129"/>
                                        </p:tgtEl>
                                        <p:attrNameLst>
                                          <p:attrName>style.visibility</p:attrName>
                                        </p:attrNameLst>
                                      </p:cBhvr>
                                      <p:to>
                                        <p:strVal val="visible"/>
                                      </p:to>
                                    </p:set>
                                    <p:animEffect filter="fade" transition="in">
                                      <p:cBhvr>
                                        <p:cTn dur="500"/>
                                        <p:tgtEl>
                                          <p:spTgt spid="129"/>
                                        </p:tgtEl>
                                      </p:cBhvr>
                                    </p:animEffect>
                                  </p:childTnLst>
                                </p:cTn>
                              </p:par>
                            </p:childTnLst>
                          </p:cTn>
                        </p:par>
                        <p:par>
                          <p:cTn fill="hold">
                            <p:stCondLst>
                              <p:cond delay="500"/>
                            </p:stCondLst>
                            <p:childTnLst>
                              <p:par>
                                <p:cTn fill="hold" nodeType="afterEffect" presetClass="entr" presetID="10" presetSubtype="0">
                                  <p:stCondLst>
                                    <p:cond delay="0"/>
                                  </p:stCondLst>
                                  <p:childTnLst>
                                    <p:set>
                                      <p:cBhvr>
                                        <p:cTn dur="1" fill="hold">
                                          <p:stCondLst>
                                            <p:cond delay="0"/>
                                          </p:stCondLst>
                                        </p:cTn>
                                        <p:tgtEl>
                                          <p:spTgt spid="130"/>
                                        </p:tgtEl>
                                        <p:attrNameLst>
                                          <p:attrName>style.visibility</p:attrName>
                                        </p:attrNameLst>
                                      </p:cBhvr>
                                      <p:to>
                                        <p:strVal val="visible"/>
                                      </p:to>
                                    </p:set>
                                    <p:animEffect filter="fade" transition="in">
                                      <p:cBhvr>
                                        <p:cTn dur="500"/>
                                        <p:tgtEl>
                                          <p:spTgt spid="130"/>
                                        </p:tgtEl>
                                      </p:cBhvr>
                                    </p:animEffect>
                                  </p:childTnLst>
                                </p:cTn>
                              </p:par>
                            </p:childTnLst>
                          </p:cTn>
                        </p:par>
                        <p:par>
                          <p:cTn fill="hold">
                            <p:stCondLst>
                              <p:cond delay="1000"/>
                            </p:stCondLst>
                            <p:childTnLst>
                              <p:par>
                                <p:cTn fill="hold" nodeType="afterEffect" presetClass="entr" presetID="10" presetSubtype="0">
                                  <p:stCondLst>
                                    <p:cond delay="0"/>
                                  </p:stCondLst>
                                  <p:childTnLst>
                                    <p:set>
                                      <p:cBhvr>
                                        <p:cTn dur="1" fill="hold">
                                          <p:stCondLst>
                                            <p:cond delay="0"/>
                                          </p:stCondLst>
                                        </p:cTn>
                                        <p:tgtEl>
                                          <p:spTgt spid="135"/>
                                        </p:tgtEl>
                                        <p:attrNameLst>
                                          <p:attrName>style.visibility</p:attrName>
                                        </p:attrNameLst>
                                      </p:cBhvr>
                                      <p:to>
                                        <p:strVal val="visible"/>
                                      </p:to>
                                    </p:set>
                                    <p:animEffect filter="fade" transition="in">
                                      <p:cBhvr>
                                        <p:cTn dur="400"/>
                                        <p:tgtEl>
                                          <p:spTgt spid="135"/>
                                        </p:tgtEl>
                                      </p:cBhvr>
                                    </p:animEffect>
                                  </p:childTnLst>
                                </p:cTn>
                              </p:par>
                            </p:childTnLst>
                          </p:cTn>
                        </p:par>
                        <p:par>
                          <p:cTn fill="hold">
                            <p:stCondLst>
                              <p:cond delay="1400"/>
                            </p:stCondLst>
                            <p:childTnLst>
                              <p:par>
                                <p:cTn fill="hold" nodeType="afterEffect" presetClass="entr" presetID="10" presetSubtype="0">
                                  <p:stCondLst>
                                    <p:cond delay="0"/>
                                  </p:stCondLst>
                                  <p:childTnLst>
                                    <p:set>
                                      <p:cBhvr>
                                        <p:cTn dur="1" fill="hold">
                                          <p:stCondLst>
                                            <p:cond delay="0"/>
                                          </p:stCondLst>
                                        </p:cTn>
                                        <p:tgtEl>
                                          <p:spTgt spid="128"/>
                                        </p:tgtEl>
                                        <p:attrNameLst>
                                          <p:attrName>style.visibility</p:attrName>
                                        </p:attrNameLst>
                                      </p:cBhvr>
                                      <p:to>
                                        <p:strVal val="visible"/>
                                      </p:to>
                                    </p:set>
                                    <p:animEffect filter="fade" transition="in">
                                      <p:cBhvr>
                                        <p:cTn dur="500"/>
                                        <p:tgtEl>
                                          <p:spTgt spid="128"/>
                                        </p:tgtEl>
                                      </p:cBhvr>
                                    </p:animEffect>
                                  </p:childTnLst>
                                </p:cTn>
                              </p:par>
                            </p:childTnLst>
                          </p:cTn>
                        </p:par>
                        <p:par>
                          <p:cTn fill="hold">
                            <p:stCondLst>
                              <p:cond delay="1900"/>
                            </p:stCondLst>
                            <p:childTnLst>
                              <p:par>
                                <p:cTn fill="hold" nodeType="afterEffect" presetClass="entr" presetID="10" presetSubtype="0">
                                  <p:stCondLst>
                                    <p:cond delay="0"/>
                                  </p:stCondLst>
                                  <p:childTnLst>
                                    <p:set>
                                      <p:cBhvr>
                                        <p:cTn dur="1" fill="hold">
                                          <p:stCondLst>
                                            <p:cond delay="0"/>
                                          </p:stCondLst>
                                        </p:cTn>
                                        <p:tgtEl>
                                          <p:spTgt spid="136"/>
                                        </p:tgtEl>
                                        <p:attrNameLst>
                                          <p:attrName>style.visibility</p:attrName>
                                        </p:attrNameLst>
                                      </p:cBhvr>
                                      <p:to>
                                        <p:strVal val="visible"/>
                                      </p:to>
                                    </p:set>
                                    <p:animEffect filter="fade" transition="in">
                                      <p:cBhvr>
                                        <p:cTn dur="400"/>
                                        <p:tgtEl>
                                          <p:spTgt spid="136"/>
                                        </p:tgtEl>
                                      </p:cBhvr>
                                    </p:animEffect>
                                  </p:childTnLst>
                                </p:cTn>
                              </p:par>
                            </p:childTnLst>
                          </p:cTn>
                        </p:par>
                        <p:par>
                          <p:cTn fill="hold">
                            <p:stCondLst>
                              <p:cond delay="2300"/>
                            </p:stCondLst>
                            <p:childTnLst>
                              <p:par>
                                <p:cTn fill="hold" nodeType="afterEffect" presetClass="entr" presetID="10" presetSubtype="0">
                                  <p:stCondLst>
                                    <p:cond delay="0"/>
                                  </p:stCondLst>
                                  <p:childTnLst>
                                    <p:set>
                                      <p:cBhvr>
                                        <p:cTn dur="1" fill="hold">
                                          <p:stCondLst>
                                            <p:cond delay="0"/>
                                          </p:stCondLst>
                                        </p:cTn>
                                        <p:tgtEl>
                                          <p:spTgt spid="131"/>
                                        </p:tgtEl>
                                        <p:attrNameLst>
                                          <p:attrName>style.visibility</p:attrName>
                                        </p:attrNameLst>
                                      </p:cBhvr>
                                      <p:to>
                                        <p:strVal val="visible"/>
                                      </p:to>
                                    </p:set>
                                    <p:animEffect filter="fade" transition="in">
                                      <p:cBhvr>
                                        <p:cTn dur="500"/>
                                        <p:tgtEl>
                                          <p:spTgt spid="131"/>
                                        </p:tgtEl>
                                      </p:cBhvr>
                                    </p:animEffect>
                                  </p:childTnLst>
                                </p:cTn>
                              </p:par>
                            </p:childTnLst>
                          </p:cTn>
                        </p:par>
                        <p:par>
                          <p:cTn fill="hold">
                            <p:stCondLst>
                              <p:cond delay="2800"/>
                            </p:stCondLst>
                            <p:childTnLst>
                              <p:par>
                                <p:cTn fill="hold" nodeType="afterEffect" presetClass="entr" presetID="10" presetSubtype="0">
                                  <p:stCondLst>
                                    <p:cond delay="0"/>
                                  </p:stCondLst>
                                  <p:childTnLst>
                                    <p:set>
                                      <p:cBhvr>
                                        <p:cTn dur="1" fill="hold">
                                          <p:stCondLst>
                                            <p:cond delay="0"/>
                                          </p:stCondLst>
                                        </p:cTn>
                                        <p:tgtEl>
                                          <p:spTgt spid="137"/>
                                        </p:tgtEl>
                                        <p:attrNameLst>
                                          <p:attrName>style.visibility</p:attrName>
                                        </p:attrNameLst>
                                      </p:cBhvr>
                                      <p:to>
                                        <p:strVal val="visible"/>
                                      </p:to>
                                    </p:set>
                                    <p:animEffect filter="fade" transition="in">
                                      <p:cBhvr>
                                        <p:cTn dur="400"/>
                                        <p:tgtEl>
                                          <p:spTgt spid="137"/>
                                        </p:tgtEl>
                                      </p:cBhvr>
                                    </p:animEffect>
                                  </p:childTnLst>
                                </p:cTn>
                              </p:par>
                            </p:childTnLst>
                          </p:cTn>
                        </p:par>
                        <p:par>
                          <p:cTn fill="hold">
                            <p:stCondLst>
                              <p:cond delay="3200"/>
                            </p:stCondLst>
                            <p:childTnLst>
                              <p:par>
                                <p:cTn fill="hold" nodeType="afterEffect" presetClass="entr" presetID="10" presetSubtype="0">
                                  <p:stCondLst>
                                    <p:cond delay="0"/>
                                  </p:stCondLst>
                                  <p:childTnLst>
                                    <p:set>
                                      <p:cBhvr>
                                        <p:cTn dur="1" fill="hold">
                                          <p:stCondLst>
                                            <p:cond delay="0"/>
                                          </p:stCondLst>
                                        </p:cTn>
                                        <p:tgtEl>
                                          <p:spTgt spid="138"/>
                                        </p:tgtEl>
                                        <p:attrNameLst>
                                          <p:attrName>style.visibility</p:attrName>
                                        </p:attrNameLst>
                                      </p:cBhvr>
                                      <p:to>
                                        <p:strVal val="visible"/>
                                      </p:to>
                                    </p:set>
                                    <p:animEffect filter="fade" transition="in">
                                      <p:cBhvr>
                                        <p:cTn dur="400"/>
                                        <p:tgtEl>
                                          <p:spTgt spid="138"/>
                                        </p:tgtEl>
                                      </p:cBhvr>
                                    </p:animEffect>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143" name="Shape 143"/>
        <p:cNvGrpSpPr/>
        <p:nvPr/>
      </p:nvGrpSpPr>
      <p:grpSpPr>
        <a:xfrm>
          <a:off x="0" y="0"/>
          <a:ext cx="0" cy="0"/>
          <a:chOff x="0" y="0"/>
          <a:chExt cx="0" cy="0"/>
        </a:xfrm>
      </p:grpSpPr>
      <p:sp>
        <p:nvSpPr>
          <p:cNvPr id="144" name="Google Shape;144;g7023ddf169_0_13"/>
          <p:cNvSpPr txBox="1"/>
          <p:nvPr>
            <p:ph type="title"/>
          </p:nvPr>
        </p:nvSpPr>
        <p:spPr>
          <a:xfrm>
            <a:off x="838200" y="365125"/>
            <a:ext cx="10515600" cy="480000"/>
          </a:xfrm>
          <a:prstGeom prst="rect">
            <a:avLst/>
          </a:prstGeom>
          <a:noFill/>
          <a:ln>
            <a:noFill/>
          </a:ln>
        </p:spPr>
        <p:txBody>
          <a:bodyPr anchorCtr="0" anchor="t" bIns="45700" lIns="0" spcFirstLastPara="1" rIns="0" wrap="square" tIns="45700">
            <a:noAutofit/>
          </a:bodyPr>
          <a:lstStyle/>
          <a:p>
            <a:pPr indent="0" lvl="0" marL="0" rtl="0" algn="l">
              <a:lnSpc>
                <a:spcPct val="90000"/>
              </a:lnSpc>
              <a:spcBef>
                <a:spcPts val="0"/>
              </a:spcBef>
              <a:spcAft>
                <a:spcPts val="0"/>
              </a:spcAft>
              <a:buClr>
                <a:srgbClr val="C5093B"/>
              </a:buClr>
              <a:buSzPts val="2800"/>
              <a:buFont typeface="Arial"/>
              <a:buNone/>
            </a:pPr>
            <a:r>
              <a:rPr lang="en-US"/>
              <a:t>Demographics of our subscribers</a:t>
            </a:r>
            <a:endParaRPr/>
          </a:p>
        </p:txBody>
      </p:sp>
      <p:sp>
        <p:nvSpPr>
          <p:cNvPr id="145" name="Google Shape;145;g7023ddf169_0_13"/>
          <p:cNvSpPr txBox="1"/>
          <p:nvPr>
            <p:ph idx="11" type="ftr"/>
          </p:nvPr>
        </p:nvSpPr>
        <p:spPr>
          <a:xfrm>
            <a:off x="7928904" y="6513308"/>
            <a:ext cx="4114800" cy="365100"/>
          </a:xfrm>
          <a:prstGeom prst="rect">
            <a:avLst/>
          </a:prstGeom>
          <a:noFill/>
          <a:ln>
            <a:noFill/>
          </a:ln>
        </p:spPr>
        <p:txBody>
          <a:bodyPr anchorCtr="0" anchor="ctr" bIns="45700" lIns="91425" spcFirstLastPara="1" rIns="91425" wrap="square" tIns="45700">
            <a:noAutofit/>
          </a:bodyPr>
          <a:lstStyle/>
          <a:p>
            <a:pPr indent="0" lvl="0" marL="0" rtl="0" algn="r">
              <a:spcBef>
                <a:spcPts val="0"/>
              </a:spcBef>
              <a:spcAft>
                <a:spcPts val="0"/>
              </a:spcAft>
              <a:buNone/>
            </a:pPr>
            <a:r>
              <a:rPr lang="en-US"/>
              <a:t>Name of Initiative</a:t>
            </a:r>
            <a:endParaRPr/>
          </a:p>
        </p:txBody>
      </p:sp>
      <p:sp>
        <p:nvSpPr>
          <p:cNvPr id="146" name="Google Shape;146;g7023ddf169_0_13"/>
          <p:cNvSpPr txBox="1"/>
          <p:nvPr>
            <p:ph idx="12" type="sldNum"/>
          </p:nvPr>
        </p:nvSpPr>
        <p:spPr>
          <a:xfrm>
            <a:off x="9300504" y="6126298"/>
            <a:ext cx="2743200" cy="365100"/>
          </a:xfrm>
          <a:prstGeom prst="rect">
            <a:avLst/>
          </a:prstGeom>
          <a:noFill/>
          <a:ln>
            <a:noFill/>
          </a:ln>
        </p:spPr>
        <p:txBody>
          <a:bodyPr anchorCtr="0" anchor="ctr"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
        <p:nvSpPr>
          <p:cNvPr id="147" name="Google Shape;147;g7023ddf169_0_13"/>
          <p:cNvSpPr txBox="1"/>
          <p:nvPr/>
        </p:nvSpPr>
        <p:spPr>
          <a:xfrm>
            <a:off x="838200" y="987200"/>
            <a:ext cx="10555200" cy="789600"/>
          </a:xfrm>
          <a:prstGeom prst="rect">
            <a:avLst/>
          </a:prstGeom>
          <a:noFill/>
          <a:ln>
            <a:noFill/>
          </a:ln>
        </p:spPr>
        <p:txBody>
          <a:bodyPr anchorCtr="0" anchor="t" bIns="0" lIns="0" spcFirstLastPara="1" rIns="0" wrap="square" tIns="0">
            <a:noAutofit/>
          </a:bodyPr>
          <a:lstStyle/>
          <a:p>
            <a:pPr indent="0" lvl="0" marL="0" rtl="0" algn="l">
              <a:lnSpc>
                <a:spcPct val="115000"/>
              </a:lnSpc>
              <a:spcBef>
                <a:spcPts val="0"/>
              </a:spcBef>
              <a:spcAft>
                <a:spcPts val="1600"/>
              </a:spcAft>
              <a:buNone/>
            </a:pPr>
            <a:r>
              <a:rPr lang="en-US" sz="1600">
                <a:solidFill>
                  <a:srgbClr val="595959"/>
                </a:solidFill>
              </a:rPr>
              <a:t>Age distribution follows normal distribution with mean around age 28</a:t>
            </a:r>
            <a:endParaRPr sz="1600">
              <a:solidFill>
                <a:schemeClr val="dk2"/>
              </a:solidFill>
              <a:latin typeface="Garamond"/>
              <a:ea typeface="Garamond"/>
              <a:cs typeface="Garamond"/>
              <a:sym typeface="Garamond"/>
            </a:endParaRPr>
          </a:p>
        </p:txBody>
      </p:sp>
      <p:pic>
        <p:nvPicPr>
          <p:cNvPr id="148" name="Google Shape;148;g7023ddf169_0_13"/>
          <p:cNvPicPr preferRelativeResize="0"/>
          <p:nvPr/>
        </p:nvPicPr>
        <p:blipFill>
          <a:blip r:embed="rId3">
            <a:alphaModFix/>
          </a:blip>
          <a:stretch>
            <a:fillRect/>
          </a:stretch>
        </p:blipFill>
        <p:spPr>
          <a:xfrm>
            <a:off x="1155963" y="2277400"/>
            <a:ext cx="9880076" cy="2170775"/>
          </a:xfrm>
          <a:prstGeom prst="rect">
            <a:avLst/>
          </a:prstGeom>
          <a:noFill/>
          <a:ln>
            <a:noFill/>
          </a:ln>
        </p:spPr>
      </p:pic>
    </p:spTree>
  </p:cSld>
  <p:clrMapOvr>
    <a:masterClrMapping/>
  </p:clrMapOvr>
</p:sld>
</file>

<file path=ppt/slides/slide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153" name="Shape 153"/>
        <p:cNvGrpSpPr/>
        <p:nvPr/>
      </p:nvGrpSpPr>
      <p:grpSpPr>
        <a:xfrm>
          <a:off x="0" y="0"/>
          <a:ext cx="0" cy="0"/>
          <a:chOff x="0" y="0"/>
          <a:chExt cx="0" cy="0"/>
        </a:xfrm>
      </p:grpSpPr>
      <p:sp>
        <p:nvSpPr>
          <p:cNvPr id="154" name="Google Shape;154;p7"/>
          <p:cNvSpPr txBox="1"/>
          <p:nvPr>
            <p:ph type="title"/>
          </p:nvPr>
        </p:nvSpPr>
        <p:spPr>
          <a:xfrm>
            <a:off x="838200" y="365125"/>
            <a:ext cx="10515600" cy="480131"/>
          </a:xfrm>
          <a:prstGeom prst="rect">
            <a:avLst/>
          </a:prstGeom>
          <a:noFill/>
          <a:ln>
            <a:noFill/>
          </a:ln>
        </p:spPr>
        <p:txBody>
          <a:bodyPr anchorCtr="0" anchor="t" bIns="45700" lIns="0" spcFirstLastPara="1" rIns="0" wrap="square" tIns="45700">
            <a:spAutoFit/>
          </a:bodyPr>
          <a:lstStyle/>
          <a:p>
            <a:pPr indent="0" lvl="0" marL="0" rtl="0" algn="l">
              <a:lnSpc>
                <a:spcPct val="90000"/>
              </a:lnSpc>
              <a:spcBef>
                <a:spcPts val="0"/>
              </a:spcBef>
              <a:spcAft>
                <a:spcPts val="0"/>
              </a:spcAft>
              <a:buClr>
                <a:srgbClr val="C5093B"/>
              </a:buClr>
              <a:buSzPts val="2800"/>
              <a:buFont typeface="Arial"/>
              <a:buNone/>
            </a:pPr>
            <a:r>
              <a:rPr lang="en-US"/>
              <a:t>Conversion rates from free trial to paid subscription</a:t>
            </a:r>
            <a:endParaRPr/>
          </a:p>
        </p:txBody>
      </p:sp>
      <p:sp>
        <p:nvSpPr>
          <p:cNvPr id="155" name="Google Shape;155;p7"/>
          <p:cNvSpPr txBox="1"/>
          <p:nvPr>
            <p:ph idx="11" type="ftr"/>
          </p:nvPr>
        </p:nvSpPr>
        <p:spPr>
          <a:xfrm>
            <a:off x="7928904" y="6513308"/>
            <a:ext cx="4114800" cy="365125"/>
          </a:xfrm>
          <a:prstGeom prst="rect">
            <a:avLst/>
          </a:prstGeom>
          <a:noFill/>
          <a:ln>
            <a:noFill/>
          </a:ln>
        </p:spPr>
        <p:txBody>
          <a:bodyPr anchorCtr="0" anchor="ctr" bIns="45700" lIns="91425" spcFirstLastPara="1" rIns="91425" wrap="square" tIns="45700">
            <a:noAutofit/>
          </a:bodyPr>
          <a:lstStyle/>
          <a:p>
            <a:pPr indent="0" lvl="0" marL="0" rtl="0" algn="r">
              <a:spcBef>
                <a:spcPts val="0"/>
              </a:spcBef>
              <a:spcAft>
                <a:spcPts val="0"/>
              </a:spcAft>
              <a:buNone/>
            </a:pPr>
            <a:r>
              <a:rPr lang="en-US"/>
              <a:t>Name of Initiative</a:t>
            </a:r>
            <a:endParaRPr/>
          </a:p>
        </p:txBody>
      </p:sp>
      <p:sp>
        <p:nvSpPr>
          <p:cNvPr id="156" name="Google Shape;156;p7"/>
          <p:cNvSpPr txBox="1"/>
          <p:nvPr>
            <p:ph idx="12" type="sldNum"/>
          </p:nvPr>
        </p:nvSpPr>
        <p:spPr>
          <a:xfrm>
            <a:off x="9300504" y="6126298"/>
            <a:ext cx="2743200" cy="365125"/>
          </a:xfrm>
          <a:prstGeom prst="rect">
            <a:avLst/>
          </a:prstGeom>
          <a:noFill/>
          <a:ln>
            <a:noFill/>
          </a:ln>
        </p:spPr>
        <p:txBody>
          <a:bodyPr anchorCtr="0" anchor="ctr"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
        <p:nvSpPr>
          <p:cNvPr id="157" name="Google Shape;157;p7"/>
          <p:cNvSpPr txBox="1"/>
          <p:nvPr/>
        </p:nvSpPr>
        <p:spPr>
          <a:xfrm>
            <a:off x="838199" y="987207"/>
            <a:ext cx="9819808" cy="789591"/>
          </a:xfrm>
          <a:prstGeom prst="rect">
            <a:avLst/>
          </a:prstGeom>
          <a:noFill/>
          <a:ln>
            <a:noFill/>
          </a:ln>
        </p:spPr>
        <p:txBody>
          <a:bodyPr anchorCtr="0" anchor="t" bIns="0" lIns="0" spcFirstLastPara="1" rIns="0" wrap="square" tIns="0">
            <a:noAutofit/>
          </a:bodyPr>
          <a:lstStyle/>
          <a:p>
            <a:pPr indent="0" lvl="0" marL="0" rtl="0" algn="l">
              <a:lnSpc>
                <a:spcPct val="115000"/>
              </a:lnSpc>
              <a:spcBef>
                <a:spcPts val="0"/>
              </a:spcBef>
              <a:spcAft>
                <a:spcPts val="1600"/>
              </a:spcAft>
              <a:buNone/>
            </a:pPr>
            <a:r>
              <a:rPr lang="en-US" sz="1600">
                <a:solidFill>
                  <a:srgbClr val="595959"/>
                </a:solidFill>
              </a:rPr>
              <a:t>85.3% subscribed to Origin Access without a free trial. Out of the rest 1405 users who did free trials, 894 of them continued into paid subscription</a:t>
            </a:r>
            <a:endParaRPr sz="1600">
              <a:solidFill>
                <a:schemeClr val="dk2"/>
              </a:solidFill>
              <a:latin typeface="Garamond"/>
              <a:ea typeface="Garamond"/>
              <a:cs typeface="Garamond"/>
              <a:sym typeface="Garamond"/>
            </a:endParaRPr>
          </a:p>
        </p:txBody>
      </p:sp>
      <p:pic>
        <p:nvPicPr>
          <p:cNvPr id="158" name="Google Shape;158;p7"/>
          <p:cNvPicPr preferRelativeResize="0"/>
          <p:nvPr/>
        </p:nvPicPr>
        <p:blipFill>
          <a:blip r:embed="rId3">
            <a:alphaModFix/>
          </a:blip>
          <a:stretch>
            <a:fillRect/>
          </a:stretch>
        </p:blipFill>
        <p:spPr>
          <a:xfrm>
            <a:off x="1919688" y="2101100"/>
            <a:ext cx="3429000" cy="2390775"/>
          </a:xfrm>
          <a:prstGeom prst="rect">
            <a:avLst/>
          </a:prstGeom>
          <a:noFill/>
          <a:ln>
            <a:noFill/>
          </a:ln>
        </p:spPr>
      </p:pic>
      <p:pic>
        <p:nvPicPr>
          <p:cNvPr id="159" name="Google Shape;159;p7"/>
          <p:cNvPicPr preferRelativeResize="0"/>
          <p:nvPr/>
        </p:nvPicPr>
        <p:blipFill>
          <a:blip r:embed="rId4">
            <a:alphaModFix/>
          </a:blip>
          <a:stretch>
            <a:fillRect/>
          </a:stretch>
        </p:blipFill>
        <p:spPr>
          <a:xfrm>
            <a:off x="6252275" y="2096338"/>
            <a:ext cx="3324225" cy="2400300"/>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164" name="Shape 164"/>
        <p:cNvGrpSpPr/>
        <p:nvPr/>
      </p:nvGrpSpPr>
      <p:grpSpPr>
        <a:xfrm>
          <a:off x="0" y="0"/>
          <a:ext cx="0" cy="0"/>
          <a:chOff x="0" y="0"/>
          <a:chExt cx="0" cy="0"/>
        </a:xfrm>
      </p:grpSpPr>
      <p:sp>
        <p:nvSpPr>
          <p:cNvPr id="165" name="Google Shape;165;g7023ddf169_0_23"/>
          <p:cNvSpPr txBox="1"/>
          <p:nvPr>
            <p:ph type="title"/>
          </p:nvPr>
        </p:nvSpPr>
        <p:spPr>
          <a:xfrm>
            <a:off x="838200" y="365125"/>
            <a:ext cx="10515600" cy="480000"/>
          </a:xfrm>
          <a:prstGeom prst="rect">
            <a:avLst/>
          </a:prstGeom>
          <a:noFill/>
          <a:ln>
            <a:noFill/>
          </a:ln>
        </p:spPr>
        <p:txBody>
          <a:bodyPr anchorCtr="0" anchor="t" bIns="45700" lIns="0" spcFirstLastPara="1" rIns="0" wrap="square" tIns="45700">
            <a:noAutofit/>
          </a:bodyPr>
          <a:lstStyle/>
          <a:p>
            <a:pPr indent="0" lvl="0" marL="0" rtl="0" algn="l">
              <a:lnSpc>
                <a:spcPct val="90000"/>
              </a:lnSpc>
              <a:spcBef>
                <a:spcPts val="0"/>
              </a:spcBef>
              <a:spcAft>
                <a:spcPts val="0"/>
              </a:spcAft>
              <a:buClr>
                <a:srgbClr val="C5093B"/>
              </a:buClr>
              <a:buSzPts val="2800"/>
              <a:buFont typeface="Arial"/>
              <a:buNone/>
            </a:pPr>
            <a:r>
              <a:rPr lang="en-US"/>
              <a:t>Our franchise vault</a:t>
            </a:r>
            <a:endParaRPr/>
          </a:p>
        </p:txBody>
      </p:sp>
      <p:sp>
        <p:nvSpPr>
          <p:cNvPr id="166" name="Google Shape;166;g7023ddf169_0_23"/>
          <p:cNvSpPr txBox="1"/>
          <p:nvPr>
            <p:ph idx="11" type="ftr"/>
          </p:nvPr>
        </p:nvSpPr>
        <p:spPr>
          <a:xfrm>
            <a:off x="7928904" y="6513308"/>
            <a:ext cx="4114800" cy="365100"/>
          </a:xfrm>
          <a:prstGeom prst="rect">
            <a:avLst/>
          </a:prstGeom>
          <a:noFill/>
          <a:ln>
            <a:noFill/>
          </a:ln>
        </p:spPr>
        <p:txBody>
          <a:bodyPr anchorCtr="0" anchor="ctr" bIns="45700" lIns="91425" spcFirstLastPara="1" rIns="91425" wrap="square" tIns="45700">
            <a:noAutofit/>
          </a:bodyPr>
          <a:lstStyle/>
          <a:p>
            <a:pPr indent="0" lvl="0" marL="0" rtl="0" algn="r">
              <a:spcBef>
                <a:spcPts val="0"/>
              </a:spcBef>
              <a:spcAft>
                <a:spcPts val="0"/>
              </a:spcAft>
              <a:buNone/>
            </a:pPr>
            <a:r>
              <a:rPr lang="en-US"/>
              <a:t>Name of Initiative</a:t>
            </a:r>
            <a:endParaRPr/>
          </a:p>
        </p:txBody>
      </p:sp>
      <p:sp>
        <p:nvSpPr>
          <p:cNvPr id="167" name="Google Shape;167;g7023ddf169_0_23"/>
          <p:cNvSpPr txBox="1"/>
          <p:nvPr>
            <p:ph idx="12" type="sldNum"/>
          </p:nvPr>
        </p:nvSpPr>
        <p:spPr>
          <a:xfrm>
            <a:off x="9300504" y="6126298"/>
            <a:ext cx="2743200" cy="365100"/>
          </a:xfrm>
          <a:prstGeom prst="rect">
            <a:avLst/>
          </a:prstGeom>
          <a:noFill/>
          <a:ln>
            <a:noFill/>
          </a:ln>
        </p:spPr>
        <p:txBody>
          <a:bodyPr anchorCtr="0" anchor="ctr"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
        <p:nvSpPr>
          <p:cNvPr id="168" name="Google Shape;168;g7023ddf169_0_23"/>
          <p:cNvSpPr txBox="1"/>
          <p:nvPr/>
        </p:nvSpPr>
        <p:spPr>
          <a:xfrm>
            <a:off x="838199" y="987207"/>
            <a:ext cx="9819900" cy="789600"/>
          </a:xfrm>
          <a:prstGeom prst="rect">
            <a:avLst/>
          </a:prstGeom>
          <a:noFill/>
          <a:ln>
            <a:noFill/>
          </a:ln>
        </p:spPr>
        <p:txBody>
          <a:bodyPr anchorCtr="0" anchor="t" bIns="0" lIns="0" spcFirstLastPara="1" rIns="0" wrap="square" tIns="0">
            <a:noAutofit/>
          </a:bodyPr>
          <a:lstStyle/>
          <a:p>
            <a:pPr indent="0" lvl="0" marL="0" rtl="0" algn="l">
              <a:lnSpc>
                <a:spcPct val="115000"/>
              </a:lnSpc>
              <a:spcBef>
                <a:spcPts val="0"/>
              </a:spcBef>
              <a:spcAft>
                <a:spcPts val="1600"/>
              </a:spcAft>
              <a:buNone/>
            </a:pPr>
            <a:r>
              <a:rPr lang="en-US" sz="1600">
                <a:solidFill>
                  <a:srgbClr val="595959"/>
                </a:solidFill>
              </a:rPr>
              <a:t>The majority of our franchise distribution relies on the third party games</a:t>
            </a:r>
            <a:endParaRPr sz="1600">
              <a:solidFill>
                <a:schemeClr val="dk2"/>
              </a:solidFill>
              <a:latin typeface="Garamond"/>
              <a:ea typeface="Garamond"/>
              <a:cs typeface="Garamond"/>
              <a:sym typeface="Garamond"/>
            </a:endParaRPr>
          </a:p>
        </p:txBody>
      </p:sp>
      <p:pic>
        <p:nvPicPr>
          <p:cNvPr id="169" name="Google Shape;169;g7023ddf169_0_23"/>
          <p:cNvPicPr preferRelativeResize="0"/>
          <p:nvPr/>
        </p:nvPicPr>
        <p:blipFill>
          <a:blip r:embed="rId3">
            <a:alphaModFix/>
          </a:blip>
          <a:stretch>
            <a:fillRect/>
          </a:stretch>
        </p:blipFill>
        <p:spPr>
          <a:xfrm>
            <a:off x="1457325" y="1776807"/>
            <a:ext cx="9277350" cy="3648075"/>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174" name="Shape 174"/>
        <p:cNvGrpSpPr/>
        <p:nvPr/>
      </p:nvGrpSpPr>
      <p:grpSpPr>
        <a:xfrm>
          <a:off x="0" y="0"/>
          <a:ext cx="0" cy="0"/>
          <a:chOff x="0" y="0"/>
          <a:chExt cx="0" cy="0"/>
        </a:xfrm>
      </p:grpSpPr>
      <p:sp>
        <p:nvSpPr>
          <p:cNvPr id="175" name="Google Shape;175;p9"/>
          <p:cNvSpPr txBox="1"/>
          <p:nvPr>
            <p:ph type="title"/>
          </p:nvPr>
        </p:nvSpPr>
        <p:spPr>
          <a:xfrm>
            <a:off x="838200" y="365125"/>
            <a:ext cx="10515600" cy="480131"/>
          </a:xfrm>
          <a:prstGeom prst="rect">
            <a:avLst/>
          </a:prstGeom>
          <a:noFill/>
          <a:ln>
            <a:noFill/>
          </a:ln>
        </p:spPr>
        <p:txBody>
          <a:bodyPr anchorCtr="0" anchor="t" bIns="45700" lIns="0" spcFirstLastPara="1" rIns="0" wrap="square" tIns="45700">
            <a:spAutoFit/>
          </a:bodyPr>
          <a:lstStyle/>
          <a:p>
            <a:pPr indent="0" lvl="0" marL="0" rtl="0" algn="l">
              <a:lnSpc>
                <a:spcPct val="90000"/>
              </a:lnSpc>
              <a:spcBef>
                <a:spcPts val="0"/>
              </a:spcBef>
              <a:spcAft>
                <a:spcPts val="0"/>
              </a:spcAft>
              <a:buClr>
                <a:srgbClr val="C5093B"/>
              </a:buClr>
              <a:buSzPts val="2800"/>
              <a:buFont typeface="Arial"/>
              <a:buNone/>
            </a:pPr>
            <a:r>
              <a:rPr lang="en-US"/>
              <a:t>Assessing user loyalty</a:t>
            </a:r>
            <a:endParaRPr/>
          </a:p>
        </p:txBody>
      </p:sp>
      <p:sp>
        <p:nvSpPr>
          <p:cNvPr id="176" name="Google Shape;176;p9"/>
          <p:cNvSpPr txBox="1"/>
          <p:nvPr>
            <p:ph idx="11" type="ftr"/>
          </p:nvPr>
        </p:nvSpPr>
        <p:spPr>
          <a:xfrm>
            <a:off x="7928904" y="6513308"/>
            <a:ext cx="4114800" cy="365125"/>
          </a:xfrm>
          <a:prstGeom prst="rect">
            <a:avLst/>
          </a:prstGeom>
          <a:noFill/>
          <a:ln>
            <a:noFill/>
          </a:ln>
        </p:spPr>
        <p:txBody>
          <a:bodyPr anchorCtr="0" anchor="ctr" bIns="45700" lIns="91425" spcFirstLastPara="1" rIns="91425" wrap="square" tIns="45700">
            <a:noAutofit/>
          </a:bodyPr>
          <a:lstStyle/>
          <a:p>
            <a:pPr indent="0" lvl="0" marL="0" rtl="0" algn="r">
              <a:spcBef>
                <a:spcPts val="0"/>
              </a:spcBef>
              <a:spcAft>
                <a:spcPts val="0"/>
              </a:spcAft>
              <a:buNone/>
            </a:pPr>
            <a:r>
              <a:rPr lang="en-US"/>
              <a:t>Name of Initiative</a:t>
            </a:r>
            <a:endParaRPr/>
          </a:p>
        </p:txBody>
      </p:sp>
      <p:sp>
        <p:nvSpPr>
          <p:cNvPr id="177" name="Google Shape;177;p9"/>
          <p:cNvSpPr txBox="1"/>
          <p:nvPr>
            <p:ph idx="12" type="sldNum"/>
          </p:nvPr>
        </p:nvSpPr>
        <p:spPr>
          <a:xfrm>
            <a:off x="9300504" y="6126298"/>
            <a:ext cx="2743200" cy="365125"/>
          </a:xfrm>
          <a:prstGeom prst="rect">
            <a:avLst/>
          </a:prstGeom>
          <a:noFill/>
          <a:ln>
            <a:noFill/>
          </a:ln>
        </p:spPr>
        <p:txBody>
          <a:bodyPr anchorCtr="0" anchor="ctr"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graphicFrame>
        <p:nvGraphicFramePr>
          <p:cNvPr id="178" name="Google Shape;178;p9"/>
          <p:cNvGraphicFramePr/>
          <p:nvPr/>
        </p:nvGraphicFramePr>
        <p:xfrm>
          <a:off x="4004937" y="1682890"/>
          <a:ext cx="3000000" cy="3000000"/>
        </p:xfrm>
        <a:graphic>
          <a:graphicData uri="http://schemas.openxmlformats.org/drawingml/2006/table">
            <a:tbl>
              <a:tblPr firstRow="1">
                <a:noFill/>
                <a:tableStyleId>{AC5D65F7-AA4B-48DB-8A8D-4A46BA5F0523}</a:tableStyleId>
              </a:tblPr>
              <a:tblGrid>
                <a:gridCol w="1603950"/>
                <a:gridCol w="1486325"/>
                <a:gridCol w="1614150"/>
              </a:tblGrid>
              <a:tr h="504450">
                <a:tc>
                  <a:txBody>
                    <a:bodyPr/>
                    <a:lstStyle/>
                    <a:p>
                      <a:pPr indent="0" lvl="0" marL="0" marR="0" rtl="0" algn="ctr">
                        <a:spcBef>
                          <a:spcPts val="0"/>
                        </a:spcBef>
                        <a:spcAft>
                          <a:spcPts val="0"/>
                        </a:spcAft>
                        <a:buNone/>
                      </a:pPr>
                      <a:r>
                        <a:rPr lang="en-US"/>
                        <a:t>Game Names</a:t>
                      </a:r>
                      <a:endParaRPr b="0">
                        <a:solidFill>
                          <a:srgbClr val="003563"/>
                        </a:solidFill>
                        <a:latin typeface="Arial"/>
                        <a:ea typeface="Arial"/>
                        <a:cs typeface="Arial"/>
                        <a:sym typeface="Arial"/>
                      </a:endParaRPr>
                    </a:p>
                  </a:txBody>
                  <a:tcPr marT="45725" marB="45725" marR="182875" marL="182875" anchor="ctr"/>
                </a:tc>
                <a:tc>
                  <a:txBody>
                    <a:bodyPr/>
                    <a:lstStyle/>
                    <a:p>
                      <a:pPr indent="0" lvl="0" marL="0" marR="0" rtl="0" algn="ctr">
                        <a:spcBef>
                          <a:spcPts val="0"/>
                        </a:spcBef>
                        <a:spcAft>
                          <a:spcPts val="0"/>
                        </a:spcAft>
                        <a:buNone/>
                      </a:pPr>
                      <a:r>
                        <a:rPr lang="en-US"/>
                        <a:t>% Successful Conversion</a:t>
                      </a:r>
                      <a:endParaRPr b="0">
                        <a:solidFill>
                          <a:srgbClr val="003563"/>
                        </a:solidFill>
                        <a:latin typeface="Arial"/>
                        <a:ea typeface="Arial"/>
                        <a:cs typeface="Arial"/>
                        <a:sym typeface="Arial"/>
                      </a:endParaRPr>
                    </a:p>
                  </a:txBody>
                  <a:tcPr marT="45725" marB="45725" marR="182875" marL="182875" anchor="ctr"/>
                </a:tc>
                <a:tc>
                  <a:txBody>
                    <a:bodyPr/>
                    <a:lstStyle/>
                    <a:p>
                      <a:pPr indent="0" lvl="0" marL="0" marR="0" rtl="0" algn="ctr">
                        <a:spcBef>
                          <a:spcPts val="0"/>
                        </a:spcBef>
                        <a:spcAft>
                          <a:spcPts val="0"/>
                        </a:spcAft>
                        <a:buNone/>
                      </a:pPr>
                      <a:r>
                        <a:rPr lang="en-US"/>
                        <a:t>% Churn</a:t>
                      </a:r>
                      <a:endParaRPr b="0">
                        <a:solidFill>
                          <a:srgbClr val="003563"/>
                        </a:solidFill>
                        <a:latin typeface="Arial"/>
                        <a:ea typeface="Arial"/>
                        <a:cs typeface="Arial"/>
                        <a:sym typeface="Arial"/>
                      </a:endParaRPr>
                    </a:p>
                  </a:txBody>
                  <a:tcPr marT="45725" marB="45725" marR="182875" marL="182875" anchor="ctr"/>
                </a:tc>
              </a:tr>
              <a:tr h="504450">
                <a:tc>
                  <a:txBody>
                    <a:bodyPr/>
                    <a:lstStyle/>
                    <a:p>
                      <a:pPr indent="0" lvl="1" marL="0" marR="0" rtl="0" algn="ctr">
                        <a:lnSpc>
                          <a:spcPct val="100000"/>
                        </a:lnSpc>
                        <a:spcBef>
                          <a:spcPts val="0"/>
                        </a:spcBef>
                        <a:spcAft>
                          <a:spcPts val="0"/>
                        </a:spcAft>
                        <a:buClr>
                          <a:srgbClr val="0063BD"/>
                        </a:buClr>
                        <a:buSzPts val="1600"/>
                        <a:buFont typeface="Arial"/>
                        <a:buNone/>
                      </a:pPr>
                      <a:r>
                        <a:rPr lang="en-US">
                          <a:solidFill>
                            <a:srgbClr val="0063BD"/>
                          </a:solidFill>
                        </a:rPr>
                        <a:t>Battlefield 1</a:t>
                      </a:r>
                      <a:endParaRPr/>
                    </a:p>
                  </a:txBody>
                  <a:tcPr marT="45725" marB="45725" marR="182875" marL="182875" anchor="ctr">
                    <a:solidFill>
                      <a:srgbClr val="D8D8D8"/>
                    </a:solidFill>
                  </a:tcPr>
                </a:tc>
                <a:tc>
                  <a:txBody>
                    <a:bodyPr/>
                    <a:lstStyle/>
                    <a:p>
                      <a:pPr indent="0" lvl="0" marL="0" marR="0" rtl="0" algn="ctr">
                        <a:lnSpc>
                          <a:spcPct val="100000"/>
                        </a:lnSpc>
                        <a:spcBef>
                          <a:spcPts val="0"/>
                        </a:spcBef>
                        <a:spcAft>
                          <a:spcPts val="0"/>
                        </a:spcAft>
                        <a:buClr>
                          <a:srgbClr val="0063BD"/>
                        </a:buClr>
                        <a:buSzPts val="1600"/>
                        <a:buFont typeface="Arial"/>
                        <a:buNone/>
                      </a:pPr>
                      <a:r>
                        <a:rPr lang="en-US">
                          <a:solidFill>
                            <a:srgbClr val="0063BD"/>
                          </a:solidFill>
                        </a:rPr>
                        <a:t>9.37</a:t>
                      </a:r>
                      <a:endParaRPr b="0">
                        <a:solidFill>
                          <a:srgbClr val="0063BD"/>
                        </a:solidFill>
                        <a:latin typeface="Arial"/>
                        <a:ea typeface="Arial"/>
                        <a:cs typeface="Arial"/>
                        <a:sym typeface="Arial"/>
                      </a:endParaRPr>
                    </a:p>
                  </a:txBody>
                  <a:tcPr marT="45725" marB="45725" marR="182875" marL="182875" anchor="ctr">
                    <a:solidFill>
                      <a:srgbClr val="D8D8D8"/>
                    </a:solidFill>
                  </a:tcPr>
                </a:tc>
                <a:tc>
                  <a:txBody>
                    <a:bodyPr/>
                    <a:lstStyle/>
                    <a:p>
                      <a:pPr indent="0" lvl="0" marL="0" marR="0" rtl="0" algn="ctr">
                        <a:lnSpc>
                          <a:spcPct val="100000"/>
                        </a:lnSpc>
                        <a:spcBef>
                          <a:spcPts val="0"/>
                        </a:spcBef>
                        <a:spcAft>
                          <a:spcPts val="0"/>
                        </a:spcAft>
                        <a:buClr>
                          <a:srgbClr val="0063BD"/>
                        </a:buClr>
                        <a:buSzPts val="1600"/>
                        <a:buFont typeface="Arial"/>
                        <a:buNone/>
                      </a:pPr>
                      <a:r>
                        <a:rPr lang="en-US">
                          <a:solidFill>
                            <a:srgbClr val="0063BD"/>
                          </a:solidFill>
                        </a:rPr>
                        <a:t>7.4</a:t>
                      </a:r>
                      <a:endParaRPr b="0">
                        <a:solidFill>
                          <a:srgbClr val="0063BD"/>
                        </a:solidFill>
                        <a:latin typeface="Arial"/>
                        <a:ea typeface="Arial"/>
                        <a:cs typeface="Arial"/>
                        <a:sym typeface="Arial"/>
                      </a:endParaRPr>
                    </a:p>
                  </a:txBody>
                  <a:tcPr marT="45725" marB="45725" marR="182875" marL="182875" anchor="ctr">
                    <a:solidFill>
                      <a:srgbClr val="D8D8D8"/>
                    </a:solidFill>
                  </a:tcPr>
                </a:tc>
              </a:tr>
              <a:tr h="504450">
                <a:tc>
                  <a:txBody>
                    <a:bodyPr/>
                    <a:lstStyle/>
                    <a:p>
                      <a:pPr indent="0" lvl="0" marL="0" marR="0" rtl="0" algn="ctr">
                        <a:lnSpc>
                          <a:spcPct val="100000"/>
                        </a:lnSpc>
                        <a:spcBef>
                          <a:spcPts val="0"/>
                        </a:spcBef>
                        <a:spcAft>
                          <a:spcPts val="0"/>
                        </a:spcAft>
                        <a:buNone/>
                      </a:pPr>
                      <a:r>
                        <a:rPr lang="en-US">
                          <a:solidFill>
                            <a:srgbClr val="0063BD"/>
                          </a:solidFill>
                        </a:rPr>
                        <a:t>FIFA 18</a:t>
                      </a:r>
                      <a:endParaRPr u="none" cap="none" strike="noStrike">
                        <a:solidFill>
                          <a:srgbClr val="0063BD"/>
                        </a:solidFill>
                        <a:latin typeface="Arial"/>
                        <a:ea typeface="Arial"/>
                        <a:cs typeface="Arial"/>
                        <a:sym typeface="Arial"/>
                      </a:endParaRPr>
                    </a:p>
                  </a:txBody>
                  <a:tcPr marT="45725" marB="45725" marR="182875" marL="182875" anchor="ctr">
                    <a:solidFill>
                      <a:srgbClr val="D8D8D8"/>
                    </a:solidFill>
                  </a:tcPr>
                </a:tc>
                <a:tc>
                  <a:txBody>
                    <a:bodyPr/>
                    <a:lstStyle/>
                    <a:p>
                      <a:pPr indent="0" lvl="0" marL="0" rtl="0" algn="ctr">
                        <a:spcBef>
                          <a:spcPts val="0"/>
                        </a:spcBef>
                        <a:spcAft>
                          <a:spcPts val="0"/>
                        </a:spcAft>
                        <a:buClr>
                          <a:srgbClr val="0063BD"/>
                        </a:buClr>
                        <a:buSzPts val="1600"/>
                        <a:buFont typeface="Arial"/>
                        <a:buNone/>
                      </a:pPr>
                      <a:r>
                        <a:rPr lang="en-US">
                          <a:solidFill>
                            <a:srgbClr val="0063BD"/>
                          </a:solidFill>
                        </a:rPr>
                        <a:t>9.37</a:t>
                      </a:r>
                      <a:endParaRPr>
                        <a:solidFill>
                          <a:srgbClr val="0063BD"/>
                        </a:solidFill>
                      </a:endParaRPr>
                    </a:p>
                  </a:txBody>
                  <a:tcPr marT="45725" marB="45725" marR="182875" marL="182875" anchor="ctr">
                    <a:solidFill>
                      <a:srgbClr val="D8D8D8"/>
                    </a:solidFill>
                  </a:tcPr>
                </a:tc>
                <a:tc>
                  <a:txBody>
                    <a:bodyPr/>
                    <a:lstStyle/>
                    <a:p>
                      <a:pPr indent="0" lvl="0" marL="0" marR="0" rtl="0" algn="ctr">
                        <a:lnSpc>
                          <a:spcPct val="100000"/>
                        </a:lnSpc>
                        <a:spcBef>
                          <a:spcPts val="0"/>
                        </a:spcBef>
                        <a:spcAft>
                          <a:spcPts val="0"/>
                        </a:spcAft>
                        <a:buNone/>
                      </a:pPr>
                      <a:r>
                        <a:rPr lang="en-US">
                          <a:solidFill>
                            <a:srgbClr val="0063BD"/>
                          </a:solidFill>
                        </a:rPr>
                        <a:t>3.6</a:t>
                      </a:r>
                      <a:endParaRPr>
                        <a:solidFill>
                          <a:srgbClr val="0063BD"/>
                        </a:solidFill>
                      </a:endParaRPr>
                    </a:p>
                  </a:txBody>
                  <a:tcPr marT="45725" marB="45725" marR="182875" marL="182875" anchor="ctr">
                    <a:solidFill>
                      <a:srgbClr val="D8D8D8"/>
                    </a:solidFill>
                  </a:tcPr>
                </a:tc>
              </a:tr>
              <a:tr h="504450">
                <a:tc>
                  <a:txBody>
                    <a:bodyPr/>
                    <a:lstStyle/>
                    <a:p>
                      <a:pPr indent="0" lvl="0" marL="0" marR="0" rtl="0" algn="ctr">
                        <a:lnSpc>
                          <a:spcPct val="100000"/>
                        </a:lnSpc>
                        <a:spcBef>
                          <a:spcPts val="0"/>
                        </a:spcBef>
                        <a:spcAft>
                          <a:spcPts val="0"/>
                        </a:spcAft>
                        <a:buNone/>
                      </a:pPr>
                      <a:r>
                        <a:rPr lang="en-US">
                          <a:solidFill>
                            <a:srgbClr val="0063BD"/>
                          </a:solidFill>
                        </a:rPr>
                        <a:t>Battlefield 4</a:t>
                      </a:r>
                      <a:endParaRPr u="none" cap="none" strike="noStrike">
                        <a:solidFill>
                          <a:srgbClr val="0063BD"/>
                        </a:solidFill>
                        <a:latin typeface="Arial"/>
                        <a:ea typeface="Arial"/>
                        <a:cs typeface="Arial"/>
                        <a:sym typeface="Arial"/>
                      </a:endParaRPr>
                    </a:p>
                  </a:txBody>
                  <a:tcPr marT="45725" marB="45725" marR="182875" marL="182875" anchor="ctr">
                    <a:solidFill>
                      <a:srgbClr val="D8D8D8"/>
                    </a:solidFill>
                  </a:tcPr>
                </a:tc>
                <a:tc>
                  <a:txBody>
                    <a:bodyPr/>
                    <a:lstStyle/>
                    <a:p>
                      <a:pPr indent="0" lvl="0" marL="0" marR="0" rtl="0" algn="ctr">
                        <a:lnSpc>
                          <a:spcPct val="100000"/>
                        </a:lnSpc>
                        <a:spcBef>
                          <a:spcPts val="0"/>
                        </a:spcBef>
                        <a:spcAft>
                          <a:spcPts val="0"/>
                        </a:spcAft>
                        <a:buNone/>
                      </a:pPr>
                      <a:r>
                        <a:rPr lang="en-US">
                          <a:solidFill>
                            <a:srgbClr val="0063BD"/>
                          </a:solidFill>
                        </a:rPr>
                        <a:t>6.25</a:t>
                      </a:r>
                      <a:endParaRPr>
                        <a:solidFill>
                          <a:srgbClr val="0063BD"/>
                        </a:solidFill>
                      </a:endParaRPr>
                    </a:p>
                  </a:txBody>
                  <a:tcPr marT="45725" marB="45725" marR="182875" marL="182875" anchor="ctr">
                    <a:solidFill>
                      <a:srgbClr val="D8D8D8"/>
                    </a:solidFill>
                  </a:tcPr>
                </a:tc>
                <a:tc>
                  <a:txBody>
                    <a:bodyPr/>
                    <a:lstStyle/>
                    <a:p>
                      <a:pPr indent="0" lvl="0" marL="0" marR="0" rtl="0" algn="ctr">
                        <a:lnSpc>
                          <a:spcPct val="100000"/>
                        </a:lnSpc>
                        <a:spcBef>
                          <a:spcPts val="0"/>
                        </a:spcBef>
                        <a:spcAft>
                          <a:spcPts val="0"/>
                        </a:spcAft>
                        <a:buNone/>
                      </a:pPr>
                      <a:r>
                        <a:rPr lang="en-US">
                          <a:solidFill>
                            <a:srgbClr val="0063BD"/>
                          </a:solidFill>
                        </a:rPr>
                        <a:t>0.89</a:t>
                      </a:r>
                      <a:endParaRPr>
                        <a:solidFill>
                          <a:srgbClr val="0063BD"/>
                        </a:solidFill>
                      </a:endParaRPr>
                    </a:p>
                  </a:txBody>
                  <a:tcPr marT="45725" marB="45725" marR="182875" marL="182875" anchor="ctr">
                    <a:solidFill>
                      <a:srgbClr val="D8D8D8"/>
                    </a:solidFill>
                  </a:tcPr>
                </a:tc>
              </a:tr>
              <a:tr h="504450">
                <a:tc>
                  <a:txBody>
                    <a:bodyPr/>
                    <a:lstStyle/>
                    <a:p>
                      <a:pPr indent="0" lvl="1" marL="0" marR="0" rtl="0" algn="ctr">
                        <a:lnSpc>
                          <a:spcPct val="100000"/>
                        </a:lnSpc>
                        <a:spcBef>
                          <a:spcPts val="0"/>
                        </a:spcBef>
                        <a:spcAft>
                          <a:spcPts val="0"/>
                        </a:spcAft>
                        <a:buClr>
                          <a:srgbClr val="015187"/>
                        </a:buClr>
                        <a:buSzPts val="1600"/>
                        <a:buFont typeface="Arial"/>
                        <a:buNone/>
                      </a:pPr>
                      <a:r>
                        <a:rPr lang="en-US">
                          <a:solidFill>
                            <a:srgbClr val="015187"/>
                          </a:solidFill>
                        </a:rPr>
                        <a:t>Sim 4</a:t>
                      </a:r>
                      <a:endParaRPr/>
                    </a:p>
                  </a:txBody>
                  <a:tcPr marT="45725" marB="45725" marR="182875" marL="182875" anchor="ctr">
                    <a:solidFill>
                      <a:srgbClr val="D8D8D8"/>
                    </a:solidFill>
                  </a:tcPr>
                </a:tc>
                <a:tc>
                  <a:txBody>
                    <a:bodyPr/>
                    <a:lstStyle/>
                    <a:p>
                      <a:pPr indent="0" lvl="0" marL="0" marR="0" rtl="0" algn="ctr">
                        <a:spcBef>
                          <a:spcPts val="0"/>
                        </a:spcBef>
                        <a:spcAft>
                          <a:spcPts val="0"/>
                        </a:spcAft>
                        <a:buNone/>
                      </a:pPr>
                      <a:r>
                        <a:rPr lang="en-US">
                          <a:solidFill>
                            <a:srgbClr val="015187"/>
                          </a:solidFill>
                        </a:rPr>
                        <a:t>3.91</a:t>
                      </a:r>
                      <a:endParaRPr b="0">
                        <a:solidFill>
                          <a:srgbClr val="015187"/>
                        </a:solidFill>
                        <a:latin typeface="Arial"/>
                        <a:ea typeface="Arial"/>
                        <a:cs typeface="Arial"/>
                        <a:sym typeface="Arial"/>
                      </a:endParaRPr>
                    </a:p>
                  </a:txBody>
                  <a:tcPr marT="45725" marB="45725" marR="182875" marL="182875" anchor="ctr">
                    <a:solidFill>
                      <a:srgbClr val="D8D8D8"/>
                    </a:solidFill>
                  </a:tcPr>
                </a:tc>
                <a:tc>
                  <a:txBody>
                    <a:bodyPr/>
                    <a:lstStyle/>
                    <a:p>
                      <a:pPr indent="0" lvl="0" marL="0" marR="0" rtl="0" algn="ctr">
                        <a:lnSpc>
                          <a:spcPct val="100000"/>
                        </a:lnSpc>
                        <a:spcBef>
                          <a:spcPts val="0"/>
                        </a:spcBef>
                        <a:spcAft>
                          <a:spcPts val="0"/>
                        </a:spcAft>
                        <a:buClr>
                          <a:srgbClr val="015187"/>
                        </a:buClr>
                        <a:buSzPts val="1600"/>
                        <a:buFont typeface="Arial"/>
                        <a:buNone/>
                      </a:pPr>
                      <a:r>
                        <a:rPr lang="en-US">
                          <a:solidFill>
                            <a:srgbClr val="015187"/>
                          </a:solidFill>
                        </a:rPr>
                        <a:t>0.78</a:t>
                      </a:r>
                      <a:endParaRPr b="0">
                        <a:solidFill>
                          <a:srgbClr val="015187"/>
                        </a:solidFill>
                        <a:latin typeface="Arial"/>
                        <a:ea typeface="Arial"/>
                        <a:cs typeface="Arial"/>
                        <a:sym typeface="Arial"/>
                      </a:endParaRPr>
                    </a:p>
                  </a:txBody>
                  <a:tcPr marT="45725" marB="45725" marR="182875" marL="182875" anchor="ctr">
                    <a:solidFill>
                      <a:srgbClr val="D8D8D8"/>
                    </a:solidFill>
                  </a:tcPr>
                </a:tc>
              </a:tr>
              <a:tr h="405600">
                <a:tc>
                  <a:txBody>
                    <a:bodyPr/>
                    <a:lstStyle/>
                    <a:p>
                      <a:pPr indent="0" lvl="0" marL="0" marR="0" rtl="0" algn="ctr">
                        <a:lnSpc>
                          <a:spcPct val="100000"/>
                        </a:lnSpc>
                        <a:spcBef>
                          <a:spcPts val="0"/>
                        </a:spcBef>
                        <a:spcAft>
                          <a:spcPts val="0"/>
                        </a:spcAft>
                        <a:buClr>
                          <a:srgbClr val="002342"/>
                        </a:buClr>
                        <a:buSzPts val="1600"/>
                        <a:buFont typeface="Arial"/>
                        <a:buNone/>
                      </a:pPr>
                      <a:r>
                        <a:rPr lang="en-US">
                          <a:solidFill>
                            <a:srgbClr val="002342"/>
                          </a:solidFill>
                        </a:rPr>
                        <a:t>Waterfront</a:t>
                      </a:r>
                      <a:endParaRPr/>
                    </a:p>
                  </a:txBody>
                  <a:tcPr marT="45725" marB="45725" marR="182875" marL="182875" anchor="ctr">
                    <a:solidFill>
                      <a:srgbClr val="D8D8D8"/>
                    </a:solidFill>
                  </a:tcPr>
                </a:tc>
                <a:tc>
                  <a:txBody>
                    <a:bodyPr/>
                    <a:lstStyle/>
                    <a:p>
                      <a:pPr indent="0" lvl="0" marL="0" marR="0" rtl="0" algn="ctr">
                        <a:lnSpc>
                          <a:spcPct val="100000"/>
                        </a:lnSpc>
                        <a:spcBef>
                          <a:spcPts val="0"/>
                        </a:spcBef>
                        <a:spcAft>
                          <a:spcPts val="0"/>
                        </a:spcAft>
                        <a:buClr>
                          <a:srgbClr val="002342"/>
                        </a:buClr>
                        <a:buSzPts val="1600"/>
                        <a:buFont typeface="Arial"/>
                        <a:buNone/>
                      </a:pPr>
                      <a:r>
                        <a:rPr lang="en-US">
                          <a:solidFill>
                            <a:srgbClr val="002342"/>
                          </a:solidFill>
                        </a:rPr>
                        <a:t>2.56</a:t>
                      </a:r>
                      <a:endParaRPr b="0" i="0" u="none" cap="none" strike="noStrike">
                        <a:solidFill>
                          <a:srgbClr val="002342"/>
                        </a:solidFill>
                        <a:latin typeface="Arial"/>
                        <a:ea typeface="Arial"/>
                        <a:cs typeface="Arial"/>
                        <a:sym typeface="Arial"/>
                      </a:endParaRPr>
                    </a:p>
                  </a:txBody>
                  <a:tcPr marT="45725" marB="45725" marR="182875" marL="182875" anchor="ctr">
                    <a:solidFill>
                      <a:srgbClr val="D8D8D8"/>
                    </a:solidFill>
                  </a:tcPr>
                </a:tc>
                <a:tc>
                  <a:txBody>
                    <a:bodyPr/>
                    <a:lstStyle/>
                    <a:p>
                      <a:pPr indent="0" lvl="0" marL="0" marR="0" rtl="0" algn="ctr">
                        <a:lnSpc>
                          <a:spcPct val="100000"/>
                        </a:lnSpc>
                        <a:spcBef>
                          <a:spcPts val="0"/>
                        </a:spcBef>
                        <a:spcAft>
                          <a:spcPts val="0"/>
                        </a:spcAft>
                        <a:buClr>
                          <a:srgbClr val="002342"/>
                        </a:buClr>
                        <a:buSzPts val="1600"/>
                        <a:buFont typeface="Arial"/>
                        <a:buNone/>
                      </a:pPr>
                      <a:r>
                        <a:rPr lang="en-US">
                          <a:solidFill>
                            <a:srgbClr val="002342"/>
                          </a:solidFill>
                        </a:rPr>
                        <a:t>1.78</a:t>
                      </a:r>
                      <a:endParaRPr b="0" i="0" u="none" cap="none" strike="noStrike">
                        <a:solidFill>
                          <a:srgbClr val="002342"/>
                        </a:solidFill>
                        <a:latin typeface="Arial"/>
                        <a:ea typeface="Arial"/>
                        <a:cs typeface="Arial"/>
                        <a:sym typeface="Arial"/>
                      </a:endParaRPr>
                    </a:p>
                  </a:txBody>
                  <a:tcPr marT="45725" marB="45725" marR="182875" marL="182875" anchor="ctr">
                    <a:solidFill>
                      <a:srgbClr val="D8D8D8"/>
                    </a:solidFill>
                  </a:tcPr>
                </a:tc>
              </a:tr>
              <a:tr h="405600">
                <a:tc>
                  <a:txBody>
                    <a:bodyPr/>
                    <a:lstStyle/>
                    <a:p>
                      <a:pPr indent="0" lvl="0" marL="0" marR="0" rtl="0" algn="ctr">
                        <a:lnSpc>
                          <a:spcPct val="100000"/>
                        </a:lnSpc>
                        <a:spcBef>
                          <a:spcPts val="0"/>
                        </a:spcBef>
                        <a:spcAft>
                          <a:spcPts val="0"/>
                        </a:spcAft>
                        <a:buNone/>
                      </a:pPr>
                      <a:r>
                        <a:rPr lang="en-US">
                          <a:solidFill>
                            <a:srgbClr val="002342"/>
                          </a:solidFill>
                        </a:rPr>
                        <a:t>TitanFall 3</a:t>
                      </a:r>
                      <a:endParaRPr>
                        <a:solidFill>
                          <a:srgbClr val="002342"/>
                        </a:solidFill>
                        <a:latin typeface="Arial"/>
                        <a:ea typeface="Arial"/>
                        <a:cs typeface="Arial"/>
                        <a:sym typeface="Arial"/>
                      </a:endParaRPr>
                    </a:p>
                  </a:txBody>
                  <a:tcPr marT="45725" marB="45725" marR="182875" marL="182875" anchor="ctr">
                    <a:solidFill>
                      <a:srgbClr val="D8D8D8"/>
                    </a:solidFill>
                  </a:tcPr>
                </a:tc>
                <a:tc>
                  <a:txBody>
                    <a:bodyPr/>
                    <a:lstStyle/>
                    <a:p>
                      <a:pPr indent="0" lvl="0" marL="0" marR="0" rtl="0" algn="ctr">
                        <a:lnSpc>
                          <a:spcPct val="100000"/>
                        </a:lnSpc>
                        <a:spcBef>
                          <a:spcPts val="0"/>
                        </a:spcBef>
                        <a:spcAft>
                          <a:spcPts val="0"/>
                        </a:spcAft>
                        <a:buNone/>
                      </a:pPr>
                      <a:r>
                        <a:rPr lang="en-US">
                          <a:solidFill>
                            <a:srgbClr val="002342"/>
                          </a:solidFill>
                        </a:rPr>
                        <a:t>2.45</a:t>
                      </a:r>
                      <a:endParaRPr u="none" cap="none" strike="noStrike">
                        <a:solidFill>
                          <a:srgbClr val="002342"/>
                        </a:solidFill>
                      </a:endParaRPr>
                    </a:p>
                  </a:txBody>
                  <a:tcPr marT="45725" marB="45725" marR="182875" marL="182875" anchor="ctr">
                    <a:solidFill>
                      <a:srgbClr val="D8D8D8"/>
                    </a:solidFill>
                  </a:tcPr>
                </a:tc>
                <a:tc>
                  <a:txBody>
                    <a:bodyPr/>
                    <a:lstStyle/>
                    <a:p>
                      <a:pPr indent="0" lvl="0" marL="0" marR="0" rtl="0" algn="ctr">
                        <a:lnSpc>
                          <a:spcPct val="100000"/>
                        </a:lnSpc>
                        <a:spcBef>
                          <a:spcPts val="0"/>
                        </a:spcBef>
                        <a:spcAft>
                          <a:spcPts val="0"/>
                        </a:spcAft>
                        <a:buNone/>
                      </a:pPr>
                      <a:r>
                        <a:rPr lang="en-US">
                          <a:solidFill>
                            <a:srgbClr val="002342"/>
                          </a:solidFill>
                        </a:rPr>
                        <a:t>N/A</a:t>
                      </a:r>
                      <a:endParaRPr u="none" cap="none" strike="noStrike">
                        <a:solidFill>
                          <a:srgbClr val="002342"/>
                        </a:solidFill>
                      </a:endParaRPr>
                    </a:p>
                  </a:txBody>
                  <a:tcPr marT="45725" marB="45725" marR="182875" marL="182875" anchor="ctr">
                    <a:solidFill>
                      <a:srgbClr val="D8D8D8"/>
                    </a:solidFill>
                  </a:tcPr>
                </a:tc>
              </a:tr>
              <a:tr h="405600">
                <a:tc>
                  <a:txBody>
                    <a:bodyPr/>
                    <a:lstStyle/>
                    <a:p>
                      <a:pPr indent="0" lvl="0" marL="0" marR="0" rtl="0" algn="ctr">
                        <a:lnSpc>
                          <a:spcPct val="100000"/>
                        </a:lnSpc>
                        <a:spcBef>
                          <a:spcPts val="0"/>
                        </a:spcBef>
                        <a:spcAft>
                          <a:spcPts val="0"/>
                        </a:spcAft>
                        <a:buNone/>
                      </a:pPr>
                      <a:r>
                        <a:rPr lang="en-US">
                          <a:solidFill>
                            <a:srgbClr val="002342"/>
                          </a:solidFill>
                        </a:rPr>
                        <a:t>Sim 2</a:t>
                      </a:r>
                      <a:endParaRPr>
                        <a:solidFill>
                          <a:srgbClr val="002342"/>
                        </a:solidFill>
                        <a:latin typeface="Arial"/>
                        <a:ea typeface="Arial"/>
                        <a:cs typeface="Arial"/>
                        <a:sym typeface="Arial"/>
                      </a:endParaRPr>
                    </a:p>
                  </a:txBody>
                  <a:tcPr marT="45725" marB="45725" marR="182875" marL="182875" anchor="ctr">
                    <a:solidFill>
                      <a:srgbClr val="D8D8D8"/>
                    </a:solidFill>
                  </a:tcPr>
                </a:tc>
                <a:tc>
                  <a:txBody>
                    <a:bodyPr/>
                    <a:lstStyle/>
                    <a:p>
                      <a:pPr indent="0" lvl="0" marL="0" marR="0" rtl="0" algn="ctr">
                        <a:lnSpc>
                          <a:spcPct val="100000"/>
                        </a:lnSpc>
                        <a:spcBef>
                          <a:spcPts val="0"/>
                        </a:spcBef>
                        <a:spcAft>
                          <a:spcPts val="0"/>
                        </a:spcAft>
                        <a:buNone/>
                      </a:pPr>
                      <a:r>
                        <a:rPr lang="en-US">
                          <a:solidFill>
                            <a:srgbClr val="002342"/>
                          </a:solidFill>
                        </a:rPr>
                        <a:t>2.45</a:t>
                      </a:r>
                      <a:endParaRPr u="none" cap="none" strike="noStrike">
                        <a:solidFill>
                          <a:srgbClr val="002342"/>
                        </a:solidFill>
                      </a:endParaRPr>
                    </a:p>
                  </a:txBody>
                  <a:tcPr marT="45725" marB="45725" marR="182875" marL="182875" anchor="ctr">
                    <a:solidFill>
                      <a:srgbClr val="D8D8D8"/>
                    </a:solidFill>
                  </a:tcPr>
                </a:tc>
                <a:tc>
                  <a:txBody>
                    <a:bodyPr/>
                    <a:lstStyle/>
                    <a:p>
                      <a:pPr indent="0" lvl="0" marL="0" marR="0" rtl="0" algn="ctr">
                        <a:lnSpc>
                          <a:spcPct val="100000"/>
                        </a:lnSpc>
                        <a:spcBef>
                          <a:spcPts val="0"/>
                        </a:spcBef>
                        <a:spcAft>
                          <a:spcPts val="0"/>
                        </a:spcAft>
                        <a:buNone/>
                      </a:pPr>
                      <a:r>
                        <a:rPr lang="en-US">
                          <a:solidFill>
                            <a:srgbClr val="002342"/>
                          </a:solidFill>
                        </a:rPr>
                        <a:t>0.33</a:t>
                      </a:r>
                      <a:endParaRPr u="none" cap="none" strike="noStrike">
                        <a:solidFill>
                          <a:srgbClr val="002342"/>
                        </a:solidFill>
                      </a:endParaRPr>
                    </a:p>
                  </a:txBody>
                  <a:tcPr marT="45725" marB="45725" marR="182875" marL="182875" anchor="ctr">
                    <a:solidFill>
                      <a:srgbClr val="D8D8D8"/>
                    </a:solidFill>
                  </a:tcPr>
                </a:tc>
              </a:tr>
            </a:tbl>
          </a:graphicData>
        </a:graphic>
      </p:graphicFrame>
      <p:sp>
        <p:nvSpPr>
          <p:cNvPr id="179" name="Google Shape;179;p9"/>
          <p:cNvSpPr txBox="1"/>
          <p:nvPr/>
        </p:nvSpPr>
        <p:spPr>
          <a:xfrm>
            <a:off x="838198" y="987207"/>
            <a:ext cx="10676100" cy="695700"/>
          </a:xfrm>
          <a:prstGeom prst="rect">
            <a:avLst/>
          </a:prstGeom>
          <a:noFill/>
          <a:ln>
            <a:noFill/>
          </a:ln>
        </p:spPr>
        <p:txBody>
          <a:bodyPr anchorCtr="0" anchor="t" bIns="0" lIns="0" spcFirstLastPara="1" rIns="0" wrap="square" tIns="0">
            <a:noAutofit/>
          </a:bodyPr>
          <a:lstStyle/>
          <a:p>
            <a:pPr indent="0" lvl="0" marL="0" marR="0" rtl="0" algn="l">
              <a:lnSpc>
                <a:spcPct val="90000"/>
              </a:lnSpc>
              <a:spcBef>
                <a:spcPts val="0"/>
              </a:spcBef>
              <a:spcAft>
                <a:spcPts val="0"/>
              </a:spcAft>
              <a:buClr>
                <a:schemeClr val="dk2"/>
              </a:buClr>
              <a:buSzPts val="1600"/>
              <a:buFont typeface="Arial"/>
              <a:buNone/>
            </a:pPr>
            <a:r>
              <a:rPr lang="en-US" sz="1600">
                <a:solidFill>
                  <a:schemeClr val="dk2"/>
                </a:solidFill>
              </a:rPr>
              <a:t>Signature franchises manage to have great conversion rate</a:t>
            </a:r>
            <a:endParaRPr/>
          </a:p>
        </p:txBody>
      </p:sp>
      <p:pic>
        <p:nvPicPr>
          <p:cNvPr id="180" name="Google Shape;180;p9"/>
          <p:cNvPicPr preferRelativeResize="0"/>
          <p:nvPr/>
        </p:nvPicPr>
        <p:blipFill rotWithShape="1">
          <a:blip r:embed="rId3">
            <a:alphaModFix/>
          </a:blip>
          <a:srcRect b="0" l="0" r="0" t="0"/>
          <a:stretch/>
        </p:blipFill>
        <p:spPr>
          <a:xfrm>
            <a:off x="9300496" y="1489408"/>
            <a:ext cx="360844" cy="360844"/>
          </a:xfrm>
          <a:prstGeom prst="rect">
            <a:avLst/>
          </a:prstGeom>
          <a:noFill/>
          <a:ln>
            <a:noFill/>
          </a:ln>
        </p:spPr>
      </p:pic>
    </p:spTree>
  </p:cSld>
  <p:clrMapOvr>
    <a:masterClrMapping/>
  </p:clrMapOvr>
</p:sld>
</file>

<file path=ppt/slides/slide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cSld>
    <p:spTree>
      <p:nvGrpSpPr>
        <p:cNvPr id="185" name="Shape 185"/>
        <p:cNvGrpSpPr/>
        <p:nvPr/>
      </p:nvGrpSpPr>
      <p:grpSpPr>
        <a:xfrm>
          <a:off x="0" y="0"/>
          <a:ext cx="0" cy="0"/>
          <a:chOff x="0" y="0"/>
          <a:chExt cx="0" cy="0"/>
        </a:xfrm>
      </p:grpSpPr>
      <p:sp>
        <p:nvSpPr>
          <p:cNvPr id="186" name="Google Shape;186;g7023ddf169_0_41"/>
          <p:cNvSpPr txBox="1"/>
          <p:nvPr>
            <p:ph type="title"/>
          </p:nvPr>
        </p:nvSpPr>
        <p:spPr>
          <a:xfrm>
            <a:off x="838200" y="365125"/>
            <a:ext cx="10515600" cy="480000"/>
          </a:xfrm>
          <a:prstGeom prst="rect">
            <a:avLst/>
          </a:prstGeom>
          <a:noFill/>
          <a:ln>
            <a:noFill/>
          </a:ln>
        </p:spPr>
        <p:txBody>
          <a:bodyPr anchorCtr="0" anchor="t" bIns="45700" lIns="0" spcFirstLastPara="1" rIns="0" wrap="square" tIns="45700">
            <a:noAutofit/>
          </a:bodyPr>
          <a:lstStyle/>
          <a:p>
            <a:pPr indent="0" lvl="0" marL="0" rtl="0" algn="l">
              <a:lnSpc>
                <a:spcPct val="90000"/>
              </a:lnSpc>
              <a:spcBef>
                <a:spcPts val="0"/>
              </a:spcBef>
              <a:spcAft>
                <a:spcPts val="0"/>
              </a:spcAft>
              <a:buClr>
                <a:srgbClr val="C5093B"/>
              </a:buClr>
              <a:buSzPts val="2800"/>
              <a:buFont typeface="Arial"/>
              <a:buNone/>
            </a:pPr>
            <a:r>
              <a:rPr lang="en-US"/>
              <a:t>Assessing users’ behaviors</a:t>
            </a:r>
            <a:endParaRPr/>
          </a:p>
        </p:txBody>
      </p:sp>
      <p:sp>
        <p:nvSpPr>
          <p:cNvPr id="187" name="Google Shape;187;g7023ddf169_0_41"/>
          <p:cNvSpPr txBox="1"/>
          <p:nvPr>
            <p:ph idx="11" type="ftr"/>
          </p:nvPr>
        </p:nvSpPr>
        <p:spPr>
          <a:xfrm>
            <a:off x="7928904" y="6513308"/>
            <a:ext cx="4114800" cy="365100"/>
          </a:xfrm>
          <a:prstGeom prst="rect">
            <a:avLst/>
          </a:prstGeom>
          <a:noFill/>
          <a:ln>
            <a:noFill/>
          </a:ln>
        </p:spPr>
        <p:txBody>
          <a:bodyPr anchorCtr="0" anchor="ctr" bIns="45700" lIns="91425" spcFirstLastPara="1" rIns="91425" wrap="square" tIns="45700">
            <a:noAutofit/>
          </a:bodyPr>
          <a:lstStyle/>
          <a:p>
            <a:pPr indent="0" lvl="0" marL="0" rtl="0" algn="r">
              <a:spcBef>
                <a:spcPts val="0"/>
              </a:spcBef>
              <a:spcAft>
                <a:spcPts val="0"/>
              </a:spcAft>
              <a:buNone/>
            </a:pPr>
            <a:r>
              <a:rPr lang="en-US"/>
              <a:t>Name of Initiative</a:t>
            </a:r>
            <a:endParaRPr/>
          </a:p>
        </p:txBody>
      </p:sp>
      <p:sp>
        <p:nvSpPr>
          <p:cNvPr id="188" name="Google Shape;188;g7023ddf169_0_41"/>
          <p:cNvSpPr txBox="1"/>
          <p:nvPr>
            <p:ph idx="12" type="sldNum"/>
          </p:nvPr>
        </p:nvSpPr>
        <p:spPr>
          <a:xfrm>
            <a:off x="9300504" y="6126298"/>
            <a:ext cx="2743200" cy="365100"/>
          </a:xfrm>
          <a:prstGeom prst="rect">
            <a:avLst/>
          </a:prstGeom>
          <a:noFill/>
          <a:ln>
            <a:noFill/>
          </a:ln>
        </p:spPr>
        <p:txBody>
          <a:bodyPr anchorCtr="0" anchor="ctr" bIns="45700" lIns="91425" spcFirstLastPara="1" rIns="91425" wrap="square" tIns="45700">
            <a:noAutofit/>
          </a:bodyPr>
          <a:lstStyle/>
          <a:p>
            <a:pPr indent="0" lvl="0" marL="0" rtl="0" algn="r">
              <a:spcBef>
                <a:spcPts val="0"/>
              </a:spcBef>
              <a:spcAft>
                <a:spcPts val="0"/>
              </a:spcAft>
              <a:buNone/>
            </a:pPr>
            <a:fld id="{00000000-1234-1234-1234-123412341234}" type="slidenum">
              <a:rPr lang="en-US"/>
              <a:t>‹#›</a:t>
            </a:fld>
            <a:endParaRPr/>
          </a:p>
        </p:txBody>
      </p:sp>
      <p:sp>
        <p:nvSpPr>
          <p:cNvPr id="189" name="Google Shape;189;g7023ddf169_0_41"/>
          <p:cNvSpPr txBox="1"/>
          <p:nvPr/>
        </p:nvSpPr>
        <p:spPr>
          <a:xfrm>
            <a:off x="838198" y="987207"/>
            <a:ext cx="10676100" cy="695700"/>
          </a:xfrm>
          <a:prstGeom prst="rect">
            <a:avLst/>
          </a:prstGeom>
          <a:noFill/>
          <a:ln>
            <a:noFill/>
          </a:ln>
        </p:spPr>
        <p:txBody>
          <a:bodyPr anchorCtr="0" anchor="t" bIns="0" lIns="0" spcFirstLastPara="1" rIns="0" wrap="square" tIns="0">
            <a:noAutofit/>
          </a:bodyPr>
          <a:lstStyle/>
          <a:p>
            <a:pPr indent="0" lvl="0" marL="0" marR="0" rtl="0" algn="l">
              <a:lnSpc>
                <a:spcPct val="90000"/>
              </a:lnSpc>
              <a:spcBef>
                <a:spcPts val="0"/>
              </a:spcBef>
              <a:spcAft>
                <a:spcPts val="0"/>
              </a:spcAft>
              <a:buClr>
                <a:schemeClr val="dk2"/>
              </a:buClr>
              <a:buSzPts val="1600"/>
              <a:buFont typeface="Arial"/>
              <a:buNone/>
            </a:pPr>
            <a:r>
              <a:rPr lang="en-US" sz="1600">
                <a:solidFill>
                  <a:schemeClr val="dk2"/>
                </a:solidFill>
              </a:rPr>
              <a:t>Candlestick plot demonstrates the play duration in hours between games - implies the popularity of games</a:t>
            </a:r>
            <a:endParaRPr/>
          </a:p>
        </p:txBody>
      </p:sp>
      <p:pic>
        <p:nvPicPr>
          <p:cNvPr id="190" name="Google Shape;190;g7023ddf169_0_41"/>
          <p:cNvPicPr preferRelativeResize="0"/>
          <p:nvPr/>
        </p:nvPicPr>
        <p:blipFill rotWithShape="1">
          <a:blip r:embed="rId3">
            <a:alphaModFix/>
          </a:blip>
          <a:srcRect b="0" l="0" r="0" t="0"/>
          <a:stretch/>
        </p:blipFill>
        <p:spPr>
          <a:xfrm>
            <a:off x="9300496" y="1489408"/>
            <a:ext cx="360844" cy="360844"/>
          </a:xfrm>
          <a:prstGeom prst="rect">
            <a:avLst/>
          </a:prstGeom>
          <a:noFill/>
          <a:ln>
            <a:noFill/>
          </a:ln>
        </p:spPr>
      </p:pic>
      <p:pic>
        <p:nvPicPr>
          <p:cNvPr id="191" name="Google Shape;191;g7023ddf169_0_41"/>
          <p:cNvPicPr preferRelativeResize="0"/>
          <p:nvPr/>
        </p:nvPicPr>
        <p:blipFill rotWithShape="1">
          <a:blip r:embed="rId4">
            <a:alphaModFix/>
          </a:blip>
          <a:srcRect b="7608" l="9649" r="8644" t="6133"/>
          <a:stretch/>
        </p:blipFill>
        <p:spPr>
          <a:xfrm>
            <a:off x="1629688" y="1638875"/>
            <a:ext cx="8932626" cy="3772051"/>
          </a:xfrm>
          <a:prstGeom prst="rect">
            <a:avLst/>
          </a:prstGeom>
          <a:noFill/>
          <a:ln>
            <a:noFill/>
          </a:ln>
        </p:spPr>
      </p:pic>
      <p:sp>
        <p:nvSpPr>
          <p:cNvPr id="192" name="Google Shape;192;g7023ddf169_0_41"/>
          <p:cNvSpPr txBox="1"/>
          <p:nvPr/>
        </p:nvSpPr>
        <p:spPr>
          <a:xfrm>
            <a:off x="934225" y="1438225"/>
            <a:ext cx="3970200" cy="463200"/>
          </a:xfrm>
          <a:prstGeom prst="rect">
            <a:avLst/>
          </a:prstGeom>
          <a:noFill/>
          <a:ln>
            <a:noFill/>
          </a:ln>
        </p:spPr>
        <p:txBody>
          <a:bodyPr anchorCtr="0" anchor="t" bIns="91425" lIns="91425" spcFirstLastPara="1" rIns="91425" wrap="square" tIns="91425">
            <a:noAutofit/>
          </a:bodyPr>
          <a:lstStyle/>
          <a:p>
            <a:pPr indent="0" lvl="0" marL="0" rtl="0" algn="l">
              <a:spcBef>
                <a:spcPts val="0"/>
              </a:spcBef>
              <a:spcAft>
                <a:spcPts val="0"/>
              </a:spcAft>
              <a:buNone/>
            </a:pPr>
            <a:r>
              <a:rPr lang="en-US"/>
              <a:t>Duration (hours)</a:t>
            </a:r>
            <a:endParaRPr/>
          </a:p>
        </p:txBody>
      </p:sp>
      <p:sp>
        <p:nvSpPr>
          <p:cNvPr id="193" name="Google Shape;193;g7023ddf169_0_41"/>
          <p:cNvSpPr txBox="1"/>
          <p:nvPr/>
        </p:nvSpPr>
        <p:spPr>
          <a:xfrm>
            <a:off x="9453275" y="5278100"/>
            <a:ext cx="3500400" cy="463200"/>
          </a:xfrm>
          <a:prstGeom prst="rect">
            <a:avLst/>
          </a:prstGeom>
          <a:noFill/>
          <a:ln>
            <a:noFill/>
          </a:ln>
        </p:spPr>
        <p:txBody>
          <a:bodyPr anchorCtr="0" anchor="t" bIns="91425" lIns="91425" spcFirstLastPara="1" rIns="91425" wrap="square" tIns="91425">
            <a:noAutofit/>
          </a:bodyPr>
          <a:lstStyle/>
          <a:p>
            <a:pPr indent="0" lvl="0" marL="0" rtl="0" algn="l">
              <a:spcBef>
                <a:spcPts val="0"/>
              </a:spcBef>
              <a:spcAft>
                <a:spcPts val="0"/>
              </a:spcAft>
              <a:buNone/>
            </a:pPr>
            <a:r>
              <a:rPr lang="en-US"/>
              <a:t>Games</a:t>
            </a:r>
            <a:endParaRPr/>
          </a:p>
        </p:txBody>
      </p:sp>
    </p:spTree>
  </p:cSld>
  <p:clrMapOvr>
    <a:masterClrMapping/>
  </p:clrMapOvr>
</p:sld>
</file>

<file path=ppt/theme/theme1.xml><?xml version="1.0" encoding="utf-8"?>
<a:theme xmlns:a="http://schemas.openxmlformats.org/drawingml/2006/main" xmlns:r="http://schemas.openxmlformats.org/officeDocument/2006/relationships"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ppt/theme/theme2.xml><?xml version="1.0" encoding="utf-8"?>
<a:theme xmlns:a="http://schemas.openxmlformats.org/drawingml/2006/main" xmlns:r="http://schemas.openxmlformats.org/officeDocument/2006/relationships" name="Wharton 2016 16:9">
  <a:themeElements>
    <a:clrScheme name="Wharton 2016">
      <a:dk1>
        <a:srgbClr val="2D2C41"/>
      </a:dk1>
      <a:lt1>
        <a:srgbClr val="FFFFFF"/>
      </a:lt1>
      <a:dk2>
        <a:srgbClr val="004785"/>
      </a:dk2>
      <a:lt2>
        <a:srgbClr val="EEEDEA"/>
      </a:lt2>
      <a:accent1>
        <a:srgbClr val="004785"/>
      </a:accent1>
      <a:accent2>
        <a:srgbClr val="A90533"/>
      </a:accent2>
      <a:accent3>
        <a:srgbClr val="026CB5"/>
      </a:accent3>
      <a:accent4>
        <a:srgbClr val="06AAFC"/>
      </a:accent4>
      <a:accent5>
        <a:srgbClr val="96227D"/>
      </a:accent5>
      <a:accent6>
        <a:srgbClr val="D7BC6A"/>
      </a:accent6>
      <a:hlink>
        <a:srgbClr val="06AAFC"/>
      </a:hlink>
      <a:folHlink>
        <a:srgbClr val="06AAF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16-03-10T13:41:29Z</dcterms:created>
  <dc:creator>Matthew Byers</dc:creator>
</cp:coreProperties>
</file>